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4" r:id="rId1"/>
  </p:sldMasterIdLst>
  <p:notesMasterIdLst>
    <p:notesMasterId r:id="rId24"/>
  </p:notesMasterIdLst>
  <p:handoutMasterIdLst>
    <p:handoutMasterId r:id="rId25"/>
  </p:handoutMasterIdLst>
  <p:sldIdLst>
    <p:sldId id="733" r:id="rId2"/>
    <p:sldId id="735" r:id="rId3"/>
    <p:sldId id="638" r:id="rId4"/>
    <p:sldId id="736" r:id="rId5"/>
    <p:sldId id="744" r:id="rId6"/>
    <p:sldId id="743" r:id="rId7"/>
    <p:sldId id="742" r:id="rId8"/>
    <p:sldId id="741" r:id="rId9"/>
    <p:sldId id="745" r:id="rId10"/>
    <p:sldId id="740" r:id="rId11"/>
    <p:sldId id="739" r:id="rId12"/>
    <p:sldId id="749" r:id="rId13"/>
    <p:sldId id="748" r:id="rId14"/>
    <p:sldId id="747" r:id="rId15"/>
    <p:sldId id="738" r:id="rId16"/>
    <p:sldId id="746" r:id="rId17"/>
    <p:sldId id="752" r:id="rId18"/>
    <p:sldId id="751" r:id="rId19"/>
    <p:sldId id="750" r:id="rId20"/>
    <p:sldId id="755" r:id="rId21"/>
    <p:sldId id="753" r:id="rId22"/>
    <p:sldId id="732" r:id="rId23"/>
  </p:sldIdLst>
  <p:sldSz cx="10058400" cy="7772400"/>
  <p:notesSz cx="6805613" cy="9939338"/>
  <p:custDataLst>
    <p:tags r:id="rId26"/>
  </p:custDataLst>
  <p:defaultTextStyle>
    <a:defPPr>
      <a:defRPr lang="en-US"/>
    </a:defPPr>
    <a:lvl1pPr marL="0" algn="l" defTabSz="1018824" rtl="0" eaLnBrk="1" latinLnBrk="0" hangingPunct="1">
      <a:defRPr sz="1100" kern="1200">
        <a:solidFill>
          <a:schemeClr val="tx1"/>
        </a:solidFill>
        <a:latin typeface="+mn-lt"/>
        <a:ea typeface="+mn-ea"/>
        <a:cs typeface="+mn-cs"/>
      </a:defRPr>
    </a:lvl1pPr>
    <a:lvl2pPr marL="509412" algn="l" defTabSz="1018824" rtl="0" eaLnBrk="1" latinLnBrk="0" hangingPunct="1">
      <a:defRPr sz="1100" kern="1200">
        <a:solidFill>
          <a:schemeClr val="tx1"/>
        </a:solidFill>
        <a:latin typeface="+mn-lt"/>
        <a:ea typeface="+mn-ea"/>
        <a:cs typeface="+mn-cs"/>
      </a:defRPr>
    </a:lvl2pPr>
    <a:lvl3pPr marL="1018824" algn="l" defTabSz="1018824" rtl="0" eaLnBrk="1" latinLnBrk="0" hangingPunct="1">
      <a:defRPr sz="1100" kern="1200">
        <a:solidFill>
          <a:schemeClr val="tx1"/>
        </a:solidFill>
        <a:latin typeface="+mn-lt"/>
        <a:ea typeface="+mn-ea"/>
        <a:cs typeface="+mn-cs"/>
      </a:defRPr>
    </a:lvl3pPr>
    <a:lvl4pPr marL="1528237" algn="l" defTabSz="1018824" rtl="0" eaLnBrk="1" latinLnBrk="0" hangingPunct="1">
      <a:defRPr sz="1100" kern="1200">
        <a:solidFill>
          <a:schemeClr val="tx1"/>
        </a:solidFill>
        <a:latin typeface="+mn-lt"/>
        <a:ea typeface="+mn-ea"/>
        <a:cs typeface="+mn-cs"/>
      </a:defRPr>
    </a:lvl4pPr>
    <a:lvl5pPr marL="2037649" algn="l" defTabSz="1018824" rtl="0" eaLnBrk="1" latinLnBrk="0" hangingPunct="1">
      <a:defRPr sz="1100" kern="1200">
        <a:solidFill>
          <a:schemeClr val="tx1"/>
        </a:solidFill>
        <a:latin typeface="+mn-lt"/>
        <a:ea typeface="+mn-ea"/>
        <a:cs typeface="+mn-cs"/>
      </a:defRPr>
    </a:lvl5pPr>
    <a:lvl6pPr marL="2547061" algn="l" defTabSz="1018824" rtl="0" eaLnBrk="1" latinLnBrk="0" hangingPunct="1">
      <a:defRPr sz="1100" kern="1200">
        <a:solidFill>
          <a:schemeClr val="tx1"/>
        </a:solidFill>
        <a:latin typeface="+mn-lt"/>
        <a:ea typeface="+mn-ea"/>
        <a:cs typeface="+mn-cs"/>
      </a:defRPr>
    </a:lvl6pPr>
    <a:lvl7pPr marL="3056473" algn="l" defTabSz="1018824" rtl="0" eaLnBrk="1" latinLnBrk="0" hangingPunct="1">
      <a:defRPr sz="1100" kern="1200">
        <a:solidFill>
          <a:schemeClr val="tx1"/>
        </a:solidFill>
        <a:latin typeface="+mn-lt"/>
        <a:ea typeface="+mn-ea"/>
        <a:cs typeface="+mn-cs"/>
      </a:defRPr>
    </a:lvl7pPr>
    <a:lvl8pPr marL="3565886" algn="l" defTabSz="1018824" rtl="0" eaLnBrk="1" latinLnBrk="0" hangingPunct="1">
      <a:defRPr sz="1100" kern="1200">
        <a:solidFill>
          <a:schemeClr val="tx1"/>
        </a:solidFill>
        <a:latin typeface="+mn-lt"/>
        <a:ea typeface="+mn-ea"/>
        <a:cs typeface="+mn-cs"/>
      </a:defRPr>
    </a:lvl8pPr>
    <a:lvl9pPr marL="4075298" algn="l" defTabSz="1018824" rtl="0" eaLnBrk="1" latinLnBrk="0" hangingPunct="1">
      <a:defRPr sz="1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2">
          <p15:clr>
            <a:srgbClr val="A4A3A4"/>
          </p15:clr>
        </p15:guide>
        <p15:guide id="2" orient="horz" pos="4668">
          <p15:clr>
            <a:srgbClr val="A4A3A4"/>
          </p15:clr>
        </p15:guide>
        <p15:guide id="3" orient="horz" pos="4533">
          <p15:clr>
            <a:srgbClr val="A4A3A4"/>
          </p15:clr>
        </p15:guide>
        <p15:guide id="4" orient="horz" pos="4278">
          <p15:clr>
            <a:srgbClr val="A4A3A4"/>
          </p15:clr>
        </p15:guide>
        <p15:guide id="5" orient="horz" pos="624">
          <p15:clr>
            <a:srgbClr val="A4A3A4"/>
          </p15:clr>
        </p15:guide>
        <p15:guide id="6" orient="horz" pos="720">
          <p15:clr>
            <a:srgbClr val="A4A3A4"/>
          </p15:clr>
        </p15:guide>
        <p15:guide id="7" orient="horz" pos="1296">
          <p15:clr>
            <a:srgbClr val="A4A3A4"/>
          </p15:clr>
        </p15:guide>
        <p15:guide id="8" orient="horz" pos="1392">
          <p15:clr>
            <a:srgbClr val="A4A3A4"/>
          </p15:clr>
        </p15:guide>
        <p15:guide id="9" orient="horz" pos="1776">
          <p15:clr>
            <a:srgbClr val="A4A3A4"/>
          </p15:clr>
        </p15:guide>
        <p15:guide id="10" orient="horz" pos="1872">
          <p15:clr>
            <a:srgbClr val="A4A3A4"/>
          </p15:clr>
        </p15:guide>
        <p15:guide id="11" orient="horz" pos="2256">
          <p15:clr>
            <a:srgbClr val="A4A3A4"/>
          </p15:clr>
        </p15:guide>
        <p15:guide id="12" orient="horz" pos="2352">
          <p15:clr>
            <a:srgbClr val="A4A3A4"/>
          </p15:clr>
        </p15:guide>
        <p15:guide id="13" orient="horz" pos="2736">
          <p15:clr>
            <a:srgbClr val="A4A3A4"/>
          </p15:clr>
        </p15:guide>
        <p15:guide id="14" orient="horz" pos="2832">
          <p15:clr>
            <a:srgbClr val="A4A3A4"/>
          </p15:clr>
        </p15:guide>
        <p15:guide id="15" orient="horz" pos="3216">
          <p15:clr>
            <a:srgbClr val="A4A3A4"/>
          </p15:clr>
        </p15:guide>
        <p15:guide id="16" orient="horz" pos="3312">
          <p15:clr>
            <a:srgbClr val="A4A3A4"/>
          </p15:clr>
        </p15:guide>
        <p15:guide id="17" orient="horz" pos="3696">
          <p15:clr>
            <a:srgbClr val="A4A3A4"/>
          </p15:clr>
        </p15:guide>
        <p15:guide id="18" orient="horz" pos="3792">
          <p15:clr>
            <a:srgbClr val="A4A3A4"/>
          </p15:clr>
        </p15:guide>
        <p15:guide id="19" orient="horz" pos="4176">
          <p15:clr>
            <a:srgbClr val="A4A3A4"/>
          </p15:clr>
        </p15:guide>
        <p15:guide id="20" orient="horz" pos="4386">
          <p15:clr>
            <a:srgbClr val="A4A3A4"/>
          </p15:clr>
        </p15:guide>
        <p15:guide id="21" pos="336">
          <p15:clr>
            <a:srgbClr val="A4A3A4"/>
          </p15:clr>
        </p15:guide>
        <p15:guide id="22" pos="6000">
          <p15:clr>
            <a:srgbClr val="A4A3A4"/>
          </p15:clr>
        </p15:guide>
        <p15:guide id="23" pos="1200">
          <p15:clr>
            <a:srgbClr val="A4A3A4"/>
          </p15:clr>
        </p15:guide>
        <p15:guide id="24" pos="1296">
          <p15:clr>
            <a:srgbClr val="A4A3A4"/>
          </p15:clr>
        </p15:guide>
        <p15:guide id="25" pos="2160">
          <p15:clr>
            <a:srgbClr val="A4A3A4"/>
          </p15:clr>
        </p15:guide>
        <p15:guide id="26" pos="2256">
          <p15:clr>
            <a:srgbClr val="A4A3A4"/>
          </p15:clr>
        </p15:guide>
        <p15:guide id="27" pos="3120">
          <p15:clr>
            <a:srgbClr val="A4A3A4"/>
          </p15:clr>
        </p15:guide>
        <p15:guide id="28" pos="3216">
          <p15:clr>
            <a:srgbClr val="A4A3A4"/>
          </p15:clr>
        </p15:guide>
        <p15:guide id="29" pos="4080">
          <p15:clr>
            <a:srgbClr val="A4A3A4"/>
          </p15:clr>
        </p15:guide>
        <p15:guide id="30" pos="4176">
          <p15:clr>
            <a:srgbClr val="A4A3A4"/>
          </p15:clr>
        </p15:guide>
        <p15:guide id="31" pos="5040">
          <p15:clr>
            <a:srgbClr val="A4A3A4"/>
          </p15:clr>
        </p15:guide>
        <p15:guide id="32" pos="5136">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BA591"/>
    <a:srgbClr val="CD2F0F"/>
    <a:srgbClr val="FF0000"/>
    <a:srgbClr val="DC6900"/>
    <a:srgbClr val="FFC28B"/>
    <a:srgbClr val="FFC227"/>
    <a:srgbClr val="FFA451"/>
    <a:srgbClr val="CD2F0E"/>
    <a:srgbClr val="F3BE26"/>
    <a:srgbClr val="D7402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D5C30875-5027-47A9-8995-C2BF9F8F2FF4}">
  <a:tblStyle styleId="{D5C30875-5027-47A9-8995-C2BF9F8F2FF4}" styleName="Smart Colour Block">
    <a:wholeTbl>
      <a:tcTxStyle>
        <a:fontRef idx="maj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w="38100" cmpd="sng">
              <a:solidFill>
                <a:schemeClr val="lt1"/>
              </a:solidFill>
            </a:ln>
          </a:bottom>
        </a:tcBdr>
      </a:tcStyle>
    </a:band1H>
    <a:band2H>
      <a:tcStyle>
        <a:tcBdr>
          <a:bottom>
            <a:ln w="38100" cmpd="sng">
              <a:solidFill>
                <a:schemeClr val="lt1"/>
              </a:solidFill>
            </a:ln>
          </a:bottom>
        </a:tcBdr>
      </a:tcStyle>
    </a:band2H>
    <a:firstCol>
      <a:tcTxStyle b="on">
        <a:fontRef idx="major">
          <a:prstClr val="black"/>
        </a:fontRef>
        <a:schemeClr val="dk1"/>
      </a:tcTxStyle>
      <a:tcStyle>
        <a:tcBdr/>
        <a:fill>
          <a:solidFill>
            <a:schemeClr val="accent1">
              <a:lumMod val="20000"/>
              <a:lumOff val="80000"/>
            </a:schemeClr>
          </a:solidFill>
        </a:fill>
      </a:tcStyle>
    </a:firstCol>
    <a:firstRow>
      <a:tcTxStyle b="on">
        <a:fontRef idx="major">
          <a:prstClr val="black"/>
        </a:fontRef>
        <a:schemeClr val="dk2"/>
      </a:tcTxStyle>
      <a:tcStyle>
        <a:tcBdr>
          <a:bottom>
            <a:ln w="38100" cmpd="sng">
              <a:solidFill>
                <a:schemeClr val="lt1"/>
              </a:solidFill>
            </a:ln>
          </a:bottom>
        </a:tcBdr>
        <a:fill>
          <a:noFill/>
        </a:fill>
      </a:tcStyle>
    </a:firstRow>
  </a:tblStyle>
  <a:tblStyle styleId="{74ED0A72-4B8E-423B-AE2F-120ADE3C16FB}" styleName="Smart Table Text">
    <a:wholeTbl>
      <a:tcTxStyle>
        <a:fontRef idx="maj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w="12700" cmpd="sng">
              <a:solidFill>
                <a:schemeClr val="accent1"/>
              </a:solidFill>
              <a:prstDash val="sysDot"/>
              <a:round/>
              <a:headEnd type="none" w="med" len="med"/>
              <a:tailEnd type="none" w="med" len="med"/>
            </a:ln>
          </a:bottom>
        </a:tcBdr>
      </a:tcStyle>
    </a:band1H>
    <a:band2H>
      <a:tcStyle>
        <a:tcBdr>
          <a:bottom>
            <a:ln w="12700" cmpd="sng">
              <a:solidFill>
                <a:schemeClr val="accent1"/>
              </a:solidFill>
              <a:prstDash val="sysDot"/>
              <a:round/>
              <a:headEnd type="none" w="med" len="med"/>
              <a:tailEnd type="none" w="med" len="med"/>
            </a:ln>
          </a:bottom>
        </a:tcBdr>
      </a:tcStyle>
    </a:band2H>
    <a:firstCol>
      <a:tcTxStyle b="on">
        <a:fontRef idx="major">
          <a:prstClr val="black"/>
        </a:fontRef>
        <a:schemeClr val="dk1"/>
      </a:tcTxStyle>
      <a:tcStyle>
        <a:tcBdr/>
        <a:fill>
          <a:noFill/>
        </a:fill>
      </a:tcStyle>
    </a:firstCol>
    <a:lastRow>
      <a:tcTxStyle b="on">
        <a:fontRef idx="major">
          <a:prstClr val="black"/>
        </a:fontRef>
        <a:schemeClr val="dk1"/>
      </a:tcTxStyle>
      <a:tcStyle>
        <a:tcBdr>
          <a:top>
            <a:ln w="12700" cmpd="sng">
              <a:solidFill>
                <a:schemeClr val="accent1"/>
              </a:solidFill>
            </a:ln>
          </a:top>
          <a:bottom>
            <a:ln w="12700" cmpd="sng">
              <a:solidFill>
                <a:schemeClr val="accent1"/>
              </a:solidFill>
            </a:ln>
          </a:bottom>
        </a:tcBdr>
        <a:fill>
          <a:noFill/>
        </a:fill>
      </a:tcStyle>
    </a:lastRow>
    <a:firstRow>
      <a:tcTxStyle b="on">
        <a:fontRef idx="major">
          <a:prstClr val="black"/>
        </a:fontRef>
        <a:schemeClr val="dk2"/>
      </a:tcTxStyle>
      <a:tcStyle>
        <a:tcBdr>
          <a:bottom>
            <a:ln w="12700" cmpd="sng">
              <a:solidFill>
                <a:schemeClr val="accent1"/>
              </a:solidFill>
            </a:ln>
          </a:bottom>
        </a:tcBdr>
        <a:fill>
          <a:noFill/>
        </a:fill>
      </a:tcStyle>
    </a:firstRow>
  </a:tblStyle>
  <a:tblStyle styleId="{8D360D96-D63B-11DF-A243-F2A3DFD72085}" styleName="Smart Table Figures">
    <a:wholeTbl>
      <a:tcTxStyle>
        <a:fontRef idx="min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w="12700" cmpd="sng">
              <a:solidFill>
                <a:schemeClr val="accent1"/>
              </a:solidFill>
              <a:prstDash val="sysDot"/>
              <a:round/>
              <a:headEnd type="none" w="med" len="med"/>
              <a:tailEnd type="none" w="med" len="med"/>
            </a:ln>
          </a:bottom>
        </a:tcBdr>
      </a:tcStyle>
    </a:band1H>
    <a:band2H>
      <a:tcStyle>
        <a:tcBdr>
          <a:bottom>
            <a:ln w="12700" cmpd="sng">
              <a:solidFill>
                <a:schemeClr val="accent1"/>
              </a:solidFill>
              <a:prstDash val="sysDot"/>
              <a:round/>
              <a:headEnd type="none" w="med" len="med"/>
              <a:tailEnd type="none" w="med" len="med"/>
            </a:ln>
          </a:bottom>
        </a:tcBdr>
      </a:tcStyle>
    </a:band2H>
    <a:firstCol>
      <a:tcTxStyle b="on">
        <a:fontRef idx="minor">
          <a:prstClr val="black"/>
        </a:fontRef>
        <a:schemeClr val="dk1"/>
      </a:tcTxStyle>
      <a:tcStyle>
        <a:tcBdr/>
        <a:fill>
          <a:noFill/>
        </a:fill>
      </a:tcStyle>
    </a:firstCol>
    <a:lastRow>
      <a:tcTxStyle b="on">
        <a:fontRef idx="minor">
          <a:prstClr val="black"/>
        </a:fontRef>
        <a:schemeClr val="dk1"/>
      </a:tcTxStyle>
      <a:tcStyle>
        <a:tcBdr>
          <a:top>
            <a:ln w="12700" cmpd="sng">
              <a:solidFill>
                <a:schemeClr val="accent1"/>
              </a:solidFill>
            </a:ln>
          </a:top>
          <a:bottom>
            <a:ln w="12700" cmpd="sng">
              <a:solidFill>
                <a:schemeClr val="accent1"/>
              </a:solidFill>
            </a:ln>
          </a:bottom>
        </a:tcBdr>
        <a:fill>
          <a:noFill/>
        </a:fill>
      </a:tcStyle>
    </a:lastRow>
    <a:firstRow>
      <a:tcTxStyle b="on">
        <a:fontRef idx="major">
          <a:prstClr val="black"/>
        </a:fontRef>
        <a:schemeClr val="dk2"/>
      </a:tcTxStyle>
      <a:tcStyle>
        <a:tcBdr>
          <a:bottom>
            <a:ln w="12700" cmpd="sng">
              <a:solidFill>
                <a:schemeClr val="accent1"/>
              </a:solidFill>
            </a:ln>
          </a:bottom>
        </a:tcBdr>
        <a:fill>
          <a:noFill/>
        </a:fill>
      </a:tcStyle>
    </a:firstRow>
  </a:tblStyle>
  <a:tblStyle styleId="{E81BAE4E-8E61-4555-8164-91CCB0C98032}" styleName="Smart Text List">
    <a:wholeTbl>
      <a:tcTxStyle>
        <a:fontRef idx="maj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a:noFill/>
            </a:ln>
          </a:bottom>
        </a:tcBdr>
      </a:tcStyle>
    </a:band1H>
    <a:band2H>
      <a:tcStyle>
        <a:tcBdr>
          <a:bottom>
            <a:ln>
              <a:noFill/>
            </a:ln>
          </a:bottom>
        </a:tcBdr>
      </a:tcStyle>
    </a:band2H>
    <a:firstCol>
      <a:tcTxStyle b="on">
        <a:fontRef idx="major">
          <a:prstClr val="black"/>
        </a:fontRef>
        <a:schemeClr val="dk1"/>
      </a:tcTxStyle>
      <a:tcStyle>
        <a:tcBdr/>
        <a:fill>
          <a:noFill/>
        </a:fill>
      </a:tcStyle>
    </a:firstCol>
    <a:lastRow>
      <a:tcTxStyle>
        <a:fontRef idx="major">
          <a:prstClr val="black"/>
        </a:fontRef>
        <a:schemeClr val="dk1"/>
      </a:tcTxStyle>
      <a:tcStyle>
        <a:tcBdr>
          <a:top>
            <a:ln>
              <a:noFill/>
            </a:ln>
          </a:top>
          <a:bottom>
            <a:ln>
              <a:noFill/>
            </a:ln>
          </a:bottom>
        </a:tcBdr>
        <a:fill>
          <a:noFill/>
        </a:fill>
      </a:tcStyle>
    </a:lastRow>
    <a:firstRow>
      <a:tcTxStyle b="on">
        <a:fontRef idx="major">
          <a:prstClr val="black"/>
        </a:fontRef>
        <a:schemeClr val="dk2"/>
      </a:tcTxStyle>
      <a:tcStyle>
        <a:tcBdr>
          <a:top>
            <a:ln>
              <a:noFill/>
            </a:ln>
          </a:top>
          <a:bottom>
            <a:ln w="12700" cmpd="sng">
              <a:solidFill>
                <a:schemeClr val="accent1"/>
              </a:solidFill>
            </a:ln>
          </a:bottom>
        </a:tcBdr>
        <a:fill>
          <a:noFill/>
        </a:fill>
      </a:tcStyle>
    </a:firstRow>
  </a:tblStyle>
  <a:tblStyle styleId="{69D073F8-1565-44D7-B386-08B59EADF2EE}" styleName="Smart Basic">
    <a:wholeTbl>
      <a:tcTxStyle>
        <a:fontRef idx="major">
          <a:prstClr val="black"/>
        </a:fontRef>
        <a:schemeClr val="dk1"/>
      </a:tcTxStyle>
      <a:tcStyle>
        <a:tcBdr>
          <a:left>
            <a:ln>
              <a:noFill/>
            </a:ln>
          </a:left>
          <a:right>
            <a:ln>
              <a:noFill/>
            </a:ln>
          </a:right>
          <a:top>
            <a:ln>
              <a:noFill/>
            </a:ln>
          </a:top>
          <a:bottom>
            <a:ln>
              <a:noFill/>
            </a:ln>
          </a:bottom>
          <a:insideH>
            <a:ln>
              <a:noFill/>
            </a:ln>
          </a:insideH>
          <a:insideV>
            <a:ln>
              <a:noFill/>
            </a:ln>
          </a:insideV>
        </a:tcBdr>
        <a:fill>
          <a:noFill/>
        </a:fill>
      </a:tcStyle>
    </a:wholeTbl>
    <a:band1H>
      <a:tcStyle>
        <a:tcBdr>
          <a:bottom>
            <a:ln w="38100" cmpd="sng">
              <a:noFill/>
            </a:ln>
          </a:bottom>
        </a:tcBdr>
      </a:tcStyle>
    </a:band1H>
    <a:band2H>
      <a:tcStyle>
        <a:tcBdr>
          <a:bottom>
            <a:ln w="38100" cmpd="sng">
              <a:noFill/>
            </a:ln>
          </a:bottom>
        </a:tcBdr>
      </a:tcStyle>
    </a:band2H>
    <a:firstCol>
      <a:tcTxStyle b="on">
        <a:fontRef idx="major">
          <a:prstClr val="black"/>
        </a:fontRef>
        <a:schemeClr val="dk1"/>
      </a:tcTxStyle>
      <a:tcStyle>
        <a:tcBdr/>
        <a:fill>
          <a:noFill/>
        </a:fill>
      </a:tcStyle>
    </a:firstCol>
    <a:firstRow>
      <a:tcTxStyle b="on">
        <a:fontRef idx="major">
          <a:prstClr val="black"/>
        </a:fontRef>
        <a:schemeClr val="dk2"/>
      </a:tcTxStyle>
      <a:tcStyle>
        <a:tcBdr>
          <a:bottom>
            <a:ln w="38100" cmpd="sng">
              <a:noFill/>
            </a:ln>
          </a:bottom>
        </a:tcBdr>
        <a:fill>
          <a:noFill/>
        </a:fill>
      </a:tcStyle>
    </a:firstRow>
  </a:tblStyle>
  <a:tblStyle styleId="{582F6C1B-F5DC-4988-9FA3-4B01CB59C5F3}" styleName="Smart Classic">
    <a:wholeTbl>
      <a:tcTxStyle>
        <a:fontRef idx="major">
          <a:prstClr val="black"/>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tcStyle>
    </a:band1H>
    <a:band2H>
      <a:tcStyle>
        <a:tcBdr/>
      </a:tcStyle>
    </a:band2H>
    <a:firstCol>
      <a:tcStyle>
        <a:tcBdr/>
      </a:tcStyle>
    </a:firstCol>
    <a:firstRow>
      <a:tcTxStyle b="on">
        <a:fontRef idx="major">
          <a:prstClr val="black"/>
        </a:fontRef>
        <a:schemeClr val="dk2"/>
      </a:tcTxStyle>
      <a:tcStyle>
        <a:tcBdr/>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98934" autoAdjust="0"/>
  </p:normalViewPr>
  <p:slideViewPr>
    <p:cSldViewPr snapToObjects="1">
      <p:cViewPr varScale="1">
        <p:scale>
          <a:sx n="73" d="100"/>
          <a:sy n="73" d="100"/>
        </p:scale>
        <p:origin x="1050" y="78"/>
      </p:cViewPr>
      <p:guideLst>
        <p:guide orient="horz" pos="432"/>
        <p:guide orient="horz" pos="4668"/>
        <p:guide orient="horz" pos="4533"/>
        <p:guide orient="horz" pos="4278"/>
        <p:guide orient="horz" pos="624"/>
        <p:guide orient="horz" pos="720"/>
        <p:guide orient="horz" pos="1296"/>
        <p:guide orient="horz" pos="1392"/>
        <p:guide orient="horz" pos="1776"/>
        <p:guide orient="horz" pos="1872"/>
        <p:guide orient="horz" pos="2256"/>
        <p:guide orient="horz" pos="2352"/>
        <p:guide orient="horz" pos="2736"/>
        <p:guide orient="horz" pos="2832"/>
        <p:guide orient="horz" pos="3216"/>
        <p:guide orient="horz" pos="3312"/>
        <p:guide orient="horz" pos="3696"/>
        <p:guide orient="horz" pos="3792"/>
        <p:guide orient="horz" pos="4176"/>
        <p:guide orient="horz" pos="4386"/>
        <p:guide pos="336"/>
        <p:guide pos="6000"/>
        <p:guide pos="1200"/>
        <p:guide pos="1296"/>
        <p:guide pos="2160"/>
        <p:guide pos="2256"/>
        <p:guide pos="3120"/>
        <p:guide pos="3216"/>
        <p:guide pos="4080"/>
        <p:guide pos="4176"/>
        <p:guide pos="5040"/>
        <p:guide pos="513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59" d="100"/>
          <a:sy n="59" d="100"/>
        </p:scale>
        <p:origin x="-1818" y="-72"/>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1" Type="http://schemas.openxmlformats.org/officeDocument/2006/relationships/image" Target="../media/image1.png"/></Relationships>
</file>

<file path=ppt/diagrams/_rels/drawing1.xml.rels><?xml version="1.0" encoding="UTF-8" standalone="yes"?>
<Relationships xmlns="http://schemas.openxmlformats.org/package/2006/relationships"><Relationship Id="rId1" Type="http://schemas.openxmlformats.org/officeDocument/2006/relationships/image" Target="../media/image1.png"/></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BB7899D-18C5-42D8-BF9F-9D9530162AEB}" type="doc">
      <dgm:prSet loTypeId="urn:microsoft.com/office/officeart/2008/layout/VerticalCurvedList" loCatId="list" qsTypeId="urn:microsoft.com/office/officeart/2005/8/quickstyle/simple1" qsCatId="simple" csTypeId="urn:microsoft.com/office/officeart/2005/8/colors/accent0_3" csCatId="mainScheme" phldr="1"/>
      <dgm:spPr/>
      <dgm:t>
        <a:bodyPr/>
        <a:lstStyle/>
        <a:p>
          <a:endParaRPr lang="en-US" altLang="zh-CN"/>
        </a:p>
      </dgm:t>
    </dgm:pt>
    <dgm:pt modelId="{133B0A28-2AC9-43B9-8FE4-54C29B32E93C}">
      <dgm:prSet phldrT="[Text]"/>
      <dgm:spPr/>
      <dgm:t>
        <a:bodyPr/>
        <a:lstStyle/>
        <a:p>
          <a:r>
            <a:rPr lang="en-GB" altLang="zh-CN" dirty="0" smtClean="0">
              <a:solidFill>
                <a:schemeClr val="bg2"/>
              </a:solidFill>
              <a:latin typeface="+mj-lt"/>
              <a:ea typeface="黑体" panose="02010609060101010101" pitchFamily="49" charset="-122"/>
            </a:rPr>
            <a:t>China content of the equity value of the overseas company being transferred</a:t>
          </a:r>
          <a:endParaRPr lang="en-US" altLang="zh-CN" dirty="0">
            <a:latin typeface="+mj-lt"/>
          </a:endParaRPr>
        </a:p>
      </dgm:t>
    </dgm:pt>
    <dgm:pt modelId="{0FACB5F6-B10E-4A49-BE65-8BF86BC44E1E}" type="parTrans" cxnId="{FC44CC58-17E0-4EE8-9E0E-CF5E33B45562}">
      <dgm:prSet/>
      <dgm:spPr/>
      <dgm:t>
        <a:bodyPr/>
        <a:lstStyle/>
        <a:p>
          <a:endParaRPr lang="en-US" altLang="zh-CN"/>
        </a:p>
      </dgm:t>
    </dgm:pt>
    <dgm:pt modelId="{F1A32B6D-25A2-46D5-B831-D55F0BF92A7B}" type="sibTrans" cxnId="{FC44CC58-17E0-4EE8-9E0E-CF5E33B45562}">
      <dgm:prSet/>
      <dgm:spPr/>
      <dgm:t>
        <a:bodyPr/>
        <a:lstStyle/>
        <a:p>
          <a:endParaRPr lang="en-US" altLang="zh-CN"/>
        </a:p>
      </dgm:t>
    </dgm:pt>
    <dgm:pt modelId="{5B41862F-A75D-40C2-9C5E-2A2A187C60A0}">
      <dgm:prSet phldrT="[Text]"/>
      <dgm:spPr/>
      <dgm:t>
        <a:bodyPr/>
        <a:lstStyle/>
        <a:p>
          <a:r>
            <a:rPr lang="en-US" altLang="zh-CN" dirty="0" err="1" smtClean="0">
              <a:latin typeface="+mj-lt"/>
              <a:ea typeface="黑体" panose="02010609060101010101" pitchFamily="49" charset="-122"/>
            </a:rPr>
            <a:t>Ov</a:t>
          </a:r>
          <a:r>
            <a:rPr lang="en-GB" altLang="zh-CN" dirty="0" err="1" smtClean="0">
              <a:latin typeface="+mj-lt"/>
              <a:ea typeface="黑体" panose="02010609060101010101" pitchFamily="49" charset="-122"/>
            </a:rPr>
            <a:t>erseas</a:t>
          </a:r>
          <a:r>
            <a:rPr lang="en-GB" altLang="zh-CN" dirty="0" smtClean="0">
              <a:latin typeface="+mj-lt"/>
              <a:ea typeface="黑体" panose="02010609060101010101" pitchFamily="49" charset="-122"/>
            </a:rPr>
            <a:t> income tax payment for the indirect equity transfer </a:t>
          </a:r>
          <a:endParaRPr lang="en-US" altLang="zh-CN" dirty="0">
            <a:latin typeface="+mj-lt"/>
            <a:ea typeface="黑体" panose="02010609060101010101" pitchFamily="49" charset="-122"/>
          </a:endParaRPr>
        </a:p>
      </dgm:t>
    </dgm:pt>
    <dgm:pt modelId="{DD6AAF9E-2503-408F-9D2A-590DA59C2F14}" type="parTrans" cxnId="{11C703F5-B5C4-44B8-8ADA-C97A65F87633}">
      <dgm:prSet/>
      <dgm:spPr/>
      <dgm:t>
        <a:bodyPr/>
        <a:lstStyle/>
        <a:p>
          <a:endParaRPr lang="en-US" altLang="zh-CN"/>
        </a:p>
      </dgm:t>
    </dgm:pt>
    <dgm:pt modelId="{EEA3AEAB-6E2C-4658-A2C8-B8A52F9DB590}" type="sibTrans" cxnId="{11C703F5-B5C4-44B8-8ADA-C97A65F87633}">
      <dgm:prSet/>
      <dgm:spPr/>
      <dgm:t>
        <a:bodyPr/>
        <a:lstStyle/>
        <a:p>
          <a:endParaRPr lang="en-US" altLang="zh-CN"/>
        </a:p>
      </dgm:t>
    </dgm:pt>
    <dgm:pt modelId="{C1B32161-8336-4205-9895-1F99DD936267}">
      <dgm:prSet phldrT="[Text]"/>
      <dgm:spPr/>
      <dgm:t>
        <a:bodyPr/>
        <a:lstStyle/>
        <a:p>
          <a:r>
            <a:rPr lang="en-GB" altLang="zh-CN" dirty="0" smtClean="0">
              <a:latin typeface="+mj-lt"/>
              <a:ea typeface="黑体" panose="02010609060101010101" pitchFamily="49" charset="-122"/>
            </a:rPr>
            <a:t>The eligibility to tax treaty protection</a:t>
          </a:r>
          <a:endParaRPr lang="en-US" altLang="zh-CN" dirty="0">
            <a:latin typeface="+mj-lt"/>
            <a:ea typeface="黑体" panose="02010609060101010101" pitchFamily="49" charset="-122"/>
          </a:endParaRPr>
        </a:p>
      </dgm:t>
    </dgm:pt>
    <dgm:pt modelId="{F8100D4F-8B7D-4E51-9945-BF9D1D3A18C5}" type="parTrans" cxnId="{C15627B3-C8C3-4E25-8A75-854A18038E65}">
      <dgm:prSet/>
      <dgm:spPr/>
      <dgm:t>
        <a:bodyPr/>
        <a:lstStyle/>
        <a:p>
          <a:endParaRPr lang="en-US" altLang="zh-CN"/>
        </a:p>
      </dgm:t>
    </dgm:pt>
    <dgm:pt modelId="{59D2D90D-6288-4A99-BE88-00C76F8FE8E9}" type="sibTrans" cxnId="{C15627B3-C8C3-4E25-8A75-854A18038E65}">
      <dgm:prSet/>
      <dgm:spPr/>
      <dgm:t>
        <a:bodyPr/>
        <a:lstStyle/>
        <a:p>
          <a:endParaRPr lang="en-US" altLang="zh-CN"/>
        </a:p>
      </dgm:t>
    </dgm:pt>
    <dgm:pt modelId="{48F46557-7D6C-4E92-9A71-399E10F8BEE2}">
      <dgm:prSet phldrT="[Text]"/>
      <dgm:spPr/>
      <dgm:t>
        <a:bodyPr/>
        <a:lstStyle/>
        <a:p>
          <a:r>
            <a:rPr lang="en-GB" altLang="zh-CN" dirty="0" smtClean="0">
              <a:latin typeface="+mj-lt"/>
              <a:ea typeface="黑体" panose="02010609060101010101" pitchFamily="49" charset="-122"/>
            </a:rPr>
            <a:t>China content of the asset value and income of the overseas company being transferred</a:t>
          </a:r>
          <a:endParaRPr lang="en-US" altLang="zh-CN" dirty="0">
            <a:latin typeface="+mj-lt"/>
          </a:endParaRPr>
        </a:p>
      </dgm:t>
    </dgm:pt>
    <dgm:pt modelId="{10CF57C0-AA05-4FF7-A934-7C01638C20AB}" type="parTrans" cxnId="{B7FA24BE-B990-428E-A8F2-4E709B027405}">
      <dgm:prSet/>
      <dgm:spPr/>
      <dgm:t>
        <a:bodyPr/>
        <a:lstStyle/>
        <a:p>
          <a:endParaRPr lang="en-US" altLang="zh-CN"/>
        </a:p>
      </dgm:t>
    </dgm:pt>
    <dgm:pt modelId="{F1D063D6-A406-46C2-A968-E4C5A0A0FF26}" type="sibTrans" cxnId="{B7FA24BE-B990-428E-A8F2-4E709B027405}">
      <dgm:prSet/>
      <dgm:spPr/>
      <dgm:t>
        <a:bodyPr/>
        <a:lstStyle/>
        <a:p>
          <a:endParaRPr lang="en-US" altLang="zh-CN"/>
        </a:p>
      </dgm:t>
    </dgm:pt>
    <dgm:pt modelId="{0D8F81F1-BC9B-42BB-90C7-D0E00FC3364D}">
      <dgm:prSet phldrT="[Text]"/>
      <dgm:spPr/>
      <dgm:t>
        <a:bodyPr/>
        <a:lstStyle/>
        <a:p>
          <a:r>
            <a:rPr lang="en-GB" altLang="zh-CN" dirty="0" smtClean="0">
              <a:latin typeface="+mj-lt"/>
              <a:ea typeface="黑体" panose="02010609060101010101" pitchFamily="49" charset="-122"/>
            </a:rPr>
            <a:t>Functions performed and risks undertaken</a:t>
          </a:r>
          <a:endParaRPr lang="en-US" altLang="zh-CN" dirty="0">
            <a:latin typeface="+mj-lt"/>
            <a:ea typeface="黑体" panose="02010609060101010101" pitchFamily="49" charset="-122"/>
          </a:endParaRPr>
        </a:p>
      </dgm:t>
    </dgm:pt>
    <dgm:pt modelId="{FE6C76E1-F511-407C-9821-E54A8583D9A3}" type="parTrans" cxnId="{03E92C6D-B6AD-4B5F-9CDF-2C0D0CCBC2BC}">
      <dgm:prSet/>
      <dgm:spPr/>
      <dgm:t>
        <a:bodyPr/>
        <a:lstStyle/>
        <a:p>
          <a:endParaRPr lang="en-US" altLang="zh-CN"/>
        </a:p>
      </dgm:t>
    </dgm:pt>
    <dgm:pt modelId="{58B3228B-0A6B-4E98-A4C4-4FC7AD3DE36C}" type="sibTrans" cxnId="{03E92C6D-B6AD-4B5F-9CDF-2C0D0CCBC2BC}">
      <dgm:prSet/>
      <dgm:spPr/>
      <dgm:t>
        <a:bodyPr/>
        <a:lstStyle/>
        <a:p>
          <a:endParaRPr lang="en-US" altLang="zh-CN"/>
        </a:p>
      </dgm:t>
    </dgm:pt>
    <dgm:pt modelId="{1A300F7F-6F4B-42D9-869F-D62C6AA58FC2}">
      <dgm:prSet phldrT="[Text]"/>
      <dgm:spPr/>
      <dgm:t>
        <a:bodyPr/>
        <a:lstStyle/>
        <a:p>
          <a:r>
            <a:rPr lang="en-GB" altLang="zh-CN" dirty="0" smtClean="0">
              <a:latin typeface="+mj-lt"/>
              <a:ea typeface="黑体" panose="02010609060101010101" pitchFamily="49" charset="-122"/>
            </a:rPr>
            <a:t>When the shareholders, business model/structure was put into place?</a:t>
          </a:r>
          <a:endParaRPr lang="en-US" altLang="zh-CN" dirty="0">
            <a:latin typeface="+mj-lt"/>
            <a:ea typeface="黑体" panose="02010609060101010101" pitchFamily="49" charset="-122"/>
          </a:endParaRPr>
        </a:p>
      </dgm:t>
    </dgm:pt>
    <dgm:pt modelId="{D38A74F0-827D-4892-A45E-EC12652C7521}" type="parTrans" cxnId="{7158A46C-312C-4057-865D-0A92C66CE2D2}">
      <dgm:prSet/>
      <dgm:spPr/>
      <dgm:t>
        <a:bodyPr/>
        <a:lstStyle/>
        <a:p>
          <a:endParaRPr lang="en-US" altLang="zh-CN"/>
        </a:p>
      </dgm:t>
    </dgm:pt>
    <dgm:pt modelId="{F784EF30-16DF-4F20-9E00-220F00E36770}" type="sibTrans" cxnId="{7158A46C-312C-4057-865D-0A92C66CE2D2}">
      <dgm:prSet/>
      <dgm:spPr/>
      <dgm:t>
        <a:bodyPr/>
        <a:lstStyle/>
        <a:p>
          <a:endParaRPr lang="en-US" altLang="zh-CN"/>
        </a:p>
      </dgm:t>
    </dgm:pt>
    <dgm:pt modelId="{96D3B5A9-E98E-486F-BFD4-5C0C2EEF2D3A}">
      <dgm:prSet phldrT="[Text]"/>
      <dgm:spPr/>
      <dgm:t>
        <a:bodyPr/>
        <a:lstStyle/>
        <a:p>
          <a:r>
            <a:rPr lang="en-GB" altLang="zh-CN" dirty="0" smtClean="0">
              <a:latin typeface="+mj-lt"/>
              <a:ea typeface="黑体" panose="02010609060101010101" pitchFamily="49" charset="-122"/>
            </a:rPr>
            <a:t>Whether the indirect investment and transfer of the Taxable Properties in China can be substituted by a direct investment and direct transfer</a:t>
          </a:r>
          <a:endParaRPr lang="en-US" altLang="zh-CN" dirty="0">
            <a:latin typeface="+mj-lt"/>
            <a:ea typeface="黑体" panose="02010609060101010101" pitchFamily="49" charset="-122"/>
          </a:endParaRPr>
        </a:p>
      </dgm:t>
    </dgm:pt>
    <dgm:pt modelId="{CC1304AA-C984-44BB-BE59-C596C21CC3B2}" type="parTrans" cxnId="{4CCD9A02-6602-435B-9E3E-B9241C1E1E68}">
      <dgm:prSet/>
      <dgm:spPr/>
      <dgm:t>
        <a:bodyPr/>
        <a:lstStyle/>
        <a:p>
          <a:endParaRPr lang="en-US" altLang="zh-CN"/>
        </a:p>
      </dgm:t>
    </dgm:pt>
    <dgm:pt modelId="{A6FB3E1A-8778-4EDE-8790-EEBB2CAD7659}" type="sibTrans" cxnId="{4CCD9A02-6602-435B-9E3E-B9241C1E1E68}">
      <dgm:prSet/>
      <dgm:spPr/>
      <dgm:t>
        <a:bodyPr/>
        <a:lstStyle/>
        <a:p>
          <a:endParaRPr lang="en-US" altLang="zh-CN"/>
        </a:p>
      </dgm:t>
    </dgm:pt>
    <dgm:pt modelId="{68566C1B-7A20-406B-8BBA-F707B034EB15}" type="pres">
      <dgm:prSet presAssocID="{7BB7899D-18C5-42D8-BF9F-9D9530162AEB}" presName="Name0" presStyleCnt="0">
        <dgm:presLayoutVars>
          <dgm:chMax val="7"/>
          <dgm:chPref val="7"/>
          <dgm:dir/>
        </dgm:presLayoutVars>
      </dgm:prSet>
      <dgm:spPr/>
      <dgm:t>
        <a:bodyPr/>
        <a:lstStyle/>
        <a:p>
          <a:endParaRPr lang="en-US" altLang="zh-CN"/>
        </a:p>
      </dgm:t>
    </dgm:pt>
    <dgm:pt modelId="{CC938599-8F62-4A1D-AC2C-DE5F333AE603}" type="pres">
      <dgm:prSet presAssocID="{7BB7899D-18C5-42D8-BF9F-9D9530162AEB}" presName="Name1" presStyleCnt="0"/>
      <dgm:spPr/>
    </dgm:pt>
    <dgm:pt modelId="{5267A060-4702-4FE1-B2BF-CAD092E85B6C}" type="pres">
      <dgm:prSet presAssocID="{7BB7899D-18C5-42D8-BF9F-9D9530162AEB}" presName="cycle" presStyleCnt="0"/>
      <dgm:spPr/>
    </dgm:pt>
    <dgm:pt modelId="{8469A004-868D-4543-BF9E-6B8395682A70}" type="pres">
      <dgm:prSet presAssocID="{7BB7899D-18C5-42D8-BF9F-9D9530162AEB}" presName="srcNode" presStyleLbl="node1" presStyleIdx="0" presStyleCnt="7"/>
      <dgm:spPr/>
    </dgm:pt>
    <dgm:pt modelId="{B42B430F-024D-46A1-A628-01EE40499066}" type="pres">
      <dgm:prSet presAssocID="{7BB7899D-18C5-42D8-BF9F-9D9530162AEB}" presName="conn" presStyleLbl="parChTrans1D2" presStyleIdx="0" presStyleCnt="1"/>
      <dgm:spPr/>
      <dgm:t>
        <a:bodyPr/>
        <a:lstStyle/>
        <a:p>
          <a:endParaRPr lang="en-US" altLang="zh-CN"/>
        </a:p>
      </dgm:t>
    </dgm:pt>
    <dgm:pt modelId="{84F5B565-5083-48E7-948D-1EBFDEE03FD8}" type="pres">
      <dgm:prSet presAssocID="{7BB7899D-18C5-42D8-BF9F-9D9530162AEB}" presName="extraNode" presStyleLbl="node1" presStyleIdx="0" presStyleCnt="7"/>
      <dgm:spPr/>
    </dgm:pt>
    <dgm:pt modelId="{F000D1F0-A9C9-44CD-8C76-ADB3E2F86961}" type="pres">
      <dgm:prSet presAssocID="{7BB7899D-18C5-42D8-BF9F-9D9530162AEB}" presName="dstNode" presStyleLbl="node1" presStyleIdx="0" presStyleCnt="7"/>
      <dgm:spPr/>
    </dgm:pt>
    <dgm:pt modelId="{2860D8DD-8F7E-462F-AE6F-CE320046FE6C}" type="pres">
      <dgm:prSet presAssocID="{133B0A28-2AC9-43B9-8FE4-54C29B32E93C}" presName="text_1" presStyleLbl="node1" presStyleIdx="0" presStyleCnt="7" custLinFactNeighborX="11" custLinFactNeighborY="10520">
        <dgm:presLayoutVars>
          <dgm:bulletEnabled val="1"/>
        </dgm:presLayoutVars>
      </dgm:prSet>
      <dgm:spPr/>
      <dgm:t>
        <a:bodyPr/>
        <a:lstStyle/>
        <a:p>
          <a:endParaRPr lang="en-US" altLang="zh-CN"/>
        </a:p>
      </dgm:t>
    </dgm:pt>
    <dgm:pt modelId="{23E490CE-6B24-4477-B21C-6AAF90B182B4}" type="pres">
      <dgm:prSet presAssocID="{133B0A28-2AC9-43B9-8FE4-54C29B32E93C}" presName="accent_1" presStyleCnt="0"/>
      <dgm:spPr/>
    </dgm:pt>
    <dgm:pt modelId="{BAFD4F95-95FB-4312-8D9F-DCB398ADA0E1}" type="pres">
      <dgm:prSet presAssocID="{133B0A28-2AC9-43B9-8FE4-54C29B32E93C}" presName="accentRepeatNode" presStyleLbl="solidFgAcc1" presStyleIdx="0" presStyleCnt="7"/>
      <dgm:spPr/>
      <dgm:t>
        <a:bodyPr/>
        <a:lstStyle/>
        <a:p>
          <a:endParaRPr lang="en-US" altLang="zh-CN"/>
        </a:p>
      </dgm:t>
    </dgm:pt>
    <dgm:pt modelId="{8EAF7736-0338-48D1-A449-208D5306B97F}" type="pres">
      <dgm:prSet presAssocID="{48F46557-7D6C-4E92-9A71-399E10F8BEE2}" presName="text_2" presStyleLbl="node1" presStyleIdx="1" presStyleCnt="7">
        <dgm:presLayoutVars>
          <dgm:bulletEnabled val="1"/>
        </dgm:presLayoutVars>
      </dgm:prSet>
      <dgm:spPr/>
      <dgm:t>
        <a:bodyPr/>
        <a:lstStyle/>
        <a:p>
          <a:endParaRPr lang="en-US" altLang="zh-CN"/>
        </a:p>
      </dgm:t>
    </dgm:pt>
    <dgm:pt modelId="{50F741CD-E980-436F-8A1B-8314F05EECD7}" type="pres">
      <dgm:prSet presAssocID="{48F46557-7D6C-4E92-9A71-399E10F8BEE2}" presName="accent_2" presStyleCnt="0"/>
      <dgm:spPr/>
    </dgm:pt>
    <dgm:pt modelId="{EF242032-1715-476F-9CE3-08A10002A1E2}" type="pres">
      <dgm:prSet presAssocID="{48F46557-7D6C-4E92-9A71-399E10F8BEE2}" presName="accentRepeatNode" presStyleLbl="solidFgAcc1" presStyleIdx="1" presStyleCnt="7"/>
      <dgm:spPr/>
    </dgm:pt>
    <dgm:pt modelId="{63C5CE4B-7BAD-4C9D-B17C-D63F2EC24749}" type="pres">
      <dgm:prSet presAssocID="{0D8F81F1-BC9B-42BB-90C7-D0E00FC3364D}" presName="text_3" presStyleLbl="node1" presStyleIdx="2" presStyleCnt="7">
        <dgm:presLayoutVars>
          <dgm:bulletEnabled val="1"/>
        </dgm:presLayoutVars>
      </dgm:prSet>
      <dgm:spPr/>
      <dgm:t>
        <a:bodyPr/>
        <a:lstStyle/>
        <a:p>
          <a:endParaRPr lang="en-US" altLang="zh-CN"/>
        </a:p>
      </dgm:t>
    </dgm:pt>
    <dgm:pt modelId="{26E5DCF9-5258-42E2-94D0-321AA9CE2225}" type="pres">
      <dgm:prSet presAssocID="{0D8F81F1-BC9B-42BB-90C7-D0E00FC3364D}" presName="accent_3" presStyleCnt="0"/>
      <dgm:spPr/>
    </dgm:pt>
    <dgm:pt modelId="{67E91D50-1DAF-4358-96DF-AE06351C809D}" type="pres">
      <dgm:prSet presAssocID="{0D8F81F1-BC9B-42BB-90C7-D0E00FC3364D}" presName="accentRepeatNode" presStyleLbl="solidFgAcc1" presStyleIdx="2" presStyleCnt="7"/>
      <dgm:spPr>
        <a:blipFill rotWithShape="0">
          <a:blip xmlns:r="http://schemas.openxmlformats.org/officeDocument/2006/relationships" r:embed="rId1"/>
          <a:stretch>
            <a:fillRect/>
          </a:stretch>
        </a:blipFill>
      </dgm:spPr>
      <dgm:t>
        <a:bodyPr/>
        <a:lstStyle/>
        <a:p>
          <a:endParaRPr lang="en-US" altLang="zh-CN"/>
        </a:p>
      </dgm:t>
    </dgm:pt>
    <dgm:pt modelId="{7C15943A-C327-4127-B217-DBE21C64AB15}" type="pres">
      <dgm:prSet presAssocID="{1A300F7F-6F4B-42D9-869F-D62C6AA58FC2}" presName="text_4" presStyleLbl="node1" presStyleIdx="3" presStyleCnt="7">
        <dgm:presLayoutVars>
          <dgm:bulletEnabled val="1"/>
        </dgm:presLayoutVars>
      </dgm:prSet>
      <dgm:spPr/>
      <dgm:t>
        <a:bodyPr/>
        <a:lstStyle/>
        <a:p>
          <a:endParaRPr lang="en-US" altLang="zh-CN"/>
        </a:p>
      </dgm:t>
    </dgm:pt>
    <dgm:pt modelId="{5BAD158C-DCB0-4151-8CC8-94F6C89980FF}" type="pres">
      <dgm:prSet presAssocID="{1A300F7F-6F4B-42D9-869F-D62C6AA58FC2}" presName="accent_4" presStyleCnt="0"/>
      <dgm:spPr/>
    </dgm:pt>
    <dgm:pt modelId="{DBB21E0D-26DB-4B91-857C-ED2345A04E81}" type="pres">
      <dgm:prSet presAssocID="{1A300F7F-6F4B-42D9-869F-D62C6AA58FC2}" presName="accentRepeatNode" presStyleLbl="solidFgAcc1" presStyleIdx="3" presStyleCnt="7"/>
      <dgm:spPr/>
    </dgm:pt>
    <dgm:pt modelId="{62B84CDC-908F-4B41-8757-198888634285}" type="pres">
      <dgm:prSet presAssocID="{96D3B5A9-E98E-486F-BFD4-5C0C2EEF2D3A}" presName="text_5" presStyleLbl="node1" presStyleIdx="4" presStyleCnt="7">
        <dgm:presLayoutVars>
          <dgm:bulletEnabled val="1"/>
        </dgm:presLayoutVars>
      </dgm:prSet>
      <dgm:spPr/>
      <dgm:t>
        <a:bodyPr/>
        <a:lstStyle/>
        <a:p>
          <a:endParaRPr lang="en-US" altLang="zh-CN"/>
        </a:p>
      </dgm:t>
    </dgm:pt>
    <dgm:pt modelId="{8597BDCF-A312-4AD7-8DB4-8949F1A75BF1}" type="pres">
      <dgm:prSet presAssocID="{96D3B5A9-E98E-486F-BFD4-5C0C2EEF2D3A}" presName="accent_5" presStyleCnt="0"/>
      <dgm:spPr/>
    </dgm:pt>
    <dgm:pt modelId="{EB0829A8-EE0A-4DD5-BC33-345BABAEAF71}" type="pres">
      <dgm:prSet presAssocID="{96D3B5A9-E98E-486F-BFD4-5C0C2EEF2D3A}" presName="accentRepeatNode" presStyleLbl="solidFgAcc1" presStyleIdx="4" presStyleCnt="7"/>
      <dgm:spPr/>
    </dgm:pt>
    <dgm:pt modelId="{A9AD2C22-ED89-40BD-8ADD-65BA4F686E89}" type="pres">
      <dgm:prSet presAssocID="{5B41862F-A75D-40C2-9C5E-2A2A187C60A0}" presName="text_6" presStyleLbl="node1" presStyleIdx="5" presStyleCnt="7">
        <dgm:presLayoutVars>
          <dgm:bulletEnabled val="1"/>
        </dgm:presLayoutVars>
      </dgm:prSet>
      <dgm:spPr/>
      <dgm:t>
        <a:bodyPr/>
        <a:lstStyle/>
        <a:p>
          <a:endParaRPr lang="en-US" altLang="zh-CN"/>
        </a:p>
      </dgm:t>
    </dgm:pt>
    <dgm:pt modelId="{89FD7ECF-0FDF-44D1-970F-D098A21ACF95}" type="pres">
      <dgm:prSet presAssocID="{5B41862F-A75D-40C2-9C5E-2A2A187C60A0}" presName="accent_6" presStyleCnt="0"/>
      <dgm:spPr/>
    </dgm:pt>
    <dgm:pt modelId="{7518F70F-3D6D-4CEC-9585-3F99F94A738B}" type="pres">
      <dgm:prSet presAssocID="{5B41862F-A75D-40C2-9C5E-2A2A187C60A0}" presName="accentRepeatNode" presStyleLbl="solidFgAcc1" presStyleIdx="5" presStyleCnt="7"/>
      <dgm:spPr/>
    </dgm:pt>
    <dgm:pt modelId="{81026F26-645E-4CE6-916F-09EA0EBA9F11}" type="pres">
      <dgm:prSet presAssocID="{C1B32161-8336-4205-9895-1F99DD936267}" presName="text_7" presStyleLbl="node1" presStyleIdx="6" presStyleCnt="7">
        <dgm:presLayoutVars>
          <dgm:bulletEnabled val="1"/>
        </dgm:presLayoutVars>
      </dgm:prSet>
      <dgm:spPr/>
      <dgm:t>
        <a:bodyPr/>
        <a:lstStyle/>
        <a:p>
          <a:endParaRPr lang="en-US" altLang="zh-CN"/>
        </a:p>
      </dgm:t>
    </dgm:pt>
    <dgm:pt modelId="{968FB83E-CC55-4A9B-80C2-A0818276C1BA}" type="pres">
      <dgm:prSet presAssocID="{C1B32161-8336-4205-9895-1F99DD936267}" presName="accent_7" presStyleCnt="0"/>
      <dgm:spPr/>
    </dgm:pt>
    <dgm:pt modelId="{43A1021F-890E-4CCF-814F-470FF466E4D1}" type="pres">
      <dgm:prSet presAssocID="{C1B32161-8336-4205-9895-1F99DD936267}" presName="accentRepeatNode" presStyleLbl="solidFgAcc1" presStyleIdx="6" presStyleCnt="7"/>
      <dgm:spPr/>
    </dgm:pt>
  </dgm:ptLst>
  <dgm:cxnLst>
    <dgm:cxn modelId="{4CCD9A02-6602-435B-9E3E-B9241C1E1E68}" srcId="{7BB7899D-18C5-42D8-BF9F-9D9530162AEB}" destId="{96D3B5A9-E98E-486F-BFD4-5C0C2EEF2D3A}" srcOrd="4" destOrd="0" parTransId="{CC1304AA-C984-44BB-BE59-C596C21CC3B2}" sibTransId="{A6FB3E1A-8778-4EDE-8790-EEBB2CAD7659}"/>
    <dgm:cxn modelId="{C15627B3-C8C3-4E25-8A75-854A18038E65}" srcId="{7BB7899D-18C5-42D8-BF9F-9D9530162AEB}" destId="{C1B32161-8336-4205-9895-1F99DD936267}" srcOrd="6" destOrd="0" parTransId="{F8100D4F-8B7D-4E51-9945-BF9D1D3A18C5}" sibTransId="{59D2D90D-6288-4A99-BE88-00C76F8FE8E9}"/>
    <dgm:cxn modelId="{03E92C6D-B6AD-4B5F-9CDF-2C0D0CCBC2BC}" srcId="{7BB7899D-18C5-42D8-BF9F-9D9530162AEB}" destId="{0D8F81F1-BC9B-42BB-90C7-D0E00FC3364D}" srcOrd="2" destOrd="0" parTransId="{FE6C76E1-F511-407C-9821-E54A8583D9A3}" sibTransId="{58B3228B-0A6B-4E98-A4C4-4FC7AD3DE36C}"/>
    <dgm:cxn modelId="{EA170798-F365-4289-8C8C-A909537ED744}" type="presOf" srcId="{96D3B5A9-E98E-486F-BFD4-5C0C2EEF2D3A}" destId="{62B84CDC-908F-4B41-8757-198888634285}" srcOrd="0" destOrd="0" presId="urn:microsoft.com/office/officeart/2008/layout/VerticalCurvedList"/>
    <dgm:cxn modelId="{FC44CC58-17E0-4EE8-9E0E-CF5E33B45562}" srcId="{7BB7899D-18C5-42D8-BF9F-9D9530162AEB}" destId="{133B0A28-2AC9-43B9-8FE4-54C29B32E93C}" srcOrd="0" destOrd="0" parTransId="{0FACB5F6-B10E-4A49-BE65-8BF86BC44E1E}" sibTransId="{F1A32B6D-25A2-46D5-B831-D55F0BF92A7B}"/>
    <dgm:cxn modelId="{B7FA24BE-B990-428E-A8F2-4E709B027405}" srcId="{7BB7899D-18C5-42D8-BF9F-9D9530162AEB}" destId="{48F46557-7D6C-4E92-9A71-399E10F8BEE2}" srcOrd="1" destOrd="0" parTransId="{10CF57C0-AA05-4FF7-A934-7C01638C20AB}" sibTransId="{F1D063D6-A406-46C2-A968-E4C5A0A0FF26}"/>
    <dgm:cxn modelId="{11C703F5-B5C4-44B8-8ADA-C97A65F87633}" srcId="{7BB7899D-18C5-42D8-BF9F-9D9530162AEB}" destId="{5B41862F-A75D-40C2-9C5E-2A2A187C60A0}" srcOrd="5" destOrd="0" parTransId="{DD6AAF9E-2503-408F-9D2A-590DA59C2F14}" sibTransId="{EEA3AEAB-6E2C-4658-A2C8-B8A52F9DB590}"/>
    <dgm:cxn modelId="{60C1DA93-6FA3-4FB9-BDB1-F31D52FA458C}" type="presOf" srcId="{0D8F81F1-BC9B-42BB-90C7-D0E00FC3364D}" destId="{63C5CE4B-7BAD-4C9D-B17C-D63F2EC24749}" srcOrd="0" destOrd="0" presId="urn:microsoft.com/office/officeart/2008/layout/VerticalCurvedList"/>
    <dgm:cxn modelId="{D9DD6CBE-4A06-4DF1-85B6-BE5CAF5D6645}" type="presOf" srcId="{F1A32B6D-25A2-46D5-B831-D55F0BF92A7B}" destId="{B42B430F-024D-46A1-A628-01EE40499066}" srcOrd="0" destOrd="0" presId="urn:microsoft.com/office/officeart/2008/layout/VerticalCurvedList"/>
    <dgm:cxn modelId="{97880D7C-6143-4B9D-A687-BA583DE80016}" type="presOf" srcId="{1A300F7F-6F4B-42D9-869F-D62C6AA58FC2}" destId="{7C15943A-C327-4127-B217-DBE21C64AB15}" srcOrd="0" destOrd="0" presId="urn:microsoft.com/office/officeart/2008/layout/VerticalCurvedList"/>
    <dgm:cxn modelId="{B062A119-24AB-49A3-882E-371C6303BBFD}" type="presOf" srcId="{C1B32161-8336-4205-9895-1F99DD936267}" destId="{81026F26-645E-4CE6-916F-09EA0EBA9F11}" srcOrd="0" destOrd="0" presId="urn:microsoft.com/office/officeart/2008/layout/VerticalCurvedList"/>
    <dgm:cxn modelId="{7158A46C-312C-4057-865D-0A92C66CE2D2}" srcId="{7BB7899D-18C5-42D8-BF9F-9D9530162AEB}" destId="{1A300F7F-6F4B-42D9-869F-D62C6AA58FC2}" srcOrd="3" destOrd="0" parTransId="{D38A74F0-827D-4892-A45E-EC12652C7521}" sibTransId="{F784EF30-16DF-4F20-9E00-220F00E36770}"/>
    <dgm:cxn modelId="{A160D36C-C894-45EA-8E5C-64F30579F238}" type="presOf" srcId="{7BB7899D-18C5-42D8-BF9F-9D9530162AEB}" destId="{68566C1B-7A20-406B-8BBA-F707B034EB15}" srcOrd="0" destOrd="0" presId="urn:microsoft.com/office/officeart/2008/layout/VerticalCurvedList"/>
    <dgm:cxn modelId="{8CD7B113-7A3D-4BB9-9673-CAFA9C3B9227}" type="presOf" srcId="{5B41862F-A75D-40C2-9C5E-2A2A187C60A0}" destId="{A9AD2C22-ED89-40BD-8ADD-65BA4F686E89}" srcOrd="0" destOrd="0" presId="urn:microsoft.com/office/officeart/2008/layout/VerticalCurvedList"/>
    <dgm:cxn modelId="{846DD2EA-A9BF-442B-81E5-4C784E39223F}" type="presOf" srcId="{133B0A28-2AC9-43B9-8FE4-54C29B32E93C}" destId="{2860D8DD-8F7E-462F-AE6F-CE320046FE6C}" srcOrd="0" destOrd="0" presId="urn:microsoft.com/office/officeart/2008/layout/VerticalCurvedList"/>
    <dgm:cxn modelId="{B32F0E13-EAF9-4765-9D94-9877A9D8B942}" type="presOf" srcId="{48F46557-7D6C-4E92-9A71-399E10F8BEE2}" destId="{8EAF7736-0338-48D1-A449-208D5306B97F}" srcOrd="0" destOrd="0" presId="urn:microsoft.com/office/officeart/2008/layout/VerticalCurvedList"/>
    <dgm:cxn modelId="{800F769B-5298-4F33-B071-AAEB8F79A8D1}" type="presParOf" srcId="{68566C1B-7A20-406B-8BBA-F707B034EB15}" destId="{CC938599-8F62-4A1D-AC2C-DE5F333AE603}" srcOrd="0" destOrd="0" presId="urn:microsoft.com/office/officeart/2008/layout/VerticalCurvedList"/>
    <dgm:cxn modelId="{CA5BF70E-B3FA-4988-9299-9F2CA55702F4}" type="presParOf" srcId="{CC938599-8F62-4A1D-AC2C-DE5F333AE603}" destId="{5267A060-4702-4FE1-B2BF-CAD092E85B6C}" srcOrd="0" destOrd="0" presId="urn:microsoft.com/office/officeart/2008/layout/VerticalCurvedList"/>
    <dgm:cxn modelId="{92228D4F-1874-424D-A719-E39DD58E2DFA}" type="presParOf" srcId="{5267A060-4702-4FE1-B2BF-CAD092E85B6C}" destId="{8469A004-868D-4543-BF9E-6B8395682A70}" srcOrd="0" destOrd="0" presId="urn:microsoft.com/office/officeart/2008/layout/VerticalCurvedList"/>
    <dgm:cxn modelId="{A48924FD-4932-4581-871F-452237E744D3}" type="presParOf" srcId="{5267A060-4702-4FE1-B2BF-CAD092E85B6C}" destId="{B42B430F-024D-46A1-A628-01EE40499066}" srcOrd="1" destOrd="0" presId="urn:microsoft.com/office/officeart/2008/layout/VerticalCurvedList"/>
    <dgm:cxn modelId="{0E73C4F0-99FF-4277-9C71-D674DF7DF500}" type="presParOf" srcId="{5267A060-4702-4FE1-B2BF-CAD092E85B6C}" destId="{84F5B565-5083-48E7-948D-1EBFDEE03FD8}" srcOrd="2" destOrd="0" presId="urn:microsoft.com/office/officeart/2008/layout/VerticalCurvedList"/>
    <dgm:cxn modelId="{6AAC2FD0-69F9-4E67-9731-FF60EB61EDF4}" type="presParOf" srcId="{5267A060-4702-4FE1-B2BF-CAD092E85B6C}" destId="{F000D1F0-A9C9-44CD-8C76-ADB3E2F86961}" srcOrd="3" destOrd="0" presId="urn:microsoft.com/office/officeart/2008/layout/VerticalCurvedList"/>
    <dgm:cxn modelId="{F3FE2825-B85C-444C-A9BC-D9CA79BA04E6}" type="presParOf" srcId="{CC938599-8F62-4A1D-AC2C-DE5F333AE603}" destId="{2860D8DD-8F7E-462F-AE6F-CE320046FE6C}" srcOrd="1" destOrd="0" presId="urn:microsoft.com/office/officeart/2008/layout/VerticalCurvedList"/>
    <dgm:cxn modelId="{41D9EFD4-B655-4D9E-93A7-19AFBBEE14D0}" type="presParOf" srcId="{CC938599-8F62-4A1D-AC2C-DE5F333AE603}" destId="{23E490CE-6B24-4477-B21C-6AAF90B182B4}" srcOrd="2" destOrd="0" presId="urn:microsoft.com/office/officeart/2008/layout/VerticalCurvedList"/>
    <dgm:cxn modelId="{270A3598-CDC9-4224-90FC-A5BAE6381C2E}" type="presParOf" srcId="{23E490CE-6B24-4477-B21C-6AAF90B182B4}" destId="{BAFD4F95-95FB-4312-8D9F-DCB398ADA0E1}" srcOrd="0" destOrd="0" presId="urn:microsoft.com/office/officeart/2008/layout/VerticalCurvedList"/>
    <dgm:cxn modelId="{E7683862-B1CC-45B8-B078-206B51717021}" type="presParOf" srcId="{CC938599-8F62-4A1D-AC2C-DE5F333AE603}" destId="{8EAF7736-0338-48D1-A449-208D5306B97F}" srcOrd="3" destOrd="0" presId="urn:microsoft.com/office/officeart/2008/layout/VerticalCurvedList"/>
    <dgm:cxn modelId="{2CFB9F36-DEC3-479B-86E1-E9E3C498E59B}" type="presParOf" srcId="{CC938599-8F62-4A1D-AC2C-DE5F333AE603}" destId="{50F741CD-E980-436F-8A1B-8314F05EECD7}" srcOrd="4" destOrd="0" presId="urn:microsoft.com/office/officeart/2008/layout/VerticalCurvedList"/>
    <dgm:cxn modelId="{488305B9-B5B6-45E8-BEFE-89776D200C84}" type="presParOf" srcId="{50F741CD-E980-436F-8A1B-8314F05EECD7}" destId="{EF242032-1715-476F-9CE3-08A10002A1E2}" srcOrd="0" destOrd="0" presId="urn:microsoft.com/office/officeart/2008/layout/VerticalCurvedList"/>
    <dgm:cxn modelId="{413018A9-2C9D-44BB-A98E-DA9BFD8DC735}" type="presParOf" srcId="{CC938599-8F62-4A1D-AC2C-DE5F333AE603}" destId="{63C5CE4B-7BAD-4C9D-B17C-D63F2EC24749}" srcOrd="5" destOrd="0" presId="urn:microsoft.com/office/officeart/2008/layout/VerticalCurvedList"/>
    <dgm:cxn modelId="{5A6AD438-17D2-4CE7-9C06-659639C0B8D7}" type="presParOf" srcId="{CC938599-8F62-4A1D-AC2C-DE5F333AE603}" destId="{26E5DCF9-5258-42E2-94D0-321AA9CE2225}" srcOrd="6" destOrd="0" presId="urn:microsoft.com/office/officeart/2008/layout/VerticalCurvedList"/>
    <dgm:cxn modelId="{84922DF4-8DF8-432E-8869-543FC07A0970}" type="presParOf" srcId="{26E5DCF9-5258-42E2-94D0-321AA9CE2225}" destId="{67E91D50-1DAF-4358-96DF-AE06351C809D}" srcOrd="0" destOrd="0" presId="urn:microsoft.com/office/officeart/2008/layout/VerticalCurvedList"/>
    <dgm:cxn modelId="{EA51D552-9F40-4724-BE89-BE5EFC9C679F}" type="presParOf" srcId="{CC938599-8F62-4A1D-AC2C-DE5F333AE603}" destId="{7C15943A-C327-4127-B217-DBE21C64AB15}" srcOrd="7" destOrd="0" presId="urn:microsoft.com/office/officeart/2008/layout/VerticalCurvedList"/>
    <dgm:cxn modelId="{8C4FE165-D46D-4617-98A3-4D8A134B2913}" type="presParOf" srcId="{CC938599-8F62-4A1D-AC2C-DE5F333AE603}" destId="{5BAD158C-DCB0-4151-8CC8-94F6C89980FF}" srcOrd="8" destOrd="0" presId="urn:microsoft.com/office/officeart/2008/layout/VerticalCurvedList"/>
    <dgm:cxn modelId="{B45C0370-F691-4813-866D-27D3596FD045}" type="presParOf" srcId="{5BAD158C-DCB0-4151-8CC8-94F6C89980FF}" destId="{DBB21E0D-26DB-4B91-857C-ED2345A04E81}" srcOrd="0" destOrd="0" presId="urn:microsoft.com/office/officeart/2008/layout/VerticalCurvedList"/>
    <dgm:cxn modelId="{4DF84E85-737A-4A45-9FA5-1B4F27C5CD36}" type="presParOf" srcId="{CC938599-8F62-4A1D-AC2C-DE5F333AE603}" destId="{62B84CDC-908F-4B41-8757-198888634285}" srcOrd="9" destOrd="0" presId="urn:microsoft.com/office/officeart/2008/layout/VerticalCurvedList"/>
    <dgm:cxn modelId="{9D1CFD9C-6BD2-43B4-9C1E-17B03673A4CD}" type="presParOf" srcId="{CC938599-8F62-4A1D-AC2C-DE5F333AE603}" destId="{8597BDCF-A312-4AD7-8DB4-8949F1A75BF1}" srcOrd="10" destOrd="0" presId="urn:microsoft.com/office/officeart/2008/layout/VerticalCurvedList"/>
    <dgm:cxn modelId="{A3291FE7-5906-43B0-B8A3-4D58E1D63921}" type="presParOf" srcId="{8597BDCF-A312-4AD7-8DB4-8949F1A75BF1}" destId="{EB0829A8-EE0A-4DD5-BC33-345BABAEAF71}" srcOrd="0" destOrd="0" presId="urn:microsoft.com/office/officeart/2008/layout/VerticalCurvedList"/>
    <dgm:cxn modelId="{82A415CC-EF5B-469B-B396-A940DB9FBA47}" type="presParOf" srcId="{CC938599-8F62-4A1D-AC2C-DE5F333AE603}" destId="{A9AD2C22-ED89-40BD-8ADD-65BA4F686E89}" srcOrd="11" destOrd="0" presId="urn:microsoft.com/office/officeart/2008/layout/VerticalCurvedList"/>
    <dgm:cxn modelId="{606C9AD5-7E10-4B83-BF66-45F4AEF87384}" type="presParOf" srcId="{CC938599-8F62-4A1D-AC2C-DE5F333AE603}" destId="{89FD7ECF-0FDF-44D1-970F-D098A21ACF95}" srcOrd="12" destOrd="0" presId="urn:microsoft.com/office/officeart/2008/layout/VerticalCurvedList"/>
    <dgm:cxn modelId="{019C5E64-08ED-4D8B-A6BD-54BB25A20DA0}" type="presParOf" srcId="{89FD7ECF-0FDF-44D1-970F-D098A21ACF95}" destId="{7518F70F-3D6D-4CEC-9585-3F99F94A738B}" srcOrd="0" destOrd="0" presId="urn:microsoft.com/office/officeart/2008/layout/VerticalCurvedList"/>
    <dgm:cxn modelId="{C280F4B6-E328-4D49-B89C-A9421DBADB4D}" type="presParOf" srcId="{CC938599-8F62-4A1D-AC2C-DE5F333AE603}" destId="{81026F26-645E-4CE6-916F-09EA0EBA9F11}" srcOrd="13" destOrd="0" presId="urn:microsoft.com/office/officeart/2008/layout/VerticalCurvedList"/>
    <dgm:cxn modelId="{F6E524AC-76F9-4BD5-A3D7-95F0A88F4F4F}" type="presParOf" srcId="{CC938599-8F62-4A1D-AC2C-DE5F333AE603}" destId="{968FB83E-CC55-4A9B-80C2-A0818276C1BA}" srcOrd="14" destOrd="0" presId="urn:microsoft.com/office/officeart/2008/layout/VerticalCurvedList"/>
    <dgm:cxn modelId="{DCEB27E2-6251-450A-B4DB-756E79C94C73}" type="presParOf" srcId="{968FB83E-CC55-4A9B-80C2-A0818276C1BA}" destId="{43A1021F-890E-4CCF-814F-470FF466E4D1}" srcOrd="0" destOrd="0" presId="urn:microsoft.com/office/officeart/2008/layout/VerticalCurvedList"/>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A5229E1-3D9D-487C-8405-23BEFEF979A4}" type="doc">
      <dgm:prSet loTypeId="urn:microsoft.com/office/officeart/2005/8/layout/matrix1" loCatId="matrix" qsTypeId="urn:microsoft.com/office/officeart/2005/8/quickstyle/simple1" qsCatId="simple" csTypeId="urn:microsoft.com/office/officeart/2005/8/colors/colorful1" csCatId="colorful" phldr="1"/>
      <dgm:spPr/>
      <dgm:t>
        <a:bodyPr/>
        <a:lstStyle/>
        <a:p>
          <a:endParaRPr lang="zh-CN" altLang="en-US"/>
        </a:p>
      </dgm:t>
    </dgm:pt>
    <dgm:pt modelId="{0B65369C-033E-405E-BF88-4A73174AAD36}">
      <dgm:prSet phldrT="[Text]" custT="1"/>
      <dgm:spPr>
        <a:xfrm>
          <a:off x="2486181" y="1172346"/>
          <a:ext cx="2804500" cy="699858"/>
        </a:xfrm>
        <a:prstGeom prst="roundRect">
          <a:avLst/>
        </a:prstGeom>
        <a:solidFill>
          <a:srgbClr val="E0301E">
            <a:tint val="400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lgn="l"/>
          <a:r>
            <a:rPr lang="en-GB" altLang="zh-CN" sz="1400" dirty="0" smtClean="0">
              <a:latin typeface="+mj-lt"/>
              <a:ea typeface="黑体" panose="02010609060101010101" pitchFamily="49" charset="-122"/>
            </a:rPr>
            <a:t>ALL tests are met </a:t>
          </a:r>
          <a:r>
            <a:rPr lang="en-GB" altLang="zh-CN" sz="1400" dirty="0" smtClean="0">
              <a:latin typeface="+mj-lt"/>
              <a:ea typeface="黑体" panose="02010609060101010101" pitchFamily="49" charset="-122"/>
              <a:sym typeface="Wingdings" panose="05000000000000000000" pitchFamily="2" charset="2"/>
            </a:rPr>
            <a:t> </a:t>
          </a:r>
          <a:r>
            <a:rPr lang="en-GB" altLang="zh-CN" sz="1400" dirty="0" smtClean="0">
              <a:latin typeface="+mj-lt"/>
              <a:ea typeface="黑体" panose="02010609060101010101" pitchFamily="49" charset="-122"/>
            </a:rPr>
            <a:t>considered </a:t>
          </a:r>
          <a:r>
            <a:rPr lang="en-GB" sz="1400" dirty="0" smtClean="0">
              <a:latin typeface="+mj-lt"/>
              <a:ea typeface="黑体" panose="02010609060101010101" pitchFamily="49" charset="-122"/>
            </a:rPr>
            <a:t>as with no reasonable commercial purpose</a:t>
          </a:r>
          <a:endParaRPr lang="zh-CN" altLang="en-US" sz="1400" dirty="0">
            <a:latin typeface="+mj-lt"/>
            <a:ea typeface="黑体" panose="02010609060101010101" pitchFamily="49" charset="-122"/>
          </a:endParaRPr>
        </a:p>
      </dgm:t>
    </dgm:pt>
    <dgm:pt modelId="{A146060D-8553-478A-8995-297168F4FF53}" type="parTrans" cxnId="{CFD1F919-7618-42DA-A651-7EE5982FB2C8}">
      <dgm:prSet/>
      <dgm:spPr/>
      <dgm:t>
        <a:bodyPr/>
        <a:lstStyle/>
        <a:p>
          <a:pPr algn="l"/>
          <a:endParaRPr lang="zh-CN" altLang="en-US" sz="1800" b="1">
            <a:latin typeface="黑体" panose="02010609060101010101" pitchFamily="49" charset="-122"/>
            <a:ea typeface="黑体" panose="02010609060101010101" pitchFamily="49" charset="-122"/>
          </a:endParaRPr>
        </a:p>
      </dgm:t>
    </dgm:pt>
    <dgm:pt modelId="{284C41A0-B32F-4007-AF4E-462A011E4A2B}" type="sibTrans" cxnId="{CFD1F919-7618-42DA-A651-7EE5982FB2C8}">
      <dgm:prSet/>
      <dgm:spPr/>
      <dgm:t>
        <a:bodyPr/>
        <a:lstStyle/>
        <a:p>
          <a:pPr algn="l"/>
          <a:endParaRPr lang="zh-CN" altLang="en-US" sz="1800" b="1">
            <a:latin typeface="黑体" panose="02010609060101010101" pitchFamily="49" charset="-122"/>
            <a:ea typeface="黑体" panose="02010609060101010101" pitchFamily="49" charset="-122"/>
          </a:endParaRPr>
        </a:p>
      </dgm:t>
    </dgm:pt>
    <dgm:pt modelId="{2254108A-8EB3-4535-8DC5-BACEACD7E879}">
      <dgm:prSet phldrT="[Text]" custT="1"/>
      <dgm:spPr>
        <a:xfrm rot="16200000">
          <a:off x="1183078" y="-1183078"/>
          <a:ext cx="1522275" cy="3888432"/>
        </a:xfrm>
        <a:prstGeom prst="round1Rect">
          <a:avLst/>
        </a:prstGeom>
        <a:solidFill>
          <a:srgbClr val="E0301E">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lgn="l"/>
          <a:r>
            <a:rPr lang="en-US" altLang="zh-CN" sz="1400" dirty="0" smtClean="0">
              <a:latin typeface="+mj-lt"/>
              <a:ea typeface="黑体" panose="02010609060101010101" pitchFamily="49" charset="-122"/>
            </a:rPr>
            <a:t>1.</a:t>
          </a:r>
          <a:r>
            <a:rPr lang="zh-CN" altLang="zh-CN" sz="1400" dirty="0" smtClean="0">
              <a:latin typeface="+mj-lt"/>
              <a:ea typeface="黑体" panose="02010609060101010101" pitchFamily="49" charset="-122"/>
            </a:rPr>
            <a:t> </a:t>
          </a:r>
          <a:r>
            <a:rPr lang="en-GB" altLang="zh-CN" sz="1400" dirty="0" smtClean="0">
              <a:latin typeface="+mj-lt"/>
              <a:ea typeface="黑体" panose="02010609060101010101" pitchFamily="49" charset="-122"/>
            </a:rPr>
            <a:t>Majority of the value of the overseas company being transferred is derived from Taxable Properties in China.</a:t>
          </a:r>
          <a:endParaRPr lang="zh-CN" altLang="en-US" sz="1400" dirty="0">
            <a:latin typeface="+mj-lt"/>
            <a:ea typeface="黑体" panose="02010609060101010101" pitchFamily="49" charset="-122"/>
          </a:endParaRPr>
        </a:p>
      </dgm:t>
    </dgm:pt>
    <dgm:pt modelId="{72F4C082-908E-4FF4-B654-8219E953D1D7}" type="parTrans" cxnId="{DDA1CAAD-0432-4BC6-B3FE-382DB1098E2D}">
      <dgm:prSet/>
      <dgm:spPr/>
      <dgm:t>
        <a:bodyPr/>
        <a:lstStyle/>
        <a:p>
          <a:pPr algn="l"/>
          <a:endParaRPr lang="zh-CN" altLang="en-US" sz="1800" b="1">
            <a:latin typeface="黑体" panose="02010609060101010101" pitchFamily="49" charset="-122"/>
            <a:ea typeface="黑体" panose="02010609060101010101" pitchFamily="49" charset="-122"/>
          </a:endParaRPr>
        </a:p>
      </dgm:t>
    </dgm:pt>
    <dgm:pt modelId="{D80E25B2-25FB-4E39-BE93-37050E531167}" type="sibTrans" cxnId="{DDA1CAAD-0432-4BC6-B3FE-382DB1098E2D}">
      <dgm:prSet/>
      <dgm:spPr/>
      <dgm:t>
        <a:bodyPr/>
        <a:lstStyle/>
        <a:p>
          <a:pPr algn="l"/>
          <a:endParaRPr lang="zh-CN" altLang="en-US" sz="1800" b="1">
            <a:latin typeface="黑体" panose="02010609060101010101" pitchFamily="49" charset="-122"/>
            <a:ea typeface="黑体" panose="02010609060101010101" pitchFamily="49" charset="-122"/>
          </a:endParaRPr>
        </a:p>
      </dgm:t>
    </dgm:pt>
    <dgm:pt modelId="{B2DFFC36-04AA-467F-A499-15BF6317C061}">
      <dgm:prSet phldrT="[Text]" custT="1"/>
      <dgm:spPr>
        <a:xfrm>
          <a:off x="3888432" y="0"/>
          <a:ext cx="3888432" cy="1522275"/>
        </a:xfrm>
        <a:prstGeom prst="round1Rect">
          <a:avLst/>
        </a:prstGeom>
        <a:solidFill>
          <a:srgbClr val="60232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lgn="l"/>
          <a:endParaRPr lang="en-US" altLang="zh-CN" sz="1400" dirty="0" smtClean="0">
            <a:latin typeface="+mj-lt"/>
            <a:ea typeface="黑体" panose="02010609060101010101" pitchFamily="49" charset="-122"/>
          </a:endParaRPr>
        </a:p>
        <a:p>
          <a:pPr algn="l"/>
          <a:r>
            <a:rPr lang="en-US" altLang="zh-CN" sz="1400" dirty="0" smtClean="0">
              <a:latin typeface="+mj-lt"/>
              <a:ea typeface="黑体" panose="02010609060101010101" pitchFamily="49" charset="-122"/>
            </a:rPr>
            <a:t>2.</a:t>
          </a:r>
          <a:r>
            <a:rPr lang="zh-CN" altLang="zh-CN" sz="1400" dirty="0" smtClean="0">
              <a:latin typeface="+mj-lt"/>
              <a:ea typeface="黑体" panose="02010609060101010101" pitchFamily="49" charset="-122"/>
            </a:rPr>
            <a:t> </a:t>
          </a:r>
          <a:r>
            <a:rPr lang="en-GB" altLang="zh-CN" sz="1400" dirty="0" smtClean="0">
              <a:latin typeface="+mj-lt"/>
              <a:ea typeface="黑体" panose="02010609060101010101" pitchFamily="49" charset="-122"/>
            </a:rPr>
            <a:t>Majority </a:t>
          </a:r>
          <a:r>
            <a:rPr lang="en-GB" sz="1400" dirty="0" smtClean="0">
              <a:latin typeface="+mj-lt"/>
              <a:ea typeface="黑体" panose="02010609060101010101" pitchFamily="49" charset="-122"/>
            </a:rPr>
            <a:t>of the </a:t>
          </a:r>
          <a:r>
            <a:rPr lang="en-GB" sz="1400" b="1" u="none" dirty="0" smtClean="0">
              <a:latin typeface="+mj-lt"/>
              <a:ea typeface="黑体" panose="02010609060101010101" pitchFamily="49" charset="-122"/>
            </a:rPr>
            <a:t>total assets </a:t>
          </a:r>
          <a:r>
            <a:rPr lang="en-GB" sz="1400" u="none" dirty="0" smtClean="0">
              <a:latin typeface="+mj-lt"/>
              <a:ea typeface="黑体" panose="02010609060101010101" pitchFamily="49" charset="-122"/>
            </a:rPr>
            <a:t>(</a:t>
          </a:r>
          <a:r>
            <a:rPr lang="en-GB" sz="1400" b="1" u="none" dirty="0" smtClean="0">
              <a:latin typeface="+mj-lt"/>
              <a:ea typeface="黑体" panose="02010609060101010101" pitchFamily="49" charset="-122"/>
            </a:rPr>
            <a:t>not cash</a:t>
          </a:r>
          <a:r>
            <a:rPr lang="en-GB" sz="1400" u="none" dirty="0" smtClean="0">
              <a:latin typeface="+mj-lt"/>
              <a:ea typeface="黑体" panose="02010609060101010101" pitchFamily="49" charset="-122"/>
            </a:rPr>
            <a:t>) </a:t>
          </a:r>
          <a:r>
            <a:rPr lang="en-GB" sz="1400" dirty="0" smtClean="0">
              <a:latin typeface="+mj-lt"/>
              <a:ea typeface="黑体" panose="02010609060101010101" pitchFamily="49" charset="-122"/>
            </a:rPr>
            <a:t>of the overseas company being transferred is derived from Taxable Properties in China, or</a:t>
          </a:r>
        </a:p>
        <a:p>
          <a:pPr algn="l"/>
          <a:r>
            <a:rPr lang="en-GB" sz="1400" dirty="0" smtClean="0">
              <a:latin typeface="+mj-lt"/>
              <a:ea typeface="黑体" panose="02010609060101010101" pitchFamily="49" charset="-122"/>
            </a:rPr>
            <a:t>Majority of its income is derived from China.</a:t>
          </a:r>
          <a:endParaRPr lang="zh-CN" altLang="en-US" sz="1400" b="1" dirty="0">
            <a:solidFill>
              <a:srgbClr val="FFFFFF"/>
            </a:solidFill>
            <a:latin typeface="+mj-lt"/>
            <a:ea typeface="宋体" panose="02010600030101010101" pitchFamily="2" charset="-122"/>
            <a:cs typeface="+mn-cs"/>
          </a:endParaRPr>
        </a:p>
      </dgm:t>
    </dgm:pt>
    <dgm:pt modelId="{B16D3875-5278-411D-A8D4-300448BE686D}" type="parTrans" cxnId="{15AEEC6D-8DF5-465A-B3C2-82D16ADDDC60}">
      <dgm:prSet/>
      <dgm:spPr/>
      <dgm:t>
        <a:bodyPr/>
        <a:lstStyle/>
        <a:p>
          <a:pPr algn="l"/>
          <a:endParaRPr lang="zh-CN" altLang="en-US" sz="1800" b="1">
            <a:latin typeface="黑体" panose="02010609060101010101" pitchFamily="49" charset="-122"/>
            <a:ea typeface="黑体" panose="02010609060101010101" pitchFamily="49" charset="-122"/>
          </a:endParaRPr>
        </a:p>
      </dgm:t>
    </dgm:pt>
    <dgm:pt modelId="{75FD9C7B-B591-4EDF-B79E-C663B684A4DD}" type="sibTrans" cxnId="{15AEEC6D-8DF5-465A-B3C2-82D16ADDDC60}">
      <dgm:prSet/>
      <dgm:spPr/>
      <dgm:t>
        <a:bodyPr/>
        <a:lstStyle/>
        <a:p>
          <a:pPr algn="l"/>
          <a:endParaRPr lang="zh-CN" altLang="en-US" sz="1800" b="1">
            <a:latin typeface="黑体" panose="02010609060101010101" pitchFamily="49" charset="-122"/>
            <a:ea typeface="黑体" panose="02010609060101010101" pitchFamily="49" charset="-122"/>
          </a:endParaRPr>
        </a:p>
      </dgm:t>
    </dgm:pt>
    <dgm:pt modelId="{8D69DC20-8A78-4154-BADB-5BEF3225F819}">
      <dgm:prSet phldrT="[Text]" custT="1"/>
      <dgm:spPr>
        <a:xfrm rot="5400000">
          <a:off x="5071510" y="339197"/>
          <a:ext cx="1522275" cy="3888432"/>
        </a:xfrm>
        <a:prstGeom prst="round1Rect">
          <a:avLst/>
        </a:prstGeom>
        <a:solidFill>
          <a:srgbClr val="DC6900">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lgn="l"/>
          <a:r>
            <a:rPr lang="en-GB" altLang="zh-CN" sz="1400" dirty="0" smtClean="0">
              <a:latin typeface="+mj-lt"/>
              <a:ea typeface="黑体" panose="02010609060101010101" pitchFamily="49" charset="-122"/>
            </a:rPr>
            <a:t>4. </a:t>
          </a:r>
          <a:r>
            <a:rPr lang="en-GB" sz="1400" dirty="0" smtClean="0">
              <a:latin typeface="+mj-lt"/>
              <a:ea typeface="黑体" panose="02010609060101010101" pitchFamily="49" charset="-122"/>
            </a:rPr>
            <a:t>The CIT payable arising from indirect equity transfer is lower than the </a:t>
          </a:r>
          <a:r>
            <a:rPr lang="en-GB" sz="1400" u="none" dirty="0" smtClean="0">
              <a:latin typeface="+mj-lt"/>
              <a:ea typeface="黑体" panose="02010609060101010101" pitchFamily="49" charset="-122"/>
            </a:rPr>
            <a:t>potential </a:t>
          </a:r>
          <a:r>
            <a:rPr lang="en-GB" sz="1400" b="0" u="none" dirty="0" smtClean="0">
              <a:latin typeface="+mj-lt"/>
              <a:ea typeface="黑体" panose="02010609060101010101" pitchFamily="49" charset="-122"/>
            </a:rPr>
            <a:t>tax burden</a:t>
          </a:r>
          <a:r>
            <a:rPr lang="en-GB" sz="1400" u="none" dirty="0" smtClean="0">
              <a:latin typeface="+mj-lt"/>
              <a:ea typeface="黑体" panose="02010609060101010101" pitchFamily="49" charset="-122"/>
            </a:rPr>
            <a:t> </a:t>
          </a:r>
          <a:r>
            <a:rPr lang="en-GB" sz="1400" dirty="0" smtClean="0">
              <a:latin typeface="+mj-lt"/>
              <a:ea typeface="黑体" panose="02010609060101010101" pitchFamily="49" charset="-122"/>
            </a:rPr>
            <a:t>of a direct transfer of the China taxable properties. </a:t>
          </a:r>
          <a:endParaRPr lang="zh-CN" altLang="en-US" sz="1400" dirty="0">
            <a:latin typeface="+mj-lt"/>
            <a:ea typeface="黑体" panose="02010609060101010101" pitchFamily="49" charset="-122"/>
          </a:endParaRPr>
        </a:p>
      </dgm:t>
    </dgm:pt>
    <dgm:pt modelId="{C857E62B-829D-4008-9D6B-4658EF8F3F75}" type="parTrans" cxnId="{827A944A-37E7-40FA-BDDC-1C07F9FB496E}">
      <dgm:prSet/>
      <dgm:spPr/>
      <dgm:t>
        <a:bodyPr/>
        <a:lstStyle/>
        <a:p>
          <a:pPr algn="l"/>
          <a:endParaRPr lang="zh-CN" altLang="en-US" sz="1800" b="1">
            <a:latin typeface="黑体" panose="02010609060101010101" pitchFamily="49" charset="-122"/>
            <a:ea typeface="黑体" panose="02010609060101010101" pitchFamily="49" charset="-122"/>
          </a:endParaRPr>
        </a:p>
      </dgm:t>
    </dgm:pt>
    <dgm:pt modelId="{BCB51EE0-C623-4A5C-85FC-D751A4FCE60D}" type="sibTrans" cxnId="{827A944A-37E7-40FA-BDDC-1C07F9FB496E}">
      <dgm:prSet/>
      <dgm:spPr/>
      <dgm:t>
        <a:bodyPr/>
        <a:lstStyle/>
        <a:p>
          <a:pPr algn="l"/>
          <a:endParaRPr lang="zh-CN" altLang="en-US" sz="1800" b="1">
            <a:latin typeface="黑体" panose="02010609060101010101" pitchFamily="49" charset="-122"/>
            <a:ea typeface="黑体" panose="02010609060101010101" pitchFamily="49" charset="-122"/>
          </a:endParaRPr>
        </a:p>
      </dgm:t>
    </dgm:pt>
    <dgm:pt modelId="{15F43D4C-F5A4-4514-8D21-A1C4FB542F46}">
      <dgm:prSet phldrT="[Text]" custT="1"/>
      <dgm:spPr>
        <a:xfrm rot="10800000">
          <a:off x="0" y="1522275"/>
          <a:ext cx="3888432" cy="1522275"/>
        </a:xfrm>
        <a:prstGeom prst="round1Rect">
          <a:avLst/>
        </a:prstGeom>
        <a:solidFill>
          <a:srgbClr val="DB536A">
            <a:hueOff val="0"/>
            <a:satOff val="0"/>
            <a:lumOff val="0"/>
            <a:alphaOff val="0"/>
          </a:srgbClr>
        </a:solidFill>
        <a:ln w="25400" cap="flat" cmpd="sng" algn="ctr">
          <a:solidFill>
            <a:srgbClr val="FFFFFF">
              <a:hueOff val="0"/>
              <a:satOff val="0"/>
              <a:lumOff val="0"/>
              <a:alphaOff val="0"/>
            </a:srgbClr>
          </a:solidFill>
          <a:prstDash val="solid"/>
        </a:ln>
        <a:effectLst/>
      </dgm:spPr>
      <dgm:t>
        <a:bodyPr/>
        <a:lstStyle/>
        <a:p>
          <a:pPr algn="l"/>
          <a:r>
            <a:rPr lang="en-US" altLang="zh-CN" sz="1400" dirty="0" smtClean="0">
              <a:latin typeface="+mj-lt"/>
              <a:ea typeface="黑体" panose="02010609060101010101" pitchFamily="49" charset="-122"/>
            </a:rPr>
            <a:t>3.</a:t>
          </a:r>
          <a:r>
            <a:rPr lang="zh-CN" altLang="en-US" sz="1400" dirty="0" smtClean="0">
              <a:latin typeface="+mj-lt"/>
              <a:ea typeface="黑体" panose="02010609060101010101" pitchFamily="49" charset="-122"/>
            </a:rPr>
            <a:t> </a:t>
          </a:r>
          <a:r>
            <a:rPr lang="en-GB" altLang="zh-CN" sz="1400" dirty="0" smtClean="0">
              <a:latin typeface="+mj-lt"/>
              <a:ea typeface="黑体" panose="02010609060101010101" pitchFamily="49" charset="-122"/>
            </a:rPr>
            <a:t>The company being transferred and its overseas subsidiaries perform </a:t>
          </a:r>
          <a:r>
            <a:rPr lang="en-GB" altLang="zh-CN" sz="1400" b="1" u="none" dirty="0" smtClean="0">
              <a:latin typeface="+mj-lt"/>
              <a:ea typeface="黑体" panose="02010609060101010101" pitchFamily="49" charset="-122"/>
            </a:rPr>
            <a:t>limited</a:t>
          </a:r>
          <a:r>
            <a:rPr lang="en-GB" altLang="zh-CN" sz="1400" u="none" dirty="0" smtClean="0">
              <a:latin typeface="+mj-lt"/>
              <a:ea typeface="黑体" panose="02010609060101010101" pitchFamily="49" charset="-122"/>
            </a:rPr>
            <a:t> functions and undertake </a:t>
          </a:r>
          <a:r>
            <a:rPr lang="en-GB" altLang="zh-CN" sz="1400" b="1" u="none" dirty="0" smtClean="0">
              <a:latin typeface="+mj-lt"/>
              <a:ea typeface="黑体" panose="02010609060101010101" pitchFamily="49" charset="-122"/>
            </a:rPr>
            <a:t>limited</a:t>
          </a:r>
          <a:r>
            <a:rPr lang="en-GB" altLang="zh-CN" sz="1400" u="none" dirty="0" smtClean="0">
              <a:latin typeface="+mj-lt"/>
              <a:ea typeface="黑体" panose="02010609060101010101" pitchFamily="49" charset="-122"/>
            </a:rPr>
            <a:t> risks</a:t>
          </a:r>
          <a:endParaRPr lang="zh-CN" altLang="en-US" sz="1400" u="none" dirty="0">
            <a:latin typeface="+mj-lt"/>
            <a:ea typeface="黑体" panose="02010609060101010101" pitchFamily="49" charset="-122"/>
          </a:endParaRPr>
        </a:p>
      </dgm:t>
    </dgm:pt>
    <dgm:pt modelId="{E5DF6C01-7E41-4278-B877-B6A80E0000EE}" type="sibTrans" cxnId="{74E04CA3-EED8-45F2-B6D5-9DBF1AF4C621}">
      <dgm:prSet/>
      <dgm:spPr/>
      <dgm:t>
        <a:bodyPr/>
        <a:lstStyle/>
        <a:p>
          <a:pPr algn="l"/>
          <a:endParaRPr lang="zh-CN" altLang="en-US" sz="1800" b="1">
            <a:latin typeface="黑体" panose="02010609060101010101" pitchFamily="49" charset="-122"/>
            <a:ea typeface="黑体" panose="02010609060101010101" pitchFamily="49" charset="-122"/>
          </a:endParaRPr>
        </a:p>
      </dgm:t>
    </dgm:pt>
    <dgm:pt modelId="{67C990A8-E9D5-44F1-99B1-2D578EA3FD5F}" type="parTrans" cxnId="{74E04CA3-EED8-45F2-B6D5-9DBF1AF4C621}">
      <dgm:prSet/>
      <dgm:spPr/>
      <dgm:t>
        <a:bodyPr/>
        <a:lstStyle/>
        <a:p>
          <a:pPr algn="l"/>
          <a:endParaRPr lang="zh-CN" altLang="en-US" sz="1800" b="1">
            <a:latin typeface="黑体" panose="02010609060101010101" pitchFamily="49" charset="-122"/>
            <a:ea typeface="黑体" panose="02010609060101010101" pitchFamily="49" charset="-122"/>
          </a:endParaRPr>
        </a:p>
      </dgm:t>
    </dgm:pt>
    <dgm:pt modelId="{8CF6D4A6-94B9-4E2F-B1BB-BB9914F48C19}" type="pres">
      <dgm:prSet presAssocID="{0A5229E1-3D9D-487C-8405-23BEFEF979A4}" presName="diagram" presStyleCnt="0">
        <dgm:presLayoutVars>
          <dgm:chMax val="1"/>
          <dgm:dir/>
          <dgm:animLvl val="ctr"/>
          <dgm:resizeHandles val="exact"/>
        </dgm:presLayoutVars>
      </dgm:prSet>
      <dgm:spPr/>
      <dgm:t>
        <a:bodyPr/>
        <a:lstStyle/>
        <a:p>
          <a:endParaRPr lang="zh-CN" altLang="en-US"/>
        </a:p>
      </dgm:t>
    </dgm:pt>
    <dgm:pt modelId="{61097519-C723-49B3-834E-2C259D50AA33}" type="pres">
      <dgm:prSet presAssocID="{0A5229E1-3D9D-487C-8405-23BEFEF979A4}" presName="matrix" presStyleCnt="0"/>
      <dgm:spPr/>
    </dgm:pt>
    <dgm:pt modelId="{87CCA44F-2CC8-4BAB-B07F-8D945807DD42}" type="pres">
      <dgm:prSet presAssocID="{0A5229E1-3D9D-487C-8405-23BEFEF979A4}" presName="tile1" presStyleLbl="node1" presStyleIdx="0" presStyleCnt="4"/>
      <dgm:spPr/>
      <dgm:t>
        <a:bodyPr/>
        <a:lstStyle/>
        <a:p>
          <a:endParaRPr lang="zh-CN" altLang="en-US"/>
        </a:p>
      </dgm:t>
    </dgm:pt>
    <dgm:pt modelId="{B97354AE-C456-4D7A-9D4C-20A076AC1183}" type="pres">
      <dgm:prSet presAssocID="{0A5229E1-3D9D-487C-8405-23BEFEF979A4}" presName="tile1text" presStyleLbl="node1" presStyleIdx="0" presStyleCnt="4">
        <dgm:presLayoutVars>
          <dgm:chMax val="0"/>
          <dgm:chPref val="0"/>
          <dgm:bulletEnabled val="1"/>
        </dgm:presLayoutVars>
      </dgm:prSet>
      <dgm:spPr/>
      <dgm:t>
        <a:bodyPr/>
        <a:lstStyle/>
        <a:p>
          <a:endParaRPr lang="zh-CN" altLang="en-US"/>
        </a:p>
      </dgm:t>
    </dgm:pt>
    <dgm:pt modelId="{F31CFC3B-9FFF-4590-BFD5-6E8C1BDB6AFB}" type="pres">
      <dgm:prSet presAssocID="{0A5229E1-3D9D-487C-8405-23BEFEF979A4}" presName="tile2" presStyleLbl="node1" presStyleIdx="1" presStyleCnt="4" custLinFactNeighborX="0"/>
      <dgm:spPr/>
      <dgm:t>
        <a:bodyPr/>
        <a:lstStyle/>
        <a:p>
          <a:endParaRPr lang="zh-CN" altLang="en-US"/>
        </a:p>
      </dgm:t>
    </dgm:pt>
    <dgm:pt modelId="{E7B4FE49-7B3E-446E-8012-112891CC9089}" type="pres">
      <dgm:prSet presAssocID="{0A5229E1-3D9D-487C-8405-23BEFEF979A4}" presName="tile2text" presStyleLbl="node1" presStyleIdx="1" presStyleCnt="4">
        <dgm:presLayoutVars>
          <dgm:chMax val="0"/>
          <dgm:chPref val="0"/>
          <dgm:bulletEnabled val="1"/>
        </dgm:presLayoutVars>
      </dgm:prSet>
      <dgm:spPr/>
      <dgm:t>
        <a:bodyPr/>
        <a:lstStyle/>
        <a:p>
          <a:endParaRPr lang="zh-CN" altLang="en-US"/>
        </a:p>
      </dgm:t>
    </dgm:pt>
    <dgm:pt modelId="{FEE32ED4-3ED1-46A2-AA47-C408369F1DEC}" type="pres">
      <dgm:prSet presAssocID="{0A5229E1-3D9D-487C-8405-23BEFEF979A4}" presName="tile3" presStyleLbl="node1" presStyleIdx="2" presStyleCnt="4"/>
      <dgm:spPr/>
      <dgm:t>
        <a:bodyPr/>
        <a:lstStyle/>
        <a:p>
          <a:endParaRPr lang="zh-CN" altLang="en-US"/>
        </a:p>
      </dgm:t>
    </dgm:pt>
    <dgm:pt modelId="{6FF2BADD-A557-46D2-AB4B-A14B5B50900E}" type="pres">
      <dgm:prSet presAssocID="{0A5229E1-3D9D-487C-8405-23BEFEF979A4}" presName="tile3text" presStyleLbl="node1" presStyleIdx="2" presStyleCnt="4">
        <dgm:presLayoutVars>
          <dgm:chMax val="0"/>
          <dgm:chPref val="0"/>
          <dgm:bulletEnabled val="1"/>
        </dgm:presLayoutVars>
      </dgm:prSet>
      <dgm:spPr/>
      <dgm:t>
        <a:bodyPr/>
        <a:lstStyle/>
        <a:p>
          <a:endParaRPr lang="zh-CN" altLang="en-US"/>
        </a:p>
      </dgm:t>
    </dgm:pt>
    <dgm:pt modelId="{6FF8A9EB-1C60-4490-ABF7-E96FEF64185B}" type="pres">
      <dgm:prSet presAssocID="{0A5229E1-3D9D-487C-8405-23BEFEF979A4}" presName="tile4" presStyleLbl="node1" presStyleIdx="3" presStyleCnt="4"/>
      <dgm:spPr/>
      <dgm:t>
        <a:bodyPr/>
        <a:lstStyle/>
        <a:p>
          <a:endParaRPr lang="zh-CN" altLang="en-US"/>
        </a:p>
      </dgm:t>
    </dgm:pt>
    <dgm:pt modelId="{C9B94CC1-C2F4-4DD6-9D70-D909F1320D07}" type="pres">
      <dgm:prSet presAssocID="{0A5229E1-3D9D-487C-8405-23BEFEF979A4}" presName="tile4text" presStyleLbl="node1" presStyleIdx="3" presStyleCnt="4">
        <dgm:presLayoutVars>
          <dgm:chMax val="0"/>
          <dgm:chPref val="0"/>
          <dgm:bulletEnabled val="1"/>
        </dgm:presLayoutVars>
      </dgm:prSet>
      <dgm:spPr/>
      <dgm:t>
        <a:bodyPr/>
        <a:lstStyle/>
        <a:p>
          <a:endParaRPr lang="zh-CN" altLang="en-US"/>
        </a:p>
      </dgm:t>
    </dgm:pt>
    <dgm:pt modelId="{1CAA9371-BB29-41DD-AB68-ED8333F6ADDD}" type="pres">
      <dgm:prSet presAssocID="{0A5229E1-3D9D-487C-8405-23BEFEF979A4}" presName="centerTile" presStyleLbl="fgShp" presStyleIdx="0" presStyleCnt="1" custScaleX="120207" custScaleY="91949">
        <dgm:presLayoutVars>
          <dgm:chMax val="0"/>
          <dgm:chPref val="0"/>
        </dgm:presLayoutVars>
      </dgm:prSet>
      <dgm:spPr/>
      <dgm:t>
        <a:bodyPr/>
        <a:lstStyle/>
        <a:p>
          <a:endParaRPr lang="zh-CN" altLang="en-US"/>
        </a:p>
      </dgm:t>
    </dgm:pt>
  </dgm:ptLst>
  <dgm:cxnLst>
    <dgm:cxn modelId="{827A944A-37E7-40FA-BDDC-1C07F9FB496E}" srcId="{0B65369C-033E-405E-BF88-4A73174AAD36}" destId="{8D69DC20-8A78-4154-BADB-5BEF3225F819}" srcOrd="3" destOrd="0" parTransId="{C857E62B-829D-4008-9D6B-4658EF8F3F75}" sibTransId="{BCB51EE0-C623-4A5C-85FC-D751A4FCE60D}"/>
    <dgm:cxn modelId="{E528E4C4-3581-4339-BFF5-2AD3EC867E7A}" type="presOf" srcId="{0A5229E1-3D9D-487C-8405-23BEFEF979A4}" destId="{8CF6D4A6-94B9-4E2F-B1BB-BB9914F48C19}" srcOrd="0" destOrd="0" presId="urn:microsoft.com/office/officeart/2005/8/layout/matrix1"/>
    <dgm:cxn modelId="{191C3343-84F9-460A-A03D-9E31950EA239}" type="presOf" srcId="{2254108A-8EB3-4535-8DC5-BACEACD7E879}" destId="{87CCA44F-2CC8-4BAB-B07F-8D945807DD42}" srcOrd="0" destOrd="0" presId="urn:microsoft.com/office/officeart/2005/8/layout/matrix1"/>
    <dgm:cxn modelId="{07341AFB-10E1-47FE-BABB-CDECC43F2452}" type="presOf" srcId="{B2DFFC36-04AA-467F-A499-15BF6317C061}" destId="{E7B4FE49-7B3E-446E-8012-112891CC9089}" srcOrd="1" destOrd="0" presId="urn:microsoft.com/office/officeart/2005/8/layout/matrix1"/>
    <dgm:cxn modelId="{8D0B1B79-A8A1-4625-A19D-5D772FF620FB}" type="presOf" srcId="{0B65369C-033E-405E-BF88-4A73174AAD36}" destId="{1CAA9371-BB29-41DD-AB68-ED8333F6ADDD}" srcOrd="0" destOrd="0" presId="urn:microsoft.com/office/officeart/2005/8/layout/matrix1"/>
    <dgm:cxn modelId="{2640B24C-1D23-4535-BAC1-4C2AC6F46BF4}" type="presOf" srcId="{B2DFFC36-04AA-467F-A499-15BF6317C061}" destId="{F31CFC3B-9FFF-4590-BFD5-6E8C1BDB6AFB}" srcOrd="0" destOrd="0" presId="urn:microsoft.com/office/officeart/2005/8/layout/matrix1"/>
    <dgm:cxn modelId="{E442E9C4-F444-4BBA-BC73-D5BE4FAD2689}" type="presOf" srcId="{2254108A-8EB3-4535-8DC5-BACEACD7E879}" destId="{B97354AE-C456-4D7A-9D4C-20A076AC1183}" srcOrd="1" destOrd="0" presId="urn:microsoft.com/office/officeart/2005/8/layout/matrix1"/>
    <dgm:cxn modelId="{DDA1CAAD-0432-4BC6-B3FE-382DB1098E2D}" srcId="{0B65369C-033E-405E-BF88-4A73174AAD36}" destId="{2254108A-8EB3-4535-8DC5-BACEACD7E879}" srcOrd="0" destOrd="0" parTransId="{72F4C082-908E-4FF4-B654-8219E953D1D7}" sibTransId="{D80E25B2-25FB-4E39-BE93-37050E531167}"/>
    <dgm:cxn modelId="{74E04CA3-EED8-45F2-B6D5-9DBF1AF4C621}" srcId="{0B65369C-033E-405E-BF88-4A73174AAD36}" destId="{15F43D4C-F5A4-4514-8D21-A1C4FB542F46}" srcOrd="2" destOrd="0" parTransId="{67C990A8-E9D5-44F1-99B1-2D578EA3FD5F}" sibTransId="{E5DF6C01-7E41-4278-B877-B6A80E0000EE}"/>
    <dgm:cxn modelId="{4F2326AD-9780-4DED-AD83-DEF2A3F9367B}" type="presOf" srcId="{8D69DC20-8A78-4154-BADB-5BEF3225F819}" destId="{6FF8A9EB-1C60-4490-ABF7-E96FEF64185B}" srcOrd="0" destOrd="0" presId="urn:microsoft.com/office/officeart/2005/8/layout/matrix1"/>
    <dgm:cxn modelId="{15AEEC6D-8DF5-465A-B3C2-82D16ADDDC60}" srcId="{0B65369C-033E-405E-BF88-4A73174AAD36}" destId="{B2DFFC36-04AA-467F-A499-15BF6317C061}" srcOrd="1" destOrd="0" parTransId="{B16D3875-5278-411D-A8D4-300448BE686D}" sibTransId="{75FD9C7B-B591-4EDF-B79E-C663B684A4DD}"/>
    <dgm:cxn modelId="{06C659F6-3138-45F8-A6ED-F46D44633509}" type="presOf" srcId="{8D69DC20-8A78-4154-BADB-5BEF3225F819}" destId="{C9B94CC1-C2F4-4DD6-9D70-D909F1320D07}" srcOrd="1" destOrd="0" presId="urn:microsoft.com/office/officeart/2005/8/layout/matrix1"/>
    <dgm:cxn modelId="{27E3FE50-69A8-432C-957E-06E09FDA438F}" type="presOf" srcId="{15F43D4C-F5A4-4514-8D21-A1C4FB542F46}" destId="{FEE32ED4-3ED1-46A2-AA47-C408369F1DEC}" srcOrd="0" destOrd="0" presId="urn:microsoft.com/office/officeart/2005/8/layout/matrix1"/>
    <dgm:cxn modelId="{CFD1F919-7618-42DA-A651-7EE5982FB2C8}" srcId="{0A5229E1-3D9D-487C-8405-23BEFEF979A4}" destId="{0B65369C-033E-405E-BF88-4A73174AAD36}" srcOrd="0" destOrd="0" parTransId="{A146060D-8553-478A-8995-297168F4FF53}" sibTransId="{284C41A0-B32F-4007-AF4E-462A011E4A2B}"/>
    <dgm:cxn modelId="{AD595981-2E2D-410A-8D44-E7797C6ED289}" type="presOf" srcId="{15F43D4C-F5A4-4514-8D21-A1C4FB542F46}" destId="{6FF2BADD-A557-46D2-AB4B-A14B5B50900E}" srcOrd="1" destOrd="0" presId="urn:microsoft.com/office/officeart/2005/8/layout/matrix1"/>
    <dgm:cxn modelId="{8A883D1D-100C-40FF-A61E-7CD6B470B76F}" type="presParOf" srcId="{8CF6D4A6-94B9-4E2F-B1BB-BB9914F48C19}" destId="{61097519-C723-49B3-834E-2C259D50AA33}" srcOrd="0" destOrd="0" presId="urn:microsoft.com/office/officeart/2005/8/layout/matrix1"/>
    <dgm:cxn modelId="{C52E7B2F-297A-4362-A157-BCAF34F0BD45}" type="presParOf" srcId="{61097519-C723-49B3-834E-2C259D50AA33}" destId="{87CCA44F-2CC8-4BAB-B07F-8D945807DD42}" srcOrd="0" destOrd="0" presId="urn:microsoft.com/office/officeart/2005/8/layout/matrix1"/>
    <dgm:cxn modelId="{AC434912-2BF2-40FB-AF46-03A4258F7791}" type="presParOf" srcId="{61097519-C723-49B3-834E-2C259D50AA33}" destId="{B97354AE-C456-4D7A-9D4C-20A076AC1183}" srcOrd="1" destOrd="0" presId="urn:microsoft.com/office/officeart/2005/8/layout/matrix1"/>
    <dgm:cxn modelId="{3800A953-DC11-446B-B6E8-0BE5077DE732}" type="presParOf" srcId="{61097519-C723-49B3-834E-2C259D50AA33}" destId="{F31CFC3B-9FFF-4590-BFD5-6E8C1BDB6AFB}" srcOrd="2" destOrd="0" presId="urn:microsoft.com/office/officeart/2005/8/layout/matrix1"/>
    <dgm:cxn modelId="{6AE13B77-1723-4283-A267-CB96E583BFDC}" type="presParOf" srcId="{61097519-C723-49B3-834E-2C259D50AA33}" destId="{E7B4FE49-7B3E-446E-8012-112891CC9089}" srcOrd="3" destOrd="0" presId="urn:microsoft.com/office/officeart/2005/8/layout/matrix1"/>
    <dgm:cxn modelId="{A51359D5-A777-445C-93D5-7650C9A85601}" type="presParOf" srcId="{61097519-C723-49B3-834E-2C259D50AA33}" destId="{FEE32ED4-3ED1-46A2-AA47-C408369F1DEC}" srcOrd="4" destOrd="0" presId="urn:microsoft.com/office/officeart/2005/8/layout/matrix1"/>
    <dgm:cxn modelId="{7E540940-366B-4245-A9ED-85DADE8B04B5}" type="presParOf" srcId="{61097519-C723-49B3-834E-2C259D50AA33}" destId="{6FF2BADD-A557-46D2-AB4B-A14B5B50900E}" srcOrd="5" destOrd="0" presId="urn:microsoft.com/office/officeart/2005/8/layout/matrix1"/>
    <dgm:cxn modelId="{25E06DE3-3413-4085-83D0-92903A20B302}" type="presParOf" srcId="{61097519-C723-49B3-834E-2C259D50AA33}" destId="{6FF8A9EB-1C60-4490-ABF7-E96FEF64185B}" srcOrd="6" destOrd="0" presId="urn:microsoft.com/office/officeart/2005/8/layout/matrix1"/>
    <dgm:cxn modelId="{D01E8E7E-8B97-4111-8DE9-6B950E37D074}" type="presParOf" srcId="{61097519-C723-49B3-834E-2C259D50AA33}" destId="{C9B94CC1-C2F4-4DD6-9D70-D909F1320D07}" srcOrd="7" destOrd="0" presId="urn:microsoft.com/office/officeart/2005/8/layout/matrix1"/>
    <dgm:cxn modelId="{5C9C3AC9-193D-4E34-9661-D8604F1B75DC}" type="presParOf" srcId="{8CF6D4A6-94B9-4E2F-B1BB-BB9914F48C19}" destId="{1CAA9371-BB29-41DD-AB68-ED8333F6ADDD}" srcOrd="1" destOrd="0" presId="urn:microsoft.com/office/officeart/2005/8/layout/matrix1"/>
  </dgm:cxnLst>
  <dgm:bg/>
  <dgm:whole/>
  <dgm:extLst>
    <a:ext uri="http://schemas.microsoft.com/office/drawing/2008/diagram">
      <dsp:dataModelExt xmlns:dsp="http://schemas.microsoft.com/office/drawing/2008/diagram" relId="rId1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42B430F-024D-46A1-A628-01EE40499066}">
      <dsp:nvSpPr>
        <dsp:cNvPr id="0" name=""/>
        <dsp:cNvSpPr/>
      </dsp:nvSpPr>
      <dsp:spPr>
        <a:xfrm>
          <a:off x="-5511004" y="-844209"/>
          <a:ext cx="6565219" cy="6565219"/>
        </a:xfrm>
        <a:prstGeom prst="blockArc">
          <a:avLst>
            <a:gd name="adj1" fmla="val 18900000"/>
            <a:gd name="adj2" fmla="val 2700000"/>
            <a:gd name="adj3" fmla="val 329"/>
          </a:avLst>
        </a:prstGeom>
        <a:noFill/>
        <a:ln w="25400" cap="flat" cmpd="sng" algn="ctr">
          <a:solidFill>
            <a:schemeClr val="dk2">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860D8DD-8F7E-462F-AE6F-CE320046FE6C}">
      <dsp:nvSpPr>
        <dsp:cNvPr id="0" name=""/>
        <dsp:cNvSpPr/>
      </dsp:nvSpPr>
      <dsp:spPr>
        <a:xfrm>
          <a:off x="342848" y="268324"/>
          <a:ext cx="6734194" cy="443203"/>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1793" tIns="35560" rIns="35560" bIns="35560" numCol="1" spcCol="1270" anchor="ctr" anchorCtr="0">
          <a:noAutofit/>
        </a:bodyPr>
        <a:lstStyle/>
        <a:p>
          <a:pPr lvl="0" algn="l" defTabSz="622300">
            <a:lnSpc>
              <a:spcPct val="90000"/>
            </a:lnSpc>
            <a:spcBef>
              <a:spcPct val="0"/>
            </a:spcBef>
            <a:spcAft>
              <a:spcPct val="35000"/>
            </a:spcAft>
          </a:pPr>
          <a:r>
            <a:rPr lang="en-GB" altLang="zh-CN" sz="1400" kern="1200" dirty="0" smtClean="0">
              <a:solidFill>
                <a:schemeClr val="bg2"/>
              </a:solidFill>
              <a:latin typeface="+mj-lt"/>
              <a:ea typeface="黑体" panose="02010609060101010101" pitchFamily="49" charset="-122"/>
            </a:rPr>
            <a:t>China content of the equity value of the overseas company being transferred</a:t>
          </a:r>
          <a:endParaRPr lang="en-US" altLang="zh-CN" sz="1400" kern="1200" dirty="0">
            <a:latin typeface="+mj-lt"/>
          </a:endParaRPr>
        </a:p>
      </dsp:txBody>
      <dsp:txXfrm>
        <a:off x="342848" y="268324"/>
        <a:ext cx="6734194" cy="443203"/>
      </dsp:txXfrm>
    </dsp:sp>
    <dsp:sp modelId="{BAFD4F95-95FB-4312-8D9F-DCB398ADA0E1}">
      <dsp:nvSpPr>
        <dsp:cNvPr id="0" name=""/>
        <dsp:cNvSpPr/>
      </dsp:nvSpPr>
      <dsp:spPr>
        <a:xfrm>
          <a:off x="65105" y="166298"/>
          <a:ext cx="554004" cy="554004"/>
        </a:xfrm>
        <a:prstGeom prst="ellipse">
          <a:avLst/>
        </a:prstGeom>
        <a:solidFill>
          <a:schemeClr val="lt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EAF7736-0338-48D1-A449-208D5306B97F}">
      <dsp:nvSpPr>
        <dsp:cNvPr id="0" name=""/>
        <dsp:cNvSpPr/>
      </dsp:nvSpPr>
      <dsp:spPr>
        <a:xfrm>
          <a:off x="743468" y="886894"/>
          <a:ext cx="6332833" cy="443203"/>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1793" tIns="35560" rIns="35560" bIns="35560" numCol="1" spcCol="1270" anchor="ctr" anchorCtr="0">
          <a:noAutofit/>
        </a:bodyPr>
        <a:lstStyle/>
        <a:p>
          <a:pPr lvl="0" algn="l" defTabSz="622300">
            <a:lnSpc>
              <a:spcPct val="90000"/>
            </a:lnSpc>
            <a:spcBef>
              <a:spcPct val="0"/>
            </a:spcBef>
            <a:spcAft>
              <a:spcPct val="35000"/>
            </a:spcAft>
          </a:pPr>
          <a:r>
            <a:rPr lang="en-GB" altLang="zh-CN" sz="1400" kern="1200" dirty="0" smtClean="0">
              <a:latin typeface="+mj-lt"/>
              <a:ea typeface="黑体" panose="02010609060101010101" pitchFamily="49" charset="-122"/>
            </a:rPr>
            <a:t>China content of the asset value and income of the overseas company being transferred</a:t>
          </a:r>
          <a:endParaRPr lang="en-US" altLang="zh-CN" sz="1400" kern="1200" dirty="0">
            <a:latin typeface="+mj-lt"/>
          </a:endParaRPr>
        </a:p>
      </dsp:txBody>
      <dsp:txXfrm>
        <a:off x="743468" y="886894"/>
        <a:ext cx="6332833" cy="443203"/>
      </dsp:txXfrm>
    </dsp:sp>
    <dsp:sp modelId="{EF242032-1715-476F-9CE3-08A10002A1E2}">
      <dsp:nvSpPr>
        <dsp:cNvPr id="0" name=""/>
        <dsp:cNvSpPr/>
      </dsp:nvSpPr>
      <dsp:spPr>
        <a:xfrm>
          <a:off x="466465" y="831494"/>
          <a:ext cx="554004" cy="554004"/>
        </a:xfrm>
        <a:prstGeom prst="ellipse">
          <a:avLst/>
        </a:prstGeom>
        <a:solidFill>
          <a:schemeClr val="lt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3C5CE4B-7BAD-4C9D-B17C-D63F2EC24749}">
      <dsp:nvSpPr>
        <dsp:cNvPr id="0" name=""/>
        <dsp:cNvSpPr/>
      </dsp:nvSpPr>
      <dsp:spPr>
        <a:xfrm>
          <a:off x="963411" y="1551602"/>
          <a:ext cx="6112889" cy="443203"/>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1793" tIns="35560" rIns="35560" bIns="35560" numCol="1" spcCol="1270" anchor="ctr" anchorCtr="0">
          <a:noAutofit/>
        </a:bodyPr>
        <a:lstStyle/>
        <a:p>
          <a:pPr lvl="0" algn="l" defTabSz="622300">
            <a:lnSpc>
              <a:spcPct val="90000"/>
            </a:lnSpc>
            <a:spcBef>
              <a:spcPct val="0"/>
            </a:spcBef>
            <a:spcAft>
              <a:spcPct val="35000"/>
            </a:spcAft>
          </a:pPr>
          <a:r>
            <a:rPr lang="en-GB" altLang="zh-CN" sz="1400" kern="1200" dirty="0" smtClean="0">
              <a:latin typeface="+mj-lt"/>
              <a:ea typeface="黑体" panose="02010609060101010101" pitchFamily="49" charset="-122"/>
            </a:rPr>
            <a:t>Functions performed and risks undertaken</a:t>
          </a:r>
          <a:endParaRPr lang="en-US" altLang="zh-CN" sz="1400" kern="1200" dirty="0">
            <a:latin typeface="+mj-lt"/>
            <a:ea typeface="黑体" panose="02010609060101010101" pitchFamily="49" charset="-122"/>
          </a:endParaRPr>
        </a:p>
      </dsp:txBody>
      <dsp:txXfrm>
        <a:off x="963411" y="1551602"/>
        <a:ext cx="6112889" cy="443203"/>
      </dsp:txXfrm>
    </dsp:sp>
    <dsp:sp modelId="{67E91D50-1DAF-4358-96DF-AE06351C809D}">
      <dsp:nvSpPr>
        <dsp:cNvPr id="0" name=""/>
        <dsp:cNvSpPr/>
      </dsp:nvSpPr>
      <dsp:spPr>
        <a:xfrm>
          <a:off x="686409" y="1496202"/>
          <a:ext cx="554004" cy="554004"/>
        </a:xfrm>
        <a:prstGeom prst="ellipse">
          <a:avLst/>
        </a:prstGeom>
        <a:blipFill rotWithShape="0">
          <a:blip xmlns:r="http://schemas.openxmlformats.org/officeDocument/2006/relationships" r:embed="rId1"/>
          <a:stretch>
            <a:fillRect/>
          </a:stretch>
        </a:blip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C15943A-C327-4127-B217-DBE21C64AB15}">
      <dsp:nvSpPr>
        <dsp:cNvPr id="0" name=""/>
        <dsp:cNvSpPr/>
      </dsp:nvSpPr>
      <dsp:spPr>
        <a:xfrm>
          <a:off x="1033637" y="2216798"/>
          <a:ext cx="6042663" cy="443203"/>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1793" tIns="35560" rIns="35560" bIns="35560" numCol="1" spcCol="1270" anchor="ctr" anchorCtr="0">
          <a:noAutofit/>
        </a:bodyPr>
        <a:lstStyle/>
        <a:p>
          <a:pPr lvl="0" algn="l" defTabSz="622300">
            <a:lnSpc>
              <a:spcPct val="90000"/>
            </a:lnSpc>
            <a:spcBef>
              <a:spcPct val="0"/>
            </a:spcBef>
            <a:spcAft>
              <a:spcPct val="35000"/>
            </a:spcAft>
          </a:pPr>
          <a:r>
            <a:rPr lang="en-GB" altLang="zh-CN" sz="1400" kern="1200" dirty="0" smtClean="0">
              <a:latin typeface="+mj-lt"/>
              <a:ea typeface="黑体" panose="02010609060101010101" pitchFamily="49" charset="-122"/>
            </a:rPr>
            <a:t>When the shareholders, business model/structure was put into place?</a:t>
          </a:r>
          <a:endParaRPr lang="en-US" altLang="zh-CN" sz="1400" kern="1200" dirty="0">
            <a:latin typeface="+mj-lt"/>
            <a:ea typeface="黑体" panose="02010609060101010101" pitchFamily="49" charset="-122"/>
          </a:endParaRPr>
        </a:p>
      </dsp:txBody>
      <dsp:txXfrm>
        <a:off x="1033637" y="2216798"/>
        <a:ext cx="6042663" cy="443203"/>
      </dsp:txXfrm>
    </dsp:sp>
    <dsp:sp modelId="{DBB21E0D-26DB-4B91-857C-ED2345A04E81}">
      <dsp:nvSpPr>
        <dsp:cNvPr id="0" name=""/>
        <dsp:cNvSpPr/>
      </dsp:nvSpPr>
      <dsp:spPr>
        <a:xfrm>
          <a:off x="756635" y="2161397"/>
          <a:ext cx="554004" cy="554004"/>
        </a:xfrm>
        <a:prstGeom prst="ellipse">
          <a:avLst/>
        </a:prstGeom>
        <a:solidFill>
          <a:schemeClr val="lt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2B84CDC-908F-4B41-8757-198888634285}">
      <dsp:nvSpPr>
        <dsp:cNvPr id="0" name=""/>
        <dsp:cNvSpPr/>
      </dsp:nvSpPr>
      <dsp:spPr>
        <a:xfrm>
          <a:off x="963411" y="2881993"/>
          <a:ext cx="6112889" cy="443203"/>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1793" tIns="35560" rIns="35560" bIns="35560" numCol="1" spcCol="1270" anchor="ctr" anchorCtr="0">
          <a:noAutofit/>
        </a:bodyPr>
        <a:lstStyle/>
        <a:p>
          <a:pPr lvl="0" algn="l" defTabSz="622300">
            <a:lnSpc>
              <a:spcPct val="90000"/>
            </a:lnSpc>
            <a:spcBef>
              <a:spcPct val="0"/>
            </a:spcBef>
            <a:spcAft>
              <a:spcPct val="35000"/>
            </a:spcAft>
          </a:pPr>
          <a:r>
            <a:rPr lang="en-GB" altLang="zh-CN" sz="1400" kern="1200" dirty="0" smtClean="0">
              <a:latin typeface="+mj-lt"/>
              <a:ea typeface="黑体" panose="02010609060101010101" pitchFamily="49" charset="-122"/>
            </a:rPr>
            <a:t>Whether the indirect investment and transfer of the Taxable Properties in China can be substituted by a direct investment and direct transfer</a:t>
          </a:r>
          <a:endParaRPr lang="en-US" altLang="zh-CN" sz="1400" kern="1200" dirty="0">
            <a:latin typeface="+mj-lt"/>
            <a:ea typeface="黑体" panose="02010609060101010101" pitchFamily="49" charset="-122"/>
          </a:endParaRPr>
        </a:p>
      </dsp:txBody>
      <dsp:txXfrm>
        <a:off x="963411" y="2881993"/>
        <a:ext cx="6112889" cy="443203"/>
      </dsp:txXfrm>
    </dsp:sp>
    <dsp:sp modelId="{EB0829A8-EE0A-4DD5-BC33-345BABAEAF71}">
      <dsp:nvSpPr>
        <dsp:cNvPr id="0" name=""/>
        <dsp:cNvSpPr/>
      </dsp:nvSpPr>
      <dsp:spPr>
        <a:xfrm>
          <a:off x="686409" y="2826593"/>
          <a:ext cx="554004" cy="554004"/>
        </a:xfrm>
        <a:prstGeom prst="ellipse">
          <a:avLst/>
        </a:prstGeom>
        <a:solidFill>
          <a:schemeClr val="lt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9AD2C22-ED89-40BD-8ADD-65BA4F686E89}">
      <dsp:nvSpPr>
        <dsp:cNvPr id="0" name=""/>
        <dsp:cNvSpPr/>
      </dsp:nvSpPr>
      <dsp:spPr>
        <a:xfrm>
          <a:off x="743468" y="3546701"/>
          <a:ext cx="6332833" cy="443203"/>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1793" tIns="35560" rIns="35560" bIns="35560" numCol="1" spcCol="1270" anchor="ctr" anchorCtr="0">
          <a:noAutofit/>
        </a:bodyPr>
        <a:lstStyle/>
        <a:p>
          <a:pPr lvl="0" algn="l" defTabSz="622300">
            <a:lnSpc>
              <a:spcPct val="90000"/>
            </a:lnSpc>
            <a:spcBef>
              <a:spcPct val="0"/>
            </a:spcBef>
            <a:spcAft>
              <a:spcPct val="35000"/>
            </a:spcAft>
          </a:pPr>
          <a:r>
            <a:rPr lang="en-US" altLang="zh-CN" sz="1400" kern="1200" dirty="0" err="1" smtClean="0">
              <a:latin typeface="+mj-lt"/>
              <a:ea typeface="黑体" panose="02010609060101010101" pitchFamily="49" charset="-122"/>
            </a:rPr>
            <a:t>Ov</a:t>
          </a:r>
          <a:r>
            <a:rPr lang="en-GB" altLang="zh-CN" sz="1400" kern="1200" dirty="0" err="1" smtClean="0">
              <a:latin typeface="+mj-lt"/>
              <a:ea typeface="黑体" panose="02010609060101010101" pitchFamily="49" charset="-122"/>
            </a:rPr>
            <a:t>erseas</a:t>
          </a:r>
          <a:r>
            <a:rPr lang="en-GB" altLang="zh-CN" sz="1400" kern="1200" dirty="0" smtClean="0">
              <a:latin typeface="+mj-lt"/>
              <a:ea typeface="黑体" panose="02010609060101010101" pitchFamily="49" charset="-122"/>
            </a:rPr>
            <a:t> income tax payment for the indirect equity transfer </a:t>
          </a:r>
          <a:endParaRPr lang="en-US" altLang="zh-CN" sz="1400" kern="1200" dirty="0">
            <a:latin typeface="+mj-lt"/>
            <a:ea typeface="黑体" panose="02010609060101010101" pitchFamily="49" charset="-122"/>
          </a:endParaRPr>
        </a:p>
      </dsp:txBody>
      <dsp:txXfrm>
        <a:off x="743468" y="3546701"/>
        <a:ext cx="6332833" cy="443203"/>
      </dsp:txXfrm>
    </dsp:sp>
    <dsp:sp modelId="{7518F70F-3D6D-4CEC-9585-3F99F94A738B}">
      <dsp:nvSpPr>
        <dsp:cNvPr id="0" name=""/>
        <dsp:cNvSpPr/>
      </dsp:nvSpPr>
      <dsp:spPr>
        <a:xfrm>
          <a:off x="466465" y="3491301"/>
          <a:ext cx="554004" cy="554004"/>
        </a:xfrm>
        <a:prstGeom prst="ellipse">
          <a:avLst/>
        </a:prstGeom>
        <a:solidFill>
          <a:schemeClr val="lt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1026F26-645E-4CE6-916F-09EA0EBA9F11}">
      <dsp:nvSpPr>
        <dsp:cNvPr id="0" name=""/>
        <dsp:cNvSpPr/>
      </dsp:nvSpPr>
      <dsp:spPr>
        <a:xfrm>
          <a:off x="342107" y="4211897"/>
          <a:ext cx="6734194" cy="443203"/>
        </a:xfrm>
        <a:prstGeom prst="rect">
          <a:avLst/>
        </a:prstGeom>
        <a:solidFill>
          <a:schemeClr val="dk2">
            <a:hueOff val="0"/>
            <a:satOff val="0"/>
            <a:lumOff val="0"/>
            <a:alphaOff val="0"/>
          </a:schemeClr>
        </a:solidFill>
        <a:ln w="25400"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1793" tIns="35560" rIns="35560" bIns="35560" numCol="1" spcCol="1270" anchor="ctr" anchorCtr="0">
          <a:noAutofit/>
        </a:bodyPr>
        <a:lstStyle/>
        <a:p>
          <a:pPr lvl="0" algn="l" defTabSz="622300">
            <a:lnSpc>
              <a:spcPct val="90000"/>
            </a:lnSpc>
            <a:spcBef>
              <a:spcPct val="0"/>
            </a:spcBef>
            <a:spcAft>
              <a:spcPct val="35000"/>
            </a:spcAft>
          </a:pPr>
          <a:r>
            <a:rPr lang="en-GB" altLang="zh-CN" sz="1400" kern="1200" dirty="0" smtClean="0">
              <a:latin typeface="+mj-lt"/>
              <a:ea typeface="黑体" panose="02010609060101010101" pitchFamily="49" charset="-122"/>
            </a:rPr>
            <a:t>The eligibility to tax treaty protection</a:t>
          </a:r>
          <a:endParaRPr lang="en-US" altLang="zh-CN" sz="1400" kern="1200" dirty="0">
            <a:latin typeface="+mj-lt"/>
            <a:ea typeface="黑体" panose="02010609060101010101" pitchFamily="49" charset="-122"/>
          </a:endParaRPr>
        </a:p>
      </dsp:txBody>
      <dsp:txXfrm>
        <a:off x="342107" y="4211897"/>
        <a:ext cx="6734194" cy="443203"/>
      </dsp:txXfrm>
    </dsp:sp>
    <dsp:sp modelId="{43A1021F-890E-4CCF-814F-470FF466E4D1}">
      <dsp:nvSpPr>
        <dsp:cNvPr id="0" name=""/>
        <dsp:cNvSpPr/>
      </dsp:nvSpPr>
      <dsp:spPr>
        <a:xfrm>
          <a:off x="65105" y="4156496"/>
          <a:ext cx="554004" cy="554004"/>
        </a:xfrm>
        <a:prstGeom prst="ellipse">
          <a:avLst/>
        </a:prstGeom>
        <a:solidFill>
          <a:schemeClr val="lt2">
            <a:hueOff val="0"/>
            <a:satOff val="0"/>
            <a:lumOff val="0"/>
            <a:alphaOff val="0"/>
          </a:schemeClr>
        </a:solidFill>
        <a:ln w="25400" cap="flat" cmpd="sng" algn="ctr">
          <a:solidFill>
            <a:schemeClr val="dk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CCA44F-2CC8-4BAB-B07F-8D945807DD42}">
      <dsp:nvSpPr>
        <dsp:cNvPr id="0" name=""/>
        <dsp:cNvSpPr/>
      </dsp:nvSpPr>
      <dsp:spPr>
        <a:xfrm rot="16200000">
          <a:off x="1183078" y="-1183078"/>
          <a:ext cx="1522275" cy="3888432"/>
        </a:xfrm>
        <a:prstGeom prst="round1Rect">
          <a:avLst/>
        </a:prstGeom>
        <a:solidFill>
          <a:srgbClr val="E0301E">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l" defTabSz="622300">
            <a:lnSpc>
              <a:spcPct val="90000"/>
            </a:lnSpc>
            <a:spcBef>
              <a:spcPct val="0"/>
            </a:spcBef>
            <a:spcAft>
              <a:spcPct val="35000"/>
            </a:spcAft>
          </a:pPr>
          <a:r>
            <a:rPr lang="en-US" altLang="zh-CN" sz="1400" kern="1200" dirty="0" smtClean="0">
              <a:latin typeface="+mj-lt"/>
              <a:ea typeface="黑体" panose="02010609060101010101" pitchFamily="49" charset="-122"/>
            </a:rPr>
            <a:t>1.</a:t>
          </a:r>
          <a:r>
            <a:rPr lang="zh-CN" altLang="zh-CN" sz="1400" kern="1200" dirty="0" smtClean="0">
              <a:latin typeface="+mj-lt"/>
              <a:ea typeface="黑体" panose="02010609060101010101" pitchFamily="49" charset="-122"/>
            </a:rPr>
            <a:t> </a:t>
          </a:r>
          <a:r>
            <a:rPr lang="en-GB" altLang="zh-CN" sz="1400" kern="1200" dirty="0" smtClean="0">
              <a:latin typeface="+mj-lt"/>
              <a:ea typeface="黑体" panose="02010609060101010101" pitchFamily="49" charset="-122"/>
            </a:rPr>
            <a:t>Majority of the value of the overseas company being transferred is derived from Taxable Properties in China.</a:t>
          </a:r>
          <a:endParaRPr lang="zh-CN" altLang="en-US" sz="1400" kern="1200" dirty="0">
            <a:latin typeface="+mj-lt"/>
            <a:ea typeface="黑体" panose="02010609060101010101" pitchFamily="49" charset="-122"/>
          </a:endParaRPr>
        </a:p>
      </dsp:txBody>
      <dsp:txXfrm rot="5400000">
        <a:off x="0" y="55733"/>
        <a:ext cx="3888432" cy="1085973"/>
      </dsp:txXfrm>
    </dsp:sp>
    <dsp:sp modelId="{F31CFC3B-9FFF-4590-BFD5-6E8C1BDB6AFB}">
      <dsp:nvSpPr>
        <dsp:cNvPr id="0" name=""/>
        <dsp:cNvSpPr/>
      </dsp:nvSpPr>
      <dsp:spPr>
        <a:xfrm>
          <a:off x="3888432" y="0"/>
          <a:ext cx="3888432" cy="1522275"/>
        </a:xfrm>
        <a:prstGeom prst="round1Rect">
          <a:avLst/>
        </a:prstGeom>
        <a:solidFill>
          <a:srgbClr val="60232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l" defTabSz="622300">
            <a:lnSpc>
              <a:spcPct val="90000"/>
            </a:lnSpc>
            <a:spcBef>
              <a:spcPct val="0"/>
            </a:spcBef>
            <a:spcAft>
              <a:spcPct val="35000"/>
            </a:spcAft>
          </a:pPr>
          <a:endParaRPr lang="en-US" altLang="zh-CN" sz="1400" kern="1200" dirty="0" smtClean="0">
            <a:latin typeface="+mj-lt"/>
            <a:ea typeface="黑体" panose="02010609060101010101" pitchFamily="49" charset="-122"/>
          </a:endParaRPr>
        </a:p>
        <a:p>
          <a:pPr lvl="0" algn="l" defTabSz="622300">
            <a:lnSpc>
              <a:spcPct val="90000"/>
            </a:lnSpc>
            <a:spcBef>
              <a:spcPct val="0"/>
            </a:spcBef>
            <a:spcAft>
              <a:spcPct val="35000"/>
            </a:spcAft>
          </a:pPr>
          <a:r>
            <a:rPr lang="en-US" altLang="zh-CN" sz="1400" kern="1200" dirty="0" smtClean="0">
              <a:latin typeface="+mj-lt"/>
              <a:ea typeface="黑体" panose="02010609060101010101" pitchFamily="49" charset="-122"/>
            </a:rPr>
            <a:t>2.</a:t>
          </a:r>
          <a:r>
            <a:rPr lang="zh-CN" altLang="zh-CN" sz="1400" kern="1200" dirty="0" smtClean="0">
              <a:latin typeface="+mj-lt"/>
              <a:ea typeface="黑体" panose="02010609060101010101" pitchFamily="49" charset="-122"/>
            </a:rPr>
            <a:t> </a:t>
          </a:r>
          <a:r>
            <a:rPr lang="en-GB" altLang="zh-CN" sz="1400" kern="1200" dirty="0" smtClean="0">
              <a:latin typeface="+mj-lt"/>
              <a:ea typeface="黑体" panose="02010609060101010101" pitchFamily="49" charset="-122"/>
            </a:rPr>
            <a:t>Majority </a:t>
          </a:r>
          <a:r>
            <a:rPr lang="en-GB" sz="1400" kern="1200" dirty="0" smtClean="0">
              <a:latin typeface="+mj-lt"/>
              <a:ea typeface="黑体" panose="02010609060101010101" pitchFamily="49" charset="-122"/>
            </a:rPr>
            <a:t>of the </a:t>
          </a:r>
          <a:r>
            <a:rPr lang="en-GB" sz="1400" b="1" u="none" kern="1200" dirty="0" smtClean="0">
              <a:latin typeface="+mj-lt"/>
              <a:ea typeface="黑体" panose="02010609060101010101" pitchFamily="49" charset="-122"/>
            </a:rPr>
            <a:t>total assets </a:t>
          </a:r>
          <a:r>
            <a:rPr lang="en-GB" sz="1400" u="none" kern="1200" dirty="0" smtClean="0">
              <a:latin typeface="+mj-lt"/>
              <a:ea typeface="黑体" panose="02010609060101010101" pitchFamily="49" charset="-122"/>
            </a:rPr>
            <a:t>(</a:t>
          </a:r>
          <a:r>
            <a:rPr lang="en-GB" sz="1400" b="1" u="none" kern="1200" dirty="0" smtClean="0">
              <a:latin typeface="+mj-lt"/>
              <a:ea typeface="黑体" panose="02010609060101010101" pitchFamily="49" charset="-122"/>
            </a:rPr>
            <a:t>not cash</a:t>
          </a:r>
          <a:r>
            <a:rPr lang="en-GB" sz="1400" u="none" kern="1200" dirty="0" smtClean="0">
              <a:latin typeface="+mj-lt"/>
              <a:ea typeface="黑体" panose="02010609060101010101" pitchFamily="49" charset="-122"/>
            </a:rPr>
            <a:t>) </a:t>
          </a:r>
          <a:r>
            <a:rPr lang="en-GB" sz="1400" kern="1200" dirty="0" smtClean="0">
              <a:latin typeface="+mj-lt"/>
              <a:ea typeface="黑体" panose="02010609060101010101" pitchFamily="49" charset="-122"/>
            </a:rPr>
            <a:t>of the overseas company being transferred is derived from Taxable Properties in China, or</a:t>
          </a:r>
        </a:p>
        <a:p>
          <a:pPr lvl="0" algn="l" defTabSz="622300">
            <a:lnSpc>
              <a:spcPct val="90000"/>
            </a:lnSpc>
            <a:spcBef>
              <a:spcPct val="0"/>
            </a:spcBef>
            <a:spcAft>
              <a:spcPct val="35000"/>
            </a:spcAft>
          </a:pPr>
          <a:r>
            <a:rPr lang="en-GB" sz="1400" kern="1200" dirty="0" smtClean="0">
              <a:latin typeface="+mj-lt"/>
              <a:ea typeface="黑体" panose="02010609060101010101" pitchFamily="49" charset="-122"/>
            </a:rPr>
            <a:t>Majority of its income is derived from China.</a:t>
          </a:r>
          <a:endParaRPr lang="zh-CN" altLang="en-US" sz="1400" b="1" kern="1200" dirty="0">
            <a:solidFill>
              <a:srgbClr val="FFFFFF"/>
            </a:solidFill>
            <a:latin typeface="+mj-lt"/>
            <a:ea typeface="宋体" panose="02010600030101010101" pitchFamily="2" charset="-122"/>
            <a:cs typeface="+mn-cs"/>
          </a:endParaRPr>
        </a:p>
      </dsp:txBody>
      <dsp:txXfrm>
        <a:off x="3888432" y="0"/>
        <a:ext cx="3832699" cy="1141706"/>
      </dsp:txXfrm>
    </dsp:sp>
    <dsp:sp modelId="{FEE32ED4-3ED1-46A2-AA47-C408369F1DEC}">
      <dsp:nvSpPr>
        <dsp:cNvPr id="0" name=""/>
        <dsp:cNvSpPr/>
      </dsp:nvSpPr>
      <dsp:spPr>
        <a:xfrm rot="10800000">
          <a:off x="0" y="1522275"/>
          <a:ext cx="3888432" cy="1522275"/>
        </a:xfrm>
        <a:prstGeom prst="round1Rect">
          <a:avLst/>
        </a:prstGeom>
        <a:solidFill>
          <a:srgbClr val="DB536A">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l" defTabSz="622300">
            <a:lnSpc>
              <a:spcPct val="90000"/>
            </a:lnSpc>
            <a:spcBef>
              <a:spcPct val="0"/>
            </a:spcBef>
            <a:spcAft>
              <a:spcPct val="35000"/>
            </a:spcAft>
          </a:pPr>
          <a:r>
            <a:rPr lang="en-US" altLang="zh-CN" sz="1400" kern="1200" dirty="0" smtClean="0">
              <a:latin typeface="+mj-lt"/>
              <a:ea typeface="黑体" panose="02010609060101010101" pitchFamily="49" charset="-122"/>
            </a:rPr>
            <a:t>3.</a:t>
          </a:r>
          <a:r>
            <a:rPr lang="zh-CN" altLang="en-US" sz="1400" kern="1200" dirty="0" smtClean="0">
              <a:latin typeface="+mj-lt"/>
              <a:ea typeface="黑体" panose="02010609060101010101" pitchFamily="49" charset="-122"/>
            </a:rPr>
            <a:t> </a:t>
          </a:r>
          <a:r>
            <a:rPr lang="en-GB" altLang="zh-CN" sz="1400" kern="1200" dirty="0" smtClean="0">
              <a:latin typeface="+mj-lt"/>
              <a:ea typeface="黑体" panose="02010609060101010101" pitchFamily="49" charset="-122"/>
            </a:rPr>
            <a:t>The company being transferred and its overseas subsidiaries perform </a:t>
          </a:r>
          <a:r>
            <a:rPr lang="en-GB" altLang="zh-CN" sz="1400" b="1" u="none" kern="1200" dirty="0" smtClean="0">
              <a:latin typeface="+mj-lt"/>
              <a:ea typeface="黑体" panose="02010609060101010101" pitchFamily="49" charset="-122"/>
            </a:rPr>
            <a:t>limited</a:t>
          </a:r>
          <a:r>
            <a:rPr lang="en-GB" altLang="zh-CN" sz="1400" u="none" kern="1200" dirty="0" smtClean="0">
              <a:latin typeface="+mj-lt"/>
              <a:ea typeface="黑体" panose="02010609060101010101" pitchFamily="49" charset="-122"/>
            </a:rPr>
            <a:t> functions and undertake </a:t>
          </a:r>
          <a:r>
            <a:rPr lang="en-GB" altLang="zh-CN" sz="1400" b="1" u="none" kern="1200" dirty="0" smtClean="0">
              <a:latin typeface="+mj-lt"/>
              <a:ea typeface="黑体" panose="02010609060101010101" pitchFamily="49" charset="-122"/>
            </a:rPr>
            <a:t>limited</a:t>
          </a:r>
          <a:r>
            <a:rPr lang="en-GB" altLang="zh-CN" sz="1400" u="none" kern="1200" dirty="0" smtClean="0">
              <a:latin typeface="+mj-lt"/>
              <a:ea typeface="黑体" panose="02010609060101010101" pitchFamily="49" charset="-122"/>
            </a:rPr>
            <a:t> risks</a:t>
          </a:r>
          <a:endParaRPr lang="zh-CN" altLang="en-US" sz="1400" u="none" kern="1200" dirty="0">
            <a:latin typeface="+mj-lt"/>
            <a:ea typeface="黑体" panose="02010609060101010101" pitchFamily="49" charset="-122"/>
          </a:endParaRPr>
        </a:p>
      </dsp:txBody>
      <dsp:txXfrm rot="10800000">
        <a:off x="55733" y="1902844"/>
        <a:ext cx="3832699" cy="1141706"/>
      </dsp:txXfrm>
    </dsp:sp>
    <dsp:sp modelId="{6FF8A9EB-1C60-4490-ABF7-E96FEF64185B}">
      <dsp:nvSpPr>
        <dsp:cNvPr id="0" name=""/>
        <dsp:cNvSpPr/>
      </dsp:nvSpPr>
      <dsp:spPr>
        <a:xfrm rot="5400000">
          <a:off x="5071510" y="339197"/>
          <a:ext cx="1522275" cy="3888432"/>
        </a:xfrm>
        <a:prstGeom prst="round1Rect">
          <a:avLst/>
        </a:prstGeom>
        <a:solidFill>
          <a:srgbClr val="DC69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l" defTabSz="622300">
            <a:lnSpc>
              <a:spcPct val="90000"/>
            </a:lnSpc>
            <a:spcBef>
              <a:spcPct val="0"/>
            </a:spcBef>
            <a:spcAft>
              <a:spcPct val="35000"/>
            </a:spcAft>
          </a:pPr>
          <a:r>
            <a:rPr lang="en-GB" altLang="zh-CN" sz="1400" kern="1200" dirty="0" smtClean="0">
              <a:latin typeface="+mj-lt"/>
              <a:ea typeface="黑体" panose="02010609060101010101" pitchFamily="49" charset="-122"/>
            </a:rPr>
            <a:t>4. </a:t>
          </a:r>
          <a:r>
            <a:rPr lang="en-GB" sz="1400" kern="1200" dirty="0" smtClean="0">
              <a:latin typeface="+mj-lt"/>
              <a:ea typeface="黑体" panose="02010609060101010101" pitchFamily="49" charset="-122"/>
            </a:rPr>
            <a:t>The CIT payable arising from indirect equity transfer is lower than the </a:t>
          </a:r>
          <a:r>
            <a:rPr lang="en-GB" sz="1400" u="none" kern="1200" dirty="0" smtClean="0">
              <a:latin typeface="+mj-lt"/>
              <a:ea typeface="黑体" panose="02010609060101010101" pitchFamily="49" charset="-122"/>
            </a:rPr>
            <a:t>potential </a:t>
          </a:r>
          <a:r>
            <a:rPr lang="en-GB" sz="1400" b="0" u="none" kern="1200" dirty="0" smtClean="0">
              <a:latin typeface="+mj-lt"/>
              <a:ea typeface="黑体" panose="02010609060101010101" pitchFamily="49" charset="-122"/>
            </a:rPr>
            <a:t>tax burden</a:t>
          </a:r>
          <a:r>
            <a:rPr lang="en-GB" sz="1400" u="none" kern="1200" dirty="0" smtClean="0">
              <a:latin typeface="+mj-lt"/>
              <a:ea typeface="黑体" panose="02010609060101010101" pitchFamily="49" charset="-122"/>
            </a:rPr>
            <a:t> </a:t>
          </a:r>
          <a:r>
            <a:rPr lang="en-GB" sz="1400" kern="1200" dirty="0" smtClean="0">
              <a:latin typeface="+mj-lt"/>
              <a:ea typeface="黑体" panose="02010609060101010101" pitchFamily="49" charset="-122"/>
            </a:rPr>
            <a:t>of a direct transfer of the China taxable properties. </a:t>
          </a:r>
          <a:endParaRPr lang="zh-CN" altLang="en-US" sz="1400" kern="1200" dirty="0">
            <a:latin typeface="+mj-lt"/>
            <a:ea typeface="黑体" panose="02010609060101010101" pitchFamily="49" charset="-122"/>
          </a:endParaRPr>
        </a:p>
      </dsp:txBody>
      <dsp:txXfrm rot="-5400000">
        <a:off x="3888432" y="1902844"/>
        <a:ext cx="3888432" cy="1085973"/>
      </dsp:txXfrm>
    </dsp:sp>
    <dsp:sp modelId="{1CAA9371-BB29-41DD-AB68-ED8333F6ADDD}">
      <dsp:nvSpPr>
        <dsp:cNvPr id="0" name=""/>
        <dsp:cNvSpPr/>
      </dsp:nvSpPr>
      <dsp:spPr>
        <a:xfrm>
          <a:off x="2486181" y="1172346"/>
          <a:ext cx="2804500" cy="699858"/>
        </a:xfrm>
        <a:prstGeom prst="roundRect">
          <a:avLst/>
        </a:prstGeom>
        <a:solidFill>
          <a:srgbClr val="E0301E">
            <a:tint val="40000"/>
            <a:hueOff val="0"/>
            <a:satOff val="0"/>
            <a:lumOff val="0"/>
            <a:alphaOff val="0"/>
          </a:srgbClr>
        </a:solidFill>
        <a:ln w="25400" cap="flat" cmpd="sng" algn="ctr">
          <a:solidFill>
            <a:srgbClr val="FFFFFF">
              <a:hueOff val="0"/>
              <a:satOff val="0"/>
              <a:lumOff val="0"/>
              <a:alphaOff val="0"/>
            </a:srgb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lvl="0" algn="l" defTabSz="622300">
            <a:lnSpc>
              <a:spcPct val="90000"/>
            </a:lnSpc>
            <a:spcBef>
              <a:spcPct val="0"/>
            </a:spcBef>
            <a:spcAft>
              <a:spcPct val="35000"/>
            </a:spcAft>
          </a:pPr>
          <a:r>
            <a:rPr lang="en-GB" altLang="zh-CN" sz="1400" kern="1200" dirty="0" smtClean="0">
              <a:latin typeface="+mj-lt"/>
              <a:ea typeface="黑体" panose="02010609060101010101" pitchFamily="49" charset="-122"/>
            </a:rPr>
            <a:t>ALL tests are met </a:t>
          </a:r>
          <a:r>
            <a:rPr lang="en-GB" altLang="zh-CN" sz="1400" kern="1200" dirty="0" smtClean="0">
              <a:latin typeface="+mj-lt"/>
              <a:ea typeface="黑体" panose="02010609060101010101" pitchFamily="49" charset="-122"/>
              <a:sym typeface="Wingdings" panose="05000000000000000000" pitchFamily="2" charset="2"/>
            </a:rPr>
            <a:t> </a:t>
          </a:r>
          <a:r>
            <a:rPr lang="en-GB" altLang="zh-CN" sz="1400" kern="1200" dirty="0" smtClean="0">
              <a:latin typeface="+mj-lt"/>
              <a:ea typeface="黑体" panose="02010609060101010101" pitchFamily="49" charset="-122"/>
            </a:rPr>
            <a:t>considered </a:t>
          </a:r>
          <a:r>
            <a:rPr lang="en-GB" sz="1400" kern="1200" dirty="0" smtClean="0">
              <a:latin typeface="+mj-lt"/>
              <a:ea typeface="黑体" panose="02010609060101010101" pitchFamily="49" charset="-122"/>
            </a:rPr>
            <a:t>as with no reasonable commercial purpose</a:t>
          </a:r>
          <a:endParaRPr lang="zh-CN" altLang="en-US" sz="1400" kern="1200" dirty="0">
            <a:latin typeface="+mj-lt"/>
            <a:ea typeface="黑体" panose="02010609060101010101" pitchFamily="49" charset="-122"/>
          </a:endParaRPr>
        </a:p>
      </dsp:txBody>
      <dsp:txXfrm>
        <a:off x="2520345" y="1206510"/>
        <a:ext cx="2736172" cy="631530"/>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099" cy="496967"/>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54939" y="1"/>
            <a:ext cx="2949099" cy="496967"/>
          </a:xfrm>
          <a:prstGeom prst="rect">
            <a:avLst/>
          </a:prstGeom>
        </p:spPr>
        <p:txBody>
          <a:bodyPr vert="horz" lIns="91440" tIns="45720" rIns="91440" bIns="45720" rtlCol="0"/>
          <a:lstStyle>
            <a:lvl1pPr algn="r">
              <a:defRPr sz="1200"/>
            </a:lvl1pPr>
          </a:lstStyle>
          <a:p>
            <a:fld id="{EDAD35B1-60AB-43F7-96E0-8278C11AA7BA}" type="datetimeFigureOut">
              <a:rPr lang="en-GB" smtClean="0"/>
              <a:pPr/>
              <a:t>14/08/2018</a:t>
            </a:fld>
            <a:endParaRPr lang="en-GB" dirty="0"/>
          </a:p>
        </p:txBody>
      </p:sp>
      <p:sp>
        <p:nvSpPr>
          <p:cNvPr id="4" name="Footer Placeholder 3"/>
          <p:cNvSpPr>
            <a:spLocks noGrp="1"/>
          </p:cNvSpPr>
          <p:nvPr>
            <p:ph type="ftr" sz="quarter" idx="2"/>
          </p:nvPr>
        </p:nvSpPr>
        <p:spPr>
          <a:xfrm>
            <a:off x="0" y="9440646"/>
            <a:ext cx="2949099" cy="49696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4939" y="9440646"/>
            <a:ext cx="2949099" cy="496967"/>
          </a:xfrm>
          <a:prstGeom prst="rect">
            <a:avLst/>
          </a:prstGeom>
        </p:spPr>
        <p:txBody>
          <a:bodyPr vert="horz" lIns="91440" tIns="45720" rIns="91440" bIns="45720" rtlCol="0" anchor="b"/>
          <a:lstStyle>
            <a:lvl1pPr algn="r">
              <a:defRPr sz="1200"/>
            </a:lvl1pPr>
          </a:lstStyle>
          <a:p>
            <a:fld id="{221CB74D-572E-4F08-9394-3ECB1E1638A9}" type="slidenum">
              <a:rPr lang="en-GB" smtClean="0"/>
              <a:pPr/>
              <a:t>‹#›</a:t>
            </a:fld>
            <a:endParaRPr lang="en-GB" dirty="0"/>
          </a:p>
        </p:txBody>
      </p:sp>
    </p:spTree>
    <p:extLst>
      <p:ext uri="{BB962C8B-B14F-4D97-AF65-F5344CB8AC3E}">
        <p14:creationId xmlns:p14="http://schemas.microsoft.com/office/powerpoint/2010/main" val="118294149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099" cy="496967"/>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4939" y="1"/>
            <a:ext cx="2949099" cy="496967"/>
          </a:xfrm>
          <a:prstGeom prst="rect">
            <a:avLst/>
          </a:prstGeom>
        </p:spPr>
        <p:txBody>
          <a:bodyPr vert="horz" lIns="91440" tIns="45720" rIns="91440" bIns="45720" rtlCol="0"/>
          <a:lstStyle>
            <a:lvl1pPr algn="r">
              <a:defRPr sz="1200"/>
            </a:lvl1pPr>
          </a:lstStyle>
          <a:p>
            <a:fld id="{7E8B935B-3E5D-4FF0-8ED3-E5C882647223}" type="datetimeFigureOut">
              <a:rPr lang="en-US" smtClean="0"/>
              <a:pPr/>
              <a:t>8/14/2018</a:t>
            </a:fld>
            <a:endParaRPr lang="en-GB" dirty="0"/>
          </a:p>
        </p:txBody>
      </p:sp>
      <p:sp>
        <p:nvSpPr>
          <p:cNvPr id="4" name="Slide Image Placeholder 3"/>
          <p:cNvSpPr>
            <a:spLocks noGrp="1" noRot="1" noChangeAspect="1"/>
          </p:cNvSpPr>
          <p:nvPr>
            <p:ph type="sldImg" idx="2"/>
          </p:nvPr>
        </p:nvSpPr>
        <p:spPr>
          <a:xfrm>
            <a:off x="992188" y="744538"/>
            <a:ext cx="4821237" cy="3725862"/>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0562" y="4721186"/>
            <a:ext cx="5444490" cy="447270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440646"/>
            <a:ext cx="2949099" cy="49696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4939" y="9440646"/>
            <a:ext cx="2949099" cy="496967"/>
          </a:xfrm>
          <a:prstGeom prst="rect">
            <a:avLst/>
          </a:prstGeom>
        </p:spPr>
        <p:txBody>
          <a:bodyPr vert="horz" lIns="91440" tIns="45720" rIns="91440" bIns="45720" rtlCol="0" anchor="b"/>
          <a:lstStyle>
            <a:lvl1pPr algn="r">
              <a:defRPr sz="1200"/>
            </a:lvl1pPr>
          </a:lstStyle>
          <a:p>
            <a:fld id="{048706B8-EBCC-470A-8AE8-B49CE76EE6E5}" type="slidenum">
              <a:rPr lang="en-GB" smtClean="0"/>
              <a:pPr/>
              <a:t>‹#›</a:t>
            </a:fld>
            <a:endParaRPr lang="en-GB" dirty="0"/>
          </a:p>
        </p:txBody>
      </p:sp>
    </p:spTree>
    <p:extLst>
      <p:ext uri="{BB962C8B-B14F-4D97-AF65-F5344CB8AC3E}">
        <p14:creationId xmlns:p14="http://schemas.microsoft.com/office/powerpoint/2010/main" val="32579007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5.xml"/><Relationship Id="rId7" Type="http://schemas.openxmlformats.org/officeDocument/2006/relationships/tags" Target="../tags/tag9.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tags" Target="../tags/tag8.xml"/><Relationship Id="rId5" Type="http://schemas.openxmlformats.org/officeDocument/2006/relationships/tags" Target="../tags/tag7.xml"/><Relationship Id="rId4"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82.xml"/><Relationship Id="rId3" Type="http://schemas.openxmlformats.org/officeDocument/2006/relationships/tags" Target="../tags/tag77.xml"/><Relationship Id="rId7" Type="http://schemas.openxmlformats.org/officeDocument/2006/relationships/tags" Target="../tags/tag81.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tags" Target="../tags/tag80.xml"/><Relationship Id="rId5" Type="http://schemas.openxmlformats.org/officeDocument/2006/relationships/tags" Target="../tags/tag79.xml"/><Relationship Id="rId4" Type="http://schemas.openxmlformats.org/officeDocument/2006/relationships/tags" Target="../tags/tag78.xml"/><Relationship Id="rId9"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85.xml"/><Relationship Id="rId7" Type="http://schemas.openxmlformats.org/officeDocument/2006/relationships/tags" Target="../tags/tag89.xml"/><Relationship Id="rId2" Type="http://schemas.openxmlformats.org/officeDocument/2006/relationships/tags" Target="../tags/tag84.xml"/><Relationship Id="rId1" Type="http://schemas.openxmlformats.org/officeDocument/2006/relationships/tags" Target="../tags/tag83.xml"/><Relationship Id="rId6" Type="http://schemas.openxmlformats.org/officeDocument/2006/relationships/tags" Target="../tags/tag88.xml"/><Relationship Id="rId5" Type="http://schemas.openxmlformats.org/officeDocument/2006/relationships/tags" Target="../tags/tag87.xml"/><Relationship Id="rId4" Type="http://schemas.openxmlformats.org/officeDocument/2006/relationships/tags" Target="../tags/tag86.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11" Type="http://schemas.openxmlformats.org/officeDocument/2006/relationships/slideMaster" Target="../slideMasters/slideMaster1.xml"/><Relationship Id="rId5" Type="http://schemas.openxmlformats.org/officeDocument/2006/relationships/tags" Target="../tags/tag94.xml"/><Relationship Id="rId10" Type="http://schemas.openxmlformats.org/officeDocument/2006/relationships/tags" Target="../tags/tag99.xml"/><Relationship Id="rId4" Type="http://schemas.openxmlformats.org/officeDocument/2006/relationships/tags" Target="../tags/tag93.xml"/><Relationship Id="rId9" Type="http://schemas.openxmlformats.org/officeDocument/2006/relationships/tags" Target="../tags/tag98.xml"/></Relationships>
</file>

<file path=ppt/slideLayouts/_rels/slideLayout13.xml.rels><?xml version="1.0" encoding="UTF-8" standalone="yes"?>
<Relationships xmlns="http://schemas.openxmlformats.org/package/2006/relationships"><Relationship Id="rId8" Type="http://schemas.openxmlformats.org/officeDocument/2006/relationships/tags" Target="../tags/tag107.xml"/><Relationship Id="rId3" Type="http://schemas.openxmlformats.org/officeDocument/2006/relationships/tags" Target="../tags/tag102.xml"/><Relationship Id="rId7" Type="http://schemas.openxmlformats.org/officeDocument/2006/relationships/tags" Target="../tags/tag106.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tags" Target="../tags/tag105.xml"/><Relationship Id="rId11" Type="http://schemas.openxmlformats.org/officeDocument/2006/relationships/slideMaster" Target="../slideMasters/slideMaster1.xml"/><Relationship Id="rId5" Type="http://schemas.openxmlformats.org/officeDocument/2006/relationships/tags" Target="../tags/tag104.xml"/><Relationship Id="rId10" Type="http://schemas.openxmlformats.org/officeDocument/2006/relationships/tags" Target="../tags/tag109.xml"/><Relationship Id="rId4" Type="http://schemas.openxmlformats.org/officeDocument/2006/relationships/tags" Target="../tags/tag103.xml"/><Relationship Id="rId9" Type="http://schemas.openxmlformats.org/officeDocument/2006/relationships/tags" Target="../tags/tag108.xml"/></Relationships>
</file>

<file path=ppt/slideLayouts/_rels/slideLayout14.xml.rels><?xml version="1.0" encoding="UTF-8" standalone="yes"?>
<Relationships xmlns="http://schemas.openxmlformats.org/package/2006/relationships"><Relationship Id="rId8" Type="http://schemas.openxmlformats.org/officeDocument/2006/relationships/tags" Target="../tags/tag117.xml"/><Relationship Id="rId3" Type="http://schemas.openxmlformats.org/officeDocument/2006/relationships/tags" Target="../tags/tag112.xml"/><Relationship Id="rId7" Type="http://schemas.openxmlformats.org/officeDocument/2006/relationships/tags" Target="../tags/tag116.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tags" Target="../tags/tag115.xml"/><Relationship Id="rId5" Type="http://schemas.openxmlformats.org/officeDocument/2006/relationships/tags" Target="../tags/tag114.xml"/><Relationship Id="rId4" Type="http://schemas.openxmlformats.org/officeDocument/2006/relationships/tags" Target="../tags/tag113.xml"/><Relationship Id="rId9"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tags" Target="../tags/tag17.xml"/><Relationship Id="rId3" Type="http://schemas.openxmlformats.org/officeDocument/2006/relationships/tags" Target="../tags/tag12.xml"/><Relationship Id="rId7" Type="http://schemas.openxmlformats.org/officeDocument/2006/relationships/tags" Target="../tags/tag16.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5" Type="http://schemas.openxmlformats.org/officeDocument/2006/relationships/tags" Target="../tags/tag14.xml"/><Relationship Id="rId10" Type="http://schemas.openxmlformats.org/officeDocument/2006/relationships/slideMaster" Target="../slideMasters/slideMaster1.xml"/><Relationship Id="rId4" Type="http://schemas.openxmlformats.org/officeDocument/2006/relationships/tags" Target="../tags/tag13.xml"/><Relationship Id="rId9" Type="http://schemas.openxmlformats.org/officeDocument/2006/relationships/tags" Target="../tags/tag18.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6.xml"/><Relationship Id="rId3" Type="http://schemas.openxmlformats.org/officeDocument/2006/relationships/tags" Target="../tags/tag21.xml"/><Relationship Id="rId7" Type="http://schemas.openxmlformats.org/officeDocument/2006/relationships/tags" Target="../tags/tag25.xml"/><Relationship Id="rId12"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tags" Target="../tags/tag29.xml"/><Relationship Id="rId5" Type="http://schemas.openxmlformats.org/officeDocument/2006/relationships/tags" Target="../tags/tag23.xml"/><Relationship Id="rId10" Type="http://schemas.openxmlformats.org/officeDocument/2006/relationships/tags" Target="../tags/tag28.xml"/><Relationship Id="rId4" Type="http://schemas.openxmlformats.org/officeDocument/2006/relationships/tags" Target="../tags/tag22.xml"/><Relationship Id="rId9" Type="http://schemas.openxmlformats.org/officeDocument/2006/relationships/tags" Target="../tags/tag27.xml"/></Relationships>
</file>

<file path=ppt/slideLayouts/_rels/slideLayout4.xml.rels><?xml version="1.0" encoding="UTF-8" standalone="yes"?>
<Relationships xmlns="http://schemas.openxmlformats.org/package/2006/relationships"><Relationship Id="rId8" Type="http://schemas.openxmlformats.org/officeDocument/2006/relationships/tags" Target="../tags/tag37.xml"/><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tags" Target="../tags/tag40.xml"/><Relationship Id="rId5" Type="http://schemas.openxmlformats.org/officeDocument/2006/relationships/tags" Target="../tags/tag34.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slideMaster" Target="../slideMasters/slideMaster1.xml"/><Relationship Id="rId3" Type="http://schemas.openxmlformats.org/officeDocument/2006/relationships/tags" Target="../tags/tag43.xml"/><Relationship Id="rId7" Type="http://schemas.openxmlformats.org/officeDocument/2006/relationships/tags" Target="../tags/tag47.xml"/><Relationship Id="rId12" Type="http://schemas.openxmlformats.org/officeDocument/2006/relationships/tags" Target="../tags/tag52.xml"/><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tags" Target="../tags/tag51.xml"/><Relationship Id="rId5" Type="http://schemas.openxmlformats.org/officeDocument/2006/relationships/tags" Target="../tags/tag45.xml"/><Relationship Id="rId10" Type="http://schemas.openxmlformats.org/officeDocument/2006/relationships/tags" Target="../tags/tag50.xml"/><Relationship Id="rId4" Type="http://schemas.openxmlformats.org/officeDocument/2006/relationships/tags" Target="../tags/tag44.xml"/><Relationship Id="rId9" Type="http://schemas.openxmlformats.org/officeDocument/2006/relationships/tags" Target="../tags/tag49.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60.xml"/><Relationship Id="rId3" Type="http://schemas.openxmlformats.org/officeDocument/2006/relationships/tags" Target="../tags/tag55.xml"/><Relationship Id="rId7" Type="http://schemas.openxmlformats.org/officeDocument/2006/relationships/tags" Target="../tags/tag59.xml"/><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tags" Target="../tags/tag58.xml"/><Relationship Id="rId5" Type="http://schemas.openxmlformats.org/officeDocument/2006/relationships/tags" Target="../tags/tag57.xml"/><Relationship Id="rId10" Type="http://schemas.openxmlformats.org/officeDocument/2006/relationships/slideMaster" Target="../slideMasters/slideMaster1.xml"/><Relationship Id="rId4" Type="http://schemas.openxmlformats.org/officeDocument/2006/relationships/tags" Target="../tags/tag56.xml"/><Relationship Id="rId9" Type="http://schemas.openxmlformats.org/officeDocument/2006/relationships/tags" Target="../tags/tag61.xml"/></Relationships>
</file>

<file path=ppt/slideLayouts/_rels/slideLayout7.xml.rels><?xml version="1.0" encoding="UTF-8" standalone="yes"?>
<Relationships xmlns="http://schemas.openxmlformats.org/package/2006/relationships"><Relationship Id="rId8" Type="http://schemas.openxmlformats.org/officeDocument/2006/relationships/tags" Target="../tags/tag69.xml"/><Relationship Id="rId3" Type="http://schemas.openxmlformats.org/officeDocument/2006/relationships/tags" Target="../tags/tag64.xml"/><Relationship Id="rId7" Type="http://schemas.openxmlformats.org/officeDocument/2006/relationships/tags" Target="../tags/tag68.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tags" Target="../tags/tag67.xml"/><Relationship Id="rId5" Type="http://schemas.openxmlformats.org/officeDocument/2006/relationships/tags" Target="../tags/tag66.xml"/><Relationship Id="rId10" Type="http://schemas.openxmlformats.org/officeDocument/2006/relationships/slideMaster" Target="../slideMasters/slideMaster1.xml"/><Relationship Id="rId4" Type="http://schemas.openxmlformats.org/officeDocument/2006/relationships/tags" Target="../tags/tag65.xml"/><Relationship Id="rId9" Type="http://schemas.openxmlformats.org/officeDocument/2006/relationships/tags" Target="../tags/tag7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grpSp>
        <p:nvGrpSpPr>
          <p:cNvPr id="40" name="Logo with Panels"/>
          <p:cNvGrpSpPr/>
          <p:nvPr userDrawn="1"/>
        </p:nvGrpSpPr>
        <p:grpSpPr>
          <a:xfrm>
            <a:off x="1130368" y="0"/>
            <a:ext cx="8928031" cy="7318210"/>
            <a:chOff x="1130368" y="0"/>
            <a:chExt cx="8928031" cy="7318210"/>
          </a:xfrm>
        </p:grpSpPr>
        <p:grpSp>
          <p:nvGrpSpPr>
            <p:cNvPr id="4" name="Logo Shapes"/>
            <p:cNvGrpSpPr/>
            <p:nvPr userDrawn="1"/>
          </p:nvGrpSpPr>
          <p:grpSpPr>
            <a:xfrm>
              <a:off x="1904992" y="0"/>
              <a:ext cx="8153407" cy="6792223"/>
              <a:chOff x="1828800" y="-7143"/>
              <a:chExt cx="8153407" cy="6792223"/>
            </a:xfrm>
          </p:grpSpPr>
          <p:sp>
            <p:nvSpPr>
              <p:cNvPr id="23"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68" name="Rectangle 2"/>
              <p:cNvSpPr>
                <a:spLocks noChangeArrowheads="1"/>
              </p:cNvSpPr>
              <p:nvPr userDrawn="1"/>
            </p:nvSpPr>
            <p:spPr bwMode="gray">
              <a:xfrm>
                <a:off x="1828800" y="3583783"/>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4"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8" name="Rectangle 5"/>
              <p:cNvSpPr>
                <a:spLocks noChangeArrowheads="1"/>
              </p:cNvSpPr>
              <p:nvPr userDrawn="1"/>
            </p:nvSpPr>
            <p:spPr bwMode="gray">
              <a:xfrm>
                <a:off x="1828800" y="1057864"/>
                <a:ext cx="6492240" cy="5707715"/>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69" name="Rectangle 6"/>
              <p:cNvSpPr>
                <a:spLocks noChangeArrowheads="1"/>
              </p:cNvSpPr>
              <p:nvPr userDrawn="1"/>
            </p:nvSpPr>
            <p:spPr bwMode="gray">
              <a:xfrm>
                <a:off x="1828800" y="3583783"/>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9" name="Rectangle 7"/>
              <p:cNvSpPr>
                <a:spLocks noChangeArrowheads="1"/>
              </p:cNvSpPr>
              <p:nvPr userDrawn="1"/>
            </p:nvSpPr>
            <p:spPr bwMode="gray">
              <a:xfrm>
                <a:off x="1828800" y="1057864"/>
                <a:ext cx="6248400" cy="5707715"/>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endParaRPr lang="en-GB" noProof="0" dirty="0"/>
              </a:p>
            </p:txBody>
          </p:sp>
          <p:sp>
            <p:nvSpPr>
              <p:cNvPr id="26"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7" name="Rectangle 9"/>
              <p:cNvSpPr/>
              <p:nvPr userDrawn="1"/>
            </p:nvSpPr>
            <p:spPr bwMode="gray">
              <a:xfrm>
                <a:off x="1828800" y="3583783"/>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pPr marL="0" algn="l" defTabSz="1018824" rtl="0" eaLnBrk="1" latinLnBrk="0" hangingPunct="1"/>
                <a:endParaRPr lang="en-GB" sz="2000" kern="1200" noProof="0" dirty="0">
                  <a:solidFill>
                    <a:schemeClr val="tx1"/>
                  </a:solidFill>
                  <a:latin typeface="+mn-lt"/>
                  <a:ea typeface="+mn-ea"/>
                  <a:cs typeface="+mn-cs"/>
                </a:endParaRPr>
              </a:p>
            </p:txBody>
          </p:sp>
          <p:sp>
            <p:nvSpPr>
              <p:cNvPr id="30"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71"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grpSp>
        <p:grpSp>
          <p:nvGrpSpPr>
            <p:cNvPr id="36" name="Logo"/>
            <p:cNvGrpSpPr/>
            <p:nvPr userDrawn="1"/>
          </p:nvGrpSpPr>
          <p:grpSpPr>
            <a:xfrm>
              <a:off x="1130368" y="6790556"/>
              <a:ext cx="905256" cy="527654"/>
              <a:chOff x="1130368" y="6790556"/>
              <a:chExt cx="905256" cy="527654"/>
            </a:xfrm>
          </p:grpSpPr>
          <p:sp>
            <p:nvSpPr>
              <p:cNvPr id="38"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Freeform 38"/>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48" name="Descriptor"/>
          <p:cNvSpPr>
            <a:spLocks noGrp="1"/>
          </p:cNvSpPr>
          <p:nvPr userDrawn="1">
            <p:custDataLst>
              <p:tags r:id="rId1"/>
            </p:custDataLst>
          </p:nvPr>
        </p:nvSpPr>
        <p:spPr bwMode="white">
          <a:xfrm>
            <a:off x="2059200" y="611644"/>
            <a:ext cx="65" cy="215444"/>
          </a:xfrm>
          <a:prstGeom prst="rect">
            <a:avLst/>
          </a:prstGeom>
        </p:spPr>
        <p:txBody>
          <a:bodyPr vert="horz" wrap="none" lIns="0" tIns="0" rIns="0" bIns="0" rtlCol="0" anchor="b" anchorCtr="0">
            <a:spAutoFit/>
          </a:bodyPr>
          <a:lstStyle>
            <a:lvl1pPr marL="0" marR="0" indent="0" algn="l" defTabSz="1019175" rtl="0" eaLnBrk="1" fontAlgn="base" latinLnBrk="0" hangingPunct="1">
              <a:lnSpc>
                <a:spcPct val="100000"/>
              </a:lnSpc>
              <a:spcBef>
                <a:spcPts val="0"/>
              </a:spcBef>
              <a:spcAft>
                <a:spcPts val="0"/>
              </a:spcAft>
              <a:buClr>
                <a:srgbClr val="000000"/>
              </a:buClr>
              <a:buSzTx/>
              <a:buFont typeface="Wingdings" pitchFamily="2" charset="2"/>
              <a:buNone/>
              <a:tabLst/>
              <a:defRPr sz="1100" kern="1200">
                <a:solidFill>
                  <a:schemeClr val="tx1"/>
                </a:solidFill>
                <a:latin typeface="Georgia" pitchFamily="18" charset="0"/>
                <a:ea typeface="+mn-ea"/>
                <a:cs typeface="+mn-cs"/>
              </a:defRPr>
            </a:lvl1pPr>
            <a:lvl2pPr marL="234950" marR="0" indent="-228600" algn="l" defTabSz="1019175" rtl="0" eaLnBrk="1" fontAlgn="base" latinLnBrk="0" hangingPunct="1">
              <a:lnSpc>
                <a:spcPct val="100000"/>
              </a:lnSpc>
              <a:spcBef>
                <a:spcPts val="0"/>
              </a:spcBef>
              <a:spcAft>
                <a:spcPts val="0"/>
              </a:spcAft>
              <a:buClr>
                <a:srgbClr val="000000"/>
              </a:buClr>
              <a:buSzTx/>
              <a:buFont typeface="Times New Roman" pitchFamily="18" charset="0"/>
              <a:buChar char="•"/>
              <a:tabLst/>
              <a:defRPr sz="1100" kern="1200">
                <a:solidFill>
                  <a:schemeClr val="tx1"/>
                </a:solidFill>
                <a:latin typeface="Georgia" pitchFamily="18" charset="0"/>
                <a:ea typeface="+mn-ea"/>
                <a:cs typeface="+mn-cs"/>
              </a:defRPr>
            </a:lvl2pPr>
            <a:lvl3pPr marL="475488" marR="0" indent="-227013" algn="l" defTabSz="1019175" rtl="0" eaLnBrk="1" fontAlgn="base" latinLnBrk="0" hangingPunct="1">
              <a:lnSpc>
                <a:spcPct val="100000"/>
              </a:lnSpc>
              <a:spcBef>
                <a:spcPts val="0"/>
              </a:spcBef>
              <a:spcAft>
                <a:spcPts val="0"/>
              </a:spcAft>
              <a:buClr>
                <a:srgbClr val="000000"/>
              </a:buClr>
              <a:buSzTx/>
              <a:buFont typeface="Arial" pitchFamily="34" charset="0"/>
              <a:buChar char="-"/>
              <a:tabLst/>
              <a:defRPr sz="1100" kern="1200">
                <a:solidFill>
                  <a:schemeClr val="tx1"/>
                </a:solidFill>
                <a:latin typeface="Georgia" pitchFamily="18" charset="0"/>
                <a:ea typeface="+mn-ea"/>
                <a:cs typeface="+mn-cs"/>
              </a:defRPr>
            </a:lvl3pPr>
            <a:lvl4pPr marL="685800" marR="0" indent="-237744" algn="l" defTabSz="1019175" rtl="0" eaLnBrk="1" fontAlgn="base" latinLnBrk="0" hangingPunct="1">
              <a:lnSpc>
                <a:spcPct val="100000"/>
              </a:lnSpc>
              <a:spcBef>
                <a:spcPts val="0"/>
              </a:spcBef>
              <a:spcAft>
                <a:spcPts val="0"/>
              </a:spcAft>
              <a:buClr>
                <a:srgbClr val="000000"/>
              </a:buClr>
              <a:buSzTx/>
              <a:buFont typeface="Georgia" pitchFamily="18" charset="0"/>
              <a:buChar char="◦"/>
              <a:tabLst/>
              <a:defRPr sz="1100" kern="1200">
                <a:solidFill>
                  <a:schemeClr val="tx1"/>
                </a:solidFill>
                <a:latin typeface="Georgia" pitchFamily="18" charset="0"/>
                <a:ea typeface="+mn-ea"/>
                <a:cs typeface="+mn-cs"/>
              </a:defRPr>
            </a:lvl4pPr>
            <a:lvl5pPr marL="914400" marR="0" indent="-228600" algn="l" defTabSz="1019175" rtl="0" eaLnBrk="1" fontAlgn="base" latinLnBrk="0" hangingPunct="1">
              <a:lnSpc>
                <a:spcPct val="100000"/>
              </a:lnSpc>
              <a:spcBef>
                <a:spcPts val="0"/>
              </a:spcBef>
              <a:spcAft>
                <a:spcPts val="0"/>
              </a:spcAft>
              <a:buClr>
                <a:srgbClr val="000000"/>
              </a:buClr>
              <a:buSzTx/>
              <a:buFont typeface="Georgia" pitchFamily="18" charset="0"/>
              <a:buChar char="›"/>
              <a:tabLst/>
              <a:defRPr sz="1100" kern="1200" baseline="0">
                <a:solidFill>
                  <a:schemeClr val="tx1"/>
                </a:solidFill>
                <a:latin typeface="Georgia" pitchFamily="18" charset="0"/>
                <a:ea typeface="+mn-ea"/>
                <a:cs typeface="+mn-cs"/>
              </a:defRPr>
            </a:lvl5pPr>
            <a:lvl6pPr marL="237744" indent="-237744" algn="l" defTabSz="1018824" rtl="0" eaLnBrk="1" latinLnBrk="0" hangingPunct="1">
              <a:lnSpc>
                <a:spcPct val="100000"/>
              </a:lnSpc>
              <a:spcBef>
                <a:spcPts val="0"/>
              </a:spcBef>
              <a:spcAft>
                <a:spcPts val="0"/>
              </a:spcAft>
              <a:buFont typeface="+mj-lt"/>
              <a:buAutoNum type="arabicPeriod"/>
              <a:defRPr lang="en-GB" sz="1100" kern="1200" baseline="0" noProof="0" dirty="0" smtClean="0">
                <a:solidFill>
                  <a:schemeClr val="tx1"/>
                </a:solidFill>
                <a:latin typeface="Georgia" pitchFamily="18" charset="0"/>
                <a:ea typeface="+mn-ea"/>
                <a:cs typeface="+mn-cs"/>
              </a:defRPr>
            </a:lvl6pPr>
            <a:lvl7pPr marL="475488" indent="-228600" algn="l" defTabSz="1018824" rtl="0" eaLnBrk="1" latinLnBrk="0" hangingPunct="1">
              <a:lnSpc>
                <a:spcPct val="100000"/>
              </a:lnSpc>
              <a:spcBef>
                <a:spcPts val="0"/>
              </a:spcBef>
              <a:spcAft>
                <a:spcPts val="0"/>
              </a:spcAft>
              <a:buFont typeface="+mj-lt"/>
              <a:buAutoNum type="alphaLcPeriod"/>
              <a:defRPr lang="en-GB" sz="1100" kern="1200" baseline="0" noProof="0" dirty="0" smtClean="0">
                <a:solidFill>
                  <a:schemeClr val="tx1"/>
                </a:solidFill>
                <a:latin typeface="Georgia" pitchFamily="18" charset="0"/>
                <a:ea typeface="+mn-ea"/>
                <a:cs typeface="+mn-cs"/>
              </a:defRPr>
            </a:lvl7pPr>
            <a:lvl8pPr marL="682625" indent="-228600" algn="l" defTabSz="1018824" rtl="0" eaLnBrk="1" latinLnBrk="0" hangingPunct="1">
              <a:lnSpc>
                <a:spcPct val="100000"/>
              </a:lnSpc>
              <a:spcBef>
                <a:spcPts val="0"/>
              </a:spcBef>
              <a:spcAft>
                <a:spcPts val="0"/>
              </a:spcAft>
              <a:buFont typeface="+mj-lt"/>
              <a:buAutoNum type="romanLcPeriod"/>
              <a:defRPr lang="en-GB" sz="1100" kern="1200" baseline="0" noProof="0" dirty="0" smtClean="0">
                <a:solidFill>
                  <a:schemeClr val="tx1"/>
                </a:solidFill>
                <a:latin typeface="Georgia" pitchFamily="18" charset="0"/>
                <a:ea typeface="+mn-ea"/>
                <a:cs typeface="+mn-cs"/>
              </a:defRPr>
            </a:lvl8pPr>
            <a:lvl9pPr marL="0" indent="0" algn="l" defTabSz="1018824" rtl="0" eaLnBrk="1" latinLnBrk="0" hangingPunct="1">
              <a:lnSpc>
                <a:spcPct val="100000"/>
              </a:lnSpc>
              <a:spcBef>
                <a:spcPts val="0"/>
              </a:spcBef>
              <a:spcAft>
                <a:spcPts val="600"/>
              </a:spcAft>
              <a:buFont typeface="Arial" pitchFamily="34" charset="0"/>
              <a:buNone/>
              <a:defRPr lang="en-GB" sz="1100" b="1" kern="1200" baseline="0" noProof="0" dirty="0" smtClean="0">
                <a:solidFill>
                  <a:schemeClr val="tx2"/>
                </a:solidFill>
                <a:latin typeface="Georgia" pitchFamily="18" charset="0"/>
                <a:ea typeface="+mn-ea"/>
                <a:cs typeface="+mn-cs"/>
              </a:defRPr>
            </a:lvl9pPr>
          </a:lstStyle>
          <a:p>
            <a:pPr lvl="0">
              <a:spcBef>
                <a:spcPct val="0"/>
              </a:spcBef>
              <a:defRPr/>
            </a:pPr>
            <a:endParaRPr lang="en-GB" sz="1400" b="0" i="0" dirty="0">
              <a:solidFill>
                <a:schemeClr val="bg1"/>
              </a:solidFill>
              <a:latin typeface="Arial" pitchFamily="34" charset="0"/>
              <a:cs typeface="Arial" pitchFamily="34" charset="0"/>
            </a:endParaRPr>
          </a:p>
        </p:txBody>
      </p:sp>
      <p:sp>
        <p:nvSpPr>
          <p:cNvPr id="42" name="Report Title"/>
          <p:cNvSpPr>
            <a:spLocks noGrp="1"/>
          </p:cNvSpPr>
          <p:nvPr>
            <p:ph type="ctrTitle" hasCustomPrompt="1"/>
            <p:custDataLst>
              <p:tags r:id="rId2"/>
            </p:custDataLst>
          </p:nvPr>
        </p:nvSpPr>
        <p:spPr bwMode="white">
          <a:xfrm>
            <a:off x="2056818" y="1261037"/>
            <a:ext cx="5943600" cy="534077"/>
          </a:xfrm>
        </p:spPr>
        <p:txBody>
          <a:bodyPr vert="horz" lIns="0" tIns="0" rIns="0" bIns="90000" rtlCol="0" anchor="t" anchorCtr="0">
            <a:spAutoFit/>
          </a:bodyPr>
          <a:lstStyle>
            <a:lvl1pPr algn="l" defTabSz="1018824" rtl="0" eaLnBrk="1" latinLnBrk="0" hangingPunct="1">
              <a:lnSpc>
                <a:spcPct val="90000"/>
              </a:lnSpc>
              <a:spcBef>
                <a:spcPct val="0"/>
              </a:spcBef>
              <a:buNone/>
              <a:defRPr lang="en-GB" sz="3200" b="1" i="1" kern="1200" baseline="0" noProof="0">
                <a:solidFill>
                  <a:schemeClr val="bg1"/>
                </a:solidFill>
                <a:latin typeface="+mj-lt"/>
                <a:ea typeface="+mj-ea"/>
                <a:cs typeface="+mj-cs"/>
              </a:defRPr>
            </a:lvl1pPr>
          </a:lstStyle>
          <a:p>
            <a:r>
              <a:rPr lang="en-GB" noProof="0" dirty="0" smtClean="0"/>
              <a:t>Report Title</a:t>
            </a:r>
            <a:endParaRPr lang="en-GB" noProof="0" dirty="0"/>
          </a:p>
        </p:txBody>
      </p:sp>
      <p:sp>
        <p:nvSpPr>
          <p:cNvPr id="41" name="Report Subtitle"/>
          <p:cNvSpPr>
            <a:spLocks noGrp="1"/>
          </p:cNvSpPr>
          <p:nvPr>
            <p:ph type="subTitle" idx="1" hasCustomPrompt="1"/>
            <p:custDataLst>
              <p:tags r:id="rId3"/>
            </p:custDataLst>
          </p:nvPr>
        </p:nvSpPr>
        <p:spPr bwMode="white">
          <a:xfrm>
            <a:off x="2056818" y="1828800"/>
            <a:ext cx="5943600" cy="443198"/>
          </a:xfrm>
        </p:spPr>
        <p:txBody>
          <a:bodyPr tIns="0" bIns="0">
            <a:spAutoFit/>
          </a:bodyPr>
          <a:lstStyle>
            <a:lvl1pPr marL="0" indent="0" algn="l">
              <a:lnSpc>
                <a:spcPct val="90000"/>
              </a:lnSpc>
              <a:spcAft>
                <a:spcPts val="0"/>
              </a:spcAft>
              <a:buNone/>
              <a:defRPr sz="3200" baseline="0">
                <a:solidFill>
                  <a:schemeClr val="bg1"/>
                </a:solidFill>
                <a:latin typeface="+mj-lt"/>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GB" noProof="0" dirty="0" smtClean="0"/>
              <a:t>Subtitle</a:t>
            </a:r>
          </a:p>
        </p:txBody>
      </p:sp>
      <p:cxnSp>
        <p:nvCxnSpPr>
          <p:cNvPr id="25" name="Frame Line"/>
          <p:cNvCxnSpPr/>
          <p:nvPr userDrawn="1"/>
        </p:nvCxnSpPr>
        <p:spPr>
          <a:xfrm flipV="1">
            <a:off x="381000" y="3594352"/>
            <a:ext cx="1371600" cy="144000"/>
          </a:xfrm>
          <a:prstGeom prst="bentConnector3">
            <a:avLst>
              <a:gd name="adj1" fmla="val -174"/>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2" name="Draft Stamp"/>
          <p:cNvSpPr txBox="1"/>
          <p:nvPr userDrawn="1">
            <p:custDataLst>
              <p:tags r:id="rId4"/>
            </p:custDataLst>
          </p:nvPr>
        </p:nvSpPr>
        <p:spPr bwMode="black">
          <a:xfrm>
            <a:off x="530352" y="4041648"/>
            <a:ext cx="1371600" cy="292388"/>
          </a:xfrm>
          <a:prstGeom prst="rect">
            <a:avLst/>
          </a:prstGeom>
          <a:noFill/>
          <a:ln>
            <a:noFill/>
          </a:ln>
        </p:spPr>
        <p:txBody>
          <a:bodyPr wrap="square" lIns="0" tIns="0" rIns="0" bIns="137160" rtlCol="0" anchor="t" anchorCtr="0">
            <a:spAutoFit/>
          </a:bodyPr>
          <a:lstStyle/>
          <a:p>
            <a:pPr algn="l">
              <a:lnSpc>
                <a:spcPct val="100000"/>
              </a:lnSpc>
            </a:pPr>
            <a:endParaRPr lang="en-GB" sz="1000" b="1" i="1" dirty="0">
              <a:solidFill>
                <a:schemeClr val="tx1"/>
              </a:solidFill>
              <a:latin typeface="Georgia" pitchFamily="18" charset="0"/>
            </a:endParaRPr>
          </a:p>
        </p:txBody>
      </p:sp>
      <p:sp>
        <p:nvSpPr>
          <p:cNvPr id="31" name="Confidentiality Stamp"/>
          <p:cNvSpPr>
            <a:spLocks noGrp="1"/>
          </p:cNvSpPr>
          <p:nvPr userDrawn="1">
            <p:custDataLst>
              <p:tags r:id="rId5"/>
            </p:custDataLst>
          </p:nvPr>
        </p:nvSpPr>
        <p:spPr>
          <a:xfrm>
            <a:off x="530351" y="3729600"/>
            <a:ext cx="1224000" cy="153888"/>
          </a:xfrm>
          <a:prstGeom prst="rect">
            <a:avLst/>
          </a:prstGeom>
        </p:spPr>
        <p:txBody>
          <a:bodyPr vert="horz" wrap="square" lIns="0" tIns="0" rIns="0" bIns="0" rtlCol="0">
            <a:spAutoFit/>
          </a:bodyPr>
          <a:lstStyle>
            <a:lvl1pPr marL="0" marR="0" indent="0" algn="l" defTabSz="1019175" rtl="0" eaLnBrk="1" fontAlgn="base" latinLnBrk="0" hangingPunct="1">
              <a:lnSpc>
                <a:spcPct val="100000"/>
              </a:lnSpc>
              <a:spcBef>
                <a:spcPts val="0"/>
              </a:spcBef>
              <a:spcAft>
                <a:spcPts val="0"/>
              </a:spcAft>
              <a:buClr>
                <a:srgbClr val="000000"/>
              </a:buClr>
              <a:buSzTx/>
              <a:buFont typeface="Wingdings" pitchFamily="2" charset="2"/>
              <a:buNone/>
              <a:tabLst/>
              <a:defRPr sz="1100" kern="1200">
                <a:solidFill>
                  <a:schemeClr val="tx1"/>
                </a:solidFill>
                <a:latin typeface="Georgia" pitchFamily="18" charset="0"/>
                <a:ea typeface="+mn-ea"/>
                <a:cs typeface="+mn-cs"/>
              </a:defRPr>
            </a:lvl1pPr>
            <a:lvl2pPr marL="234950" marR="0" indent="-228600" algn="l" defTabSz="1019175" rtl="0" eaLnBrk="1" fontAlgn="base" latinLnBrk="0" hangingPunct="1">
              <a:lnSpc>
                <a:spcPct val="100000"/>
              </a:lnSpc>
              <a:spcBef>
                <a:spcPts val="0"/>
              </a:spcBef>
              <a:spcAft>
                <a:spcPts val="0"/>
              </a:spcAft>
              <a:buClr>
                <a:srgbClr val="000000"/>
              </a:buClr>
              <a:buSzTx/>
              <a:buFont typeface="Times New Roman" pitchFamily="18" charset="0"/>
              <a:buChar char="•"/>
              <a:tabLst/>
              <a:defRPr sz="1100" kern="1200">
                <a:solidFill>
                  <a:schemeClr val="tx1"/>
                </a:solidFill>
                <a:latin typeface="Georgia" pitchFamily="18" charset="0"/>
                <a:ea typeface="+mn-ea"/>
                <a:cs typeface="+mn-cs"/>
              </a:defRPr>
            </a:lvl2pPr>
            <a:lvl3pPr marL="475488" marR="0" indent="-227013" algn="l" defTabSz="1019175" rtl="0" eaLnBrk="1" fontAlgn="base" latinLnBrk="0" hangingPunct="1">
              <a:lnSpc>
                <a:spcPct val="100000"/>
              </a:lnSpc>
              <a:spcBef>
                <a:spcPts val="0"/>
              </a:spcBef>
              <a:spcAft>
                <a:spcPts val="0"/>
              </a:spcAft>
              <a:buClr>
                <a:srgbClr val="000000"/>
              </a:buClr>
              <a:buSzTx/>
              <a:buFont typeface="Arial" pitchFamily="34" charset="0"/>
              <a:buChar char="-"/>
              <a:tabLst/>
              <a:defRPr sz="1100" kern="1200">
                <a:solidFill>
                  <a:schemeClr val="tx1"/>
                </a:solidFill>
                <a:latin typeface="Georgia" pitchFamily="18" charset="0"/>
                <a:ea typeface="+mn-ea"/>
                <a:cs typeface="+mn-cs"/>
              </a:defRPr>
            </a:lvl3pPr>
            <a:lvl4pPr marL="685800" marR="0" indent="-237744" algn="l" defTabSz="1019175" rtl="0" eaLnBrk="1" fontAlgn="base" latinLnBrk="0" hangingPunct="1">
              <a:lnSpc>
                <a:spcPct val="100000"/>
              </a:lnSpc>
              <a:spcBef>
                <a:spcPts val="0"/>
              </a:spcBef>
              <a:spcAft>
                <a:spcPts val="0"/>
              </a:spcAft>
              <a:buClr>
                <a:srgbClr val="000000"/>
              </a:buClr>
              <a:buSzTx/>
              <a:buFont typeface="Georgia" pitchFamily="18" charset="0"/>
              <a:buChar char="◦"/>
              <a:tabLst/>
              <a:defRPr sz="1100" kern="1200">
                <a:solidFill>
                  <a:schemeClr val="tx1"/>
                </a:solidFill>
                <a:latin typeface="Georgia" pitchFamily="18" charset="0"/>
                <a:ea typeface="+mn-ea"/>
                <a:cs typeface="+mn-cs"/>
              </a:defRPr>
            </a:lvl4pPr>
            <a:lvl5pPr marL="914400" marR="0" indent="-228600" algn="l" defTabSz="1019175" rtl="0" eaLnBrk="1" fontAlgn="base" latinLnBrk="0" hangingPunct="1">
              <a:lnSpc>
                <a:spcPct val="100000"/>
              </a:lnSpc>
              <a:spcBef>
                <a:spcPts val="0"/>
              </a:spcBef>
              <a:spcAft>
                <a:spcPts val="0"/>
              </a:spcAft>
              <a:buClr>
                <a:srgbClr val="000000"/>
              </a:buClr>
              <a:buSzTx/>
              <a:buFont typeface="Georgia" pitchFamily="18" charset="0"/>
              <a:buChar char="›"/>
              <a:tabLst/>
              <a:defRPr sz="1100" kern="1200" baseline="0">
                <a:solidFill>
                  <a:schemeClr val="tx1"/>
                </a:solidFill>
                <a:latin typeface="Georgia" pitchFamily="18" charset="0"/>
                <a:ea typeface="+mn-ea"/>
                <a:cs typeface="+mn-cs"/>
              </a:defRPr>
            </a:lvl5pPr>
            <a:lvl6pPr marL="237744" indent="-237744" algn="l" defTabSz="1018824" rtl="0" eaLnBrk="1" latinLnBrk="0" hangingPunct="1">
              <a:lnSpc>
                <a:spcPct val="100000"/>
              </a:lnSpc>
              <a:spcBef>
                <a:spcPts val="0"/>
              </a:spcBef>
              <a:spcAft>
                <a:spcPts val="0"/>
              </a:spcAft>
              <a:buFont typeface="+mj-lt"/>
              <a:buAutoNum type="arabicPeriod"/>
              <a:defRPr lang="en-GB" sz="1100" kern="1200" baseline="0" noProof="0" dirty="0" smtClean="0">
                <a:solidFill>
                  <a:schemeClr val="tx1"/>
                </a:solidFill>
                <a:latin typeface="Georgia" pitchFamily="18" charset="0"/>
                <a:ea typeface="+mn-ea"/>
                <a:cs typeface="+mn-cs"/>
              </a:defRPr>
            </a:lvl6pPr>
            <a:lvl7pPr marL="475488" indent="-228600" algn="l" defTabSz="1018824" rtl="0" eaLnBrk="1" latinLnBrk="0" hangingPunct="1">
              <a:lnSpc>
                <a:spcPct val="100000"/>
              </a:lnSpc>
              <a:spcBef>
                <a:spcPts val="0"/>
              </a:spcBef>
              <a:spcAft>
                <a:spcPts val="0"/>
              </a:spcAft>
              <a:buFont typeface="+mj-lt"/>
              <a:buAutoNum type="alphaLcPeriod"/>
              <a:defRPr lang="en-GB" sz="1100" kern="1200" baseline="0" noProof="0" dirty="0" smtClean="0">
                <a:solidFill>
                  <a:schemeClr val="tx1"/>
                </a:solidFill>
                <a:latin typeface="Georgia" pitchFamily="18" charset="0"/>
                <a:ea typeface="+mn-ea"/>
                <a:cs typeface="+mn-cs"/>
              </a:defRPr>
            </a:lvl7pPr>
            <a:lvl8pPr marL="682625" indent="-228600" algn="l" defTabSz="1018824" rtl="0" eaLnBrk="1" latinLnBrk="0" hangingPunct="1">
              <a:lnSpc>
                <a:spcPct val="100000"/>
              </a:lnSpc>
              <a:spcBef>
                <a:spcPts val="0"/>
              </a:spcBef>
              <a:spcAft>
                <a:spcPts val="0"/>
              </a:spcAft>
              <a:buFont typeface="+mj-lt"/>
              <a:buAutoNum type="romanLcPeriod"/>
              <a:defRPr lang="en-GB" sz="1100" kern="1200" baseline="0" noProof="0" dirty="0" smtClean="0">
                <a:solidFill>
                  <a:schemeClr val="tx1"/>
                </a:solidFill>
                <a:latin typeface="Georgia" pitchFamily="18" charset="0"/>
                <a:ea typeface="+mn-ea"/>
                <a:cs typeface="+mn-cs"/>
              </a:defRPr>
            </a:lvl8pPr>
            <a:lvl9pPr marL="0" indent="0" algn="l" defTabSz="1018824" rtl="0" eaLnBrk="1" latinLnBrk="0" hangingPunct="1">
              <a:lnSpc>
                <a:spcPct val="100000"/>
              </a:lnSpc>
              <a:spcBef>
                <a:spcPts val="0"/>
              </a:spcBef>
              <a:spcAft>
                <a:spcPts val="600"/>
              </a:spcAft>
              <a:buFont typeface="Arial" pitchFamily="34" charset="0"/>
              <a:buNone/>
              <a:defRPr lang="en-GB" sz="1100" b="1" kern="1200" baseline="0" noProof="0" dirty="0" smtClean="0">
                <a:solidFill>
                  <a:schemeClr val="tx2"/>
                </a:solidFill>
                <a:latin typeface="Georgia" pitchFamily="18" charset="0"/>
                <a:ea typeface="+mn-ea"/>
                <a:cs typeface="+mn-cs"/>
              </a:defRPr>
            </a:lvl9pPr>
          </a:lstStyle>
          <a:p>
            <a:pPr lvl="0">
              <a:spcBef>
                <a:spcPct val="0"/>
              </a:spcBef>
              <a:defRPr/>
            </a:pPr>
            <a:endParaRPr lang="en-GB" sz="1000" b="0" i="1" dirty="0">
              <a:solidFill>
                <a:schemeClr val="tx1"/>
              </a:solidFill>
            </a:endParaRPr>
          </a:p>
        </p:txBody>
      </p:sp>
      <p:sp>
        <p:nvSpPr>
          <p:cNvPr id="33" name="Report Date"/>
          <p:cNvSpPr txBox="1"/>
          <p:nvPr userDrawn="1">
            <p:custDataLst>
              <p:tags r:id="rId6"/>
            </p:custDataLst>
          </p:nvPr>
        </p:nvSpPr>
        <p:spPr bwMode="black">
          <a:xfrm>
            <a:off x="530352" y="4343400"/>
            <a:ext cx="1225296" cy="153888"/>
          </a:xfrm>
          <a:prstGeom prst="rect">
            <a:avLst/>
          </a:prstGeom>
          <a:noFill/>
          <a:ln>
            <a:noFill/>
          </a:ln>
        </p:spPr>
        <p:txBody>
          <a:bodyPr wrap="square" lIns="0" tIns="0" rIns="0" bIns="0" rtlCol="0">
            <a:spAutoFit/>
          </a:bodyPr>
          <a:lstStyle/>
          <a:p>
            <a:pPr algn="l"/>
            <a:endParaRPr lang="en-GB" sz="1000" i="1" dirty="0">
              <a:latin typeface="Georgia" pitchFamily="18" charset="0"/>
            </a:endParaRPr>
          </a:p>
        </p:txBody>
      </p:sp>
      <p:sp>
        <p:nvSpPr>
          <p:cNvPr id="34" name="Cover image"/>
          <p:cNvSpPr txBox="1">
            <a:spLocks noChangeAspect="1"/>
          </p:cNvSpPr>
          <p:nvPr userDrawn="1">
            <p:custDataLst>
              <p:tags r:id="rId7"/>
            </p:custDataLst>
          </p:nvPr>
        </p:nvSpPr>
        <p:spPr>
          <a:xfrm>
            <a:off x="1904334" y="3589973"/>
            <a:ext cx="6719929" cy="3200400"/>
          </a:xfrm>
          <a:prstGeom prst="rect">
            <a:avLst/>
          </a:prstGeom>
          <a:noFill/>
          <a:ln w="3175">
            <a:noFill/>
          </a:ln>
        </p:spPr>
        <p:txBody>
          <a:bodyPr wrap="square" lIns="0" tIns="0" rIns="0" bIns="0" rtlCol="0">
            <a:noAutofit/>
          </a:bodyPr>
          <a:lstStyle/>
          <a:p>
            <a:pPr indent="-305647">
              <a:spcAft>
                <a:spcPts val="1003"/>
              </a:spcAft>
            </a:pPr>
            <a:endParaRPr lang="en-GB" sz="2200" dirty="0" smtClean="0">
              <a:latin typeface="Georgia" pitchFamily="18" charset="0"/>
            </a:endParaRPr>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Header Footer Only">
    <p:spTree>
      <p:nvGrpSpPr>
        <p:cNvPr id="1" name=""/>
        <p:cNvGrpSpPr/>
        <p:nvPr/>
      </p:nvGrpSpPr>
      <p:grpSpPr>
        <a:xfrm>
          <a:off x="0" y="0"/>
          <a:ext cx="0" cy="0"/>
          <a:chOff x="0" y="0"/>
          <a:chExt cx="0" cy="0"/>
        </a:xfrm>
      </p:grpSpPr>
      <p:sp>
        <p:nvSpPr>
          <p:cNvPr id="7" name="PwC Text"/>
          <p:cNvSpPr txBox="1"/>
          <p:nvPr userDrawn="1"/>
        </p:nvSpPr>
        <p:spPr>
          <a:xfrm>
            <a:off x="530352" y="7344000"/>
            <a:ext cx="274320" cy="214608"/>
          </a:xfrm>
          <a:prstGeom prst="rect">
            <a:avLst/>
          </a:prstGeom>
          <a:noFill/>
        </p:spPr>
        <p:txBody>
          <a:bodyPr vert="horz" wrap="none" lIns="0" tIns="0" rIns="0" bIns="0" rtlCol="0" anchor="t" anchorCtr="0">
            <a:noAutofit/>
          </a:bodyPr>
          <a:lstStyle/>
          <a:p>
            <a:pPr>
              <a:lnSpc>
                <a:spcPts val="1000"/>
              </a:lnSpc>
            </a:pPr>
            <a:r>
              <a:rPr lang="en-GB" altLang="zh-CN" sz="1100" noProof="1" smtClean="0">
                <a:latin typeface="+mj-lt"/>
                <a:ea typeface="宋体" panose="02010600030101010101" pitchFamily="2" charset="-122"/>
                <a:cs typeface="Arial" pitchFamily="34" charset="0"/>
              </a:rPr>
              <a:t>PwC</a:t>
            </a:r>
            <a:endParaRPr lang="en-GB" sz="1100" noProof="1">
              <a:latin typeface="+mj-lt"/>
              <a:ea typeface="宋体" panose="02010600030101010101" pitchFamily="2" charset="-122"/>
              <a:cs typeface="Arial" pitchFamily="34" charset="0"/>
            </a:endParaRPr>
          </a:p>
        </p:txBody>
      </p:sp>
      <p:sp>
        <p:nvSpPr>
          <p:cNvPr id="8" name="Report Date"/>
          <p:cNvSpPr txBox="1"/>
          <p:nvPr userDrawn="1">
            <p:custDataLst>
              <p:tags r:id="rId1"/>
            </p:custDataLst>
          </p:nvPr>
        </p:nvSpPr>
        <p:spPr>
          <a:xfrm>
            <a:off x="8500778" y="7128974"/>
            <a:ext cx="1017907" cy="169277"/>
          </a:xfrm>
          <a:prstGeom prst="rect">
            <a:avLst/>
          </a:prstGeom>
          <a:noFill/>
        </p:spPr>
        <p:txBody>
          <a:bodyPr wrap="none" lIns="0" tIns="0" rIns="0" bIns="0" rtlCol="0">
            <a:spAutoFit/>
          </a:bodyPr>
          <a:lstStyle/>
          <a:p>
            <a:pPr indent="-274320" algn="r">
              <a:spcAft>
                <a:spcPts val="900"/>
              </a:spcAft>
            </a:pPr>
            <a:r>
              <a:rPr lang="en-GB" sz="1100" noProof="1" smtClean="0">
                <a:latin typeface="+mj-lt"/>
                <a:ea typeface="宋体" panose="02010600030101010101" pitchFamily="2" charset="-122"/>
              </a:rPr>
              <a:t>September 2018</a:t>
            </a:r>
            <a:endParaRPr lang="en-GB" sz="1100" noProof="1" smtClean="0">
              <a:latin typeface="+mj-lt"/>
              <a:ea typeface="宋体" panose="02010600030101010101" pitchFamily="2" charset="-122"/>
            </a:endParaRPr>
          </a:p>
        </p:txBody>
      </p:sp>
      <p:sp>
        <p:nvSpPr>
          <p:cNvPr id="12" name="Page Number"/>
          <p:cNvSpPr txBox="1"/>
          <p:nvPr userDrawn="1">
            <p:custDataLst>
              <p:tags r:id="rId2"/>
            </p:custDataLst>
          </p:nvPr>
        </p:nvSpPr>
        <p:spPr>
          <a:xfrm>
            <a:off x="9217152" y="7315200"/>
            <a:ext cx="320040" cy="155448"/>
          </a:xfrm>
          <a:prstGeom prst="rect">
            <a:avLst/>
          </a:prstGeom>
          <a:noFill/>
        </p:spPr>
        <p:txBody>
          <a:bodyPr wrap="none" lIns="0" tIns="0" rIns="0" bIns="0" rtlCol="0">
            <a:noAutofit/>
          </a:bodyPr>
          <a:lstStyle/>
          <a:p>
            <a:pPr algn="r">
              <a:lnSpc>
                <a:spcPts val="1000"/>
              </a:lnSpc>
            </a:pPr>
            <a:endParaRPr lang="en-GB" sz="1100" noProof="1" smtClean="0"/>
          </a:p>
        </p:txBody>
      </p:sp>
      <p:sp>
        <p:nvSpPr>
          <p:cNvPr id="13" name="HeaderTOCPlaceholder"/>
          <p:cNvSpPr txBox="1"/>
          <p:nvPr userDrawn="1">
            <p:custDataLst>
              <p:tags r:id="rId3"/>
            </p:custDataLst>
          </p:nvPr>
        </p:nvSpPr>
        <p:spPr>
          <a:xfrm>
            <a:off x="3581399" y="704088"/>
            <a:ext cx="5943600" cy="138499"/>
          </a:xfrm>
          <a:prstGeom prst="rect">
            <a:avLst/>
          </a:prstGeom>
          <a:noFill/>
          <a:ln>
            <a:noFill/>
          </a:ln>
        </p:spPr>
        <p:txBody>
          <a:bodyPr wrap="square" lIns="0" tIns="0" rIns="0" bIns="0" rtlCol="0">
            <a:spAutoFit/>
          </a:bodyPr>
          <a:lstStyle/>
          <a:p>
            <a:endParaRPr lang="en-GB" sz="900" noProof="1" smtClean="0">
              <a:solidFill>
                <a:schemeClr val="tx1"/>
              </a:solidFill>
              <a:latin typeface="+mn-lt"/>
              <a:cs typeface="Arial" pitchFamily="34" charset="0"/>
            </a:endParaRPr>
          </a:p>
        </p:txBody>
      </p:sp>
      <p:cxnSp>
        <p:nvCxnSpPr>
          <p:cNvPr id="22" name="Straight Connector 21"/>
          <p:cNvCxnSpPr/>
          <p:nvPr userDrawn="1"/>
        </p:nvCxnSpPr>
        <p:spPr>
          <a:xfrm>
            <a:off x="530351" y="7086600"/>
            <a:ext cx="899769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Section Footer"/>
          <p:cNvSpPr txBox="1"/>
          <p:nvPr userDrawn="1">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endParaRPr lang="en-GB" sz="1100" noProof="1" smtClean="0">
              <a:solidFill>
                <a:schemeClr val="tx1"/>
              </a:solidFill>
              <a:latin typeface="+mj-lt"/>
            </a:endParaRPr>
          </a:p>
        </p:txBody>
      </p:sp>
      <p:sp>
        <p:nvSpPr>
          <p:cNvPr id="18" name="Section Header"/>
          <p:cNvSpPr txBox="1"/>
          <p:nvPr userDrawn="1">
            <p:custDataLst>
              <p:tags r:id="rId5"/>
            </p:custDataLst>
          </p:nvPr>
        </p:nvSpPr>
        <p:spPr>
          <a:xfrm>
            <a:off x="530351" y="704088"/>
            <a:ext cx="3034379" cy="137160"/>
          </a:xfrm>
          <a:prstGeom prst="rect">
            <a:avLst/>
          </a:prstGeom>
          <a:noFill/>
        </p:spPr>
        <p:txBody>
          <a:bodyPr wrap="square" lIns="0" tIns="0" rIns="0" bIns="0" rtlCol="0" anchor="b" anchorCtr="0">
            <a:noAutofit/>
          </a:bodyPr>
          <a:lstStyle/>
          <a:p>
            <a:endParaRPr lang="en-GB" sz="900" noProof="1" smtClean="0">
              <a:solidFill>
                <a:schemeClr val="tx1"/>
              </a:solidFill>
            </a:endParaRPr>
          </a:p>
        </p:txBody>
      </p:sp>
      <p:sp>
        <p:nvSpPr>
          <p:cNvPr id="10" name="Draft stamp" hidden="1"/>
          <p:cNvSpPr txBox="1"/>
          <p:nvPr userDrawn="1">
            <p:custDataLst>
              <p:tags r:id="rId6"/>
            </p:custDataLst>
          </p:nvPr>
        </p:nvSpPr>
        <p:spPr>
          <a:xfrm>
            <a:off x="3584448" y="7301371"/>
            <a:ext cx="2130552" cy="169277"/>
          </a:xfrm>
          <a:prstGeom prst="rect">
            <a:avLst/>
          </a:prstGeom>
          <a:noFill/>
          <a:ln>
            <a:noFill/>
          </a:ln>
        </p:spPr>
        <p:txBody>
          <a:bodyPr wrap="square" lIns="0" tIns="0" rIns="0" bIns="0" rtlCol="0">
            <a:spAutoFit/>
          </a:bodyPr>
          <a:lstStyle/>
          <a:p>
            <a:pPr algn="l"/>
            <a:r>
              <a:rPr lang="zh-CN" altLang="en-GB" sz="1100" noProof="1" smtClean="0">
                <a:latin typeface="宋体" panose="02010600030101010101" pitchFamily="2" charset="-122"/>
                <a:ea typeface="宋体" panose="02010600030101010101" pitchFamily="2" charset="-122"/>
              </a:rPr>
              <a:t>草稿</a:t>
            </a:r>
            <a:endParaRPr lang="en-GB" sz="1100" noProof="1">
              <a:latin typeface="宋体" panose="02010600030101010101" pitchFamily="2" charset="-122"/>
              <a:ea typeface="宋体" panose="02010600030101010101" pitchFamily="2" charset="-122"/>
            </a:endParaRPr>
          </a:p>
        </p:txBody>
      </p:sp>
      <p:sp>
        <p:nvSpPr>
          <p:cNvPr id="6" name="Date/Filepath" hidden="1"/>
          <p:cNvSpPr txBox="1"/>
          <p:nvPr userDrawn="1">
            <p:custDataLst>
              <p:tags r:id="rId7"/>
            </p:custDataLst>
          </p:nvPr>
        </p:nvSpPr>
        <p:spPr>
          <a:xfrm>
            <a:off x="3299464" y="303092"/>
            <a:ext cx="6217920" cy="138499"/>
          </a:xfrm>
          <a:prstGeom prst="rect">
            <a:avLst/>
          </a:prstGeom>
          <a:noFill/>
        </p:spPr>
        <p:txBody>
          <a:bodyPr wrap="square" lIns="0" tIns="0" rIns="0" bIns="0" rtlCol="0" anchor="b" anchorCtr="0">
            <a:spAutoFit/>
          </a:bodyPr>
          <a:lstStyle/>
          <a:p>
            <a:pPr algn="r"/>
            <a:r>
              <a:rPr lang="en-GB" sz="900" noProof="1" smtClean="0"/>
              <a:t>8/15/2018 C:\Users\Wendy Guo\Documents\Presentationmaterials\PRC GAAR -Wendy Guo (PwC)_092018.pptx</a:t>
            </a:r>
            <a:endParaRPr lang="en-GB" sz="900" noProof="1"/>
          </a:p>
        </p:txBody>
      </p:sp>
      <p:sp>
        <p:nvSpPr>
          <p:cNvPr id="17" name="Slide Tags" hidden="1"/>
          <p:cNvSpPr txBox="1"/>
          <p:nvPr userDrawn="1">
            <p:custDataLst>
              <p:tags r:id="rId8"/>
            </p:custDataLst>
          </p:nvPr>
        </p:nvSpPr>
        <p:spPr>
          <a:xfrm>
            <a:off x="0" y="228600"/>
            <a:ext cx="1600200" cy="261610"/>
          </a:xfrm>
          <a:prstGeom prst="rect">
            <a:avLst/>
          </a:prstGeom>
          <a:noFill/>
        </p:spPr>
        <p:txBody>
          <a:bodyPr wrap="square" rtlCol="0">
            <a:spAutoFit/>
          </a:bodyPr>
          <a:lstStyle/>
          <a:p>
            <a:r>
              <a:rPr lang="en-GB" noProof="1" smtClean="0"/>
              <a:t>Slide Tags</a:t>
            </a:r>
            <a:endParaRPr lang="en-GB" noProof="1"/>
          </a:p>
        </p:txBody>
      </p:sp>
      <p:cxnSp>
        <p:nvCxnSpPr>
          <p:cNvPr id="21"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tro Only">
    <p:spTree>
      <p:nvGrpSpPr>
        <p:cNvPr id="1" name=""/>
        <p:cNvGrpSpPr/>
        <p:nvPr/>
      </p:nvGrpSpPr>
      <p:grpSpPr>
        <a:xfrm>
          <a:off x="0" y="0"/>
          <a:ext cx="0" cy="0"/>
          <a:chOff x="0" y="0"/>
          <a:chExt cx="0" cy="0"/>
        </a:xfrm>
      </p:grpSpPr>
      <p:sp>
        <p:nvSpPr>
          <p:cNvPr id="7" name="PwC Text"/>
          <p:cNvSpPr txBox="1"/>
          <p:nvPr userDrawn="1"/>
        </p:nvSpPr>
        <p:spPr>
          <a:xfrm>
            <a:off x="530352" y="7344000"/>
            <a:ext cx="274320" cy="107157"/>
          </a:xfrm>
          <a:prstGeom prst="rect">
            <a:avLst/>
          </a:prstGeom>
          <a:noFill/>
        </p:spPr>
        <p:txBody>
          <a:bodyPr vert="horz" wrap="none" lIns="0" tIns="0" rIns="0" bIns="0" rtlCol="0" anchor="t" anchorCtr="0">
            <a:noAutofit/>
          </a:bodyPr>
          <a:lstStyle/>
          <a:p>
            <a:pPr>
              <a:lnSpc>
                <a:spcPts val="1000"/>
              </a:lnSpc>
            </a:pPr>
            <a:r>
              <a:rPr lang="en-GB" sz="1100" noProof="1" smtClean="0">
                <a:latin typeface="+mj-lt"/>
                <a:ea typeface="宋体" panose="02010600030101010101" pitchFamily="2" charset="-122"/>
                <a:cs typeface="Arial" pitchFamily="34" charset="0"/>
              </a:rPr>
              <a:t>PwC</a:t>
            </a:r>
            <a:endParaRPr lang="en-GB" sz="1100" noProof="1">
              <a:latin typeface="+mj-lt"/>
              <a:ea typeface="宋体" panose="02010600030101010101" pitchFamily="2" charset="-122"/>
              <a:cs typeface="Arial" pitchFamily="34" charset="0"/>
            </a:endParaRPr>
          </a:p>
        </p:txBody>
      </p:sp>
      <p:sp>
        <p:nvSpPr>
          <p:cNvPr id="8" name="Report Date"/>
          <p:cNvSpPr txBox="1"/>
          <p:nvPr userDrawn="1">
            <p:custDataLst>
              <p:tags r:id="rId1"/>
            </p:custDataLst>
          </p:nvPr>
        </p:nvSpPr>
        <p:spPr>
          <a:xfrm>
            <a:off x="8500778" y="7128974"/>
            <a:ext cx="1017907" cy="169277"/>
          </a:xfrm>
          <a:prstGeom prst="rect">
            <a:avLst/>
          </a:prstGeom>
          <a:noFill/>
        </p:spPr>
        <p:txBody>
          <a:bodyPr wrap="none" lIns="0" tIns="0" rIns="0" bIns="0" rtlCol="0">
            <a:spAutoFit/>
          </a:bodyPr>
          <a:lstStyle/>
          <a:p>
            <a:pPr indent="-274320" algn="r">
              <a:spcAft>
                <a:spcPts val="900"/>
              </a:spcAft>
            </a:pPr>
            <a:r>
              <a:rPr lang="en-GB" sz="1100" noProof="1" smtClean="0">
                <a:latin typeface="+mj-lt"/>
                <a:ea typeface="宋体" panose="02010600030101010101" pitchFamily="2" charset="-122"/>
              </a:rPr>
              <a:t>September 2018</a:t>
            </a:r>
            <a:endParaRPr lang="en-GB" sz="1100" noProof="1" smtClean="0">
              <a:latin typeface="+mj-lt"/>
              <a:ea typeface="宋体" panose="02010600030101010101" pitchFamily="2" charset="-122"/>
            </a:endParaRPr>
          </a:p>
        </p:txBody>
      </p:sp>
      <p:sp>
        <p:nvSpPr>
          <p:cNvPr id="12" name="Page Number"/>
          <p:cNvSpPr txBox="1"/>
          <p:nvPr userDrawn="1">
            <p:custDataLst>
              <p:tags r:id="rId2"/>
            </p:custDataLst>
          </p:nvPr>
        </p:nvSpPr>
        <p:spPr>
          <a:xfrm>
            <a:off x="9217152" y="7315200"/>
            <a:ext cx="320040" cy="155448"/>
          </a:xfrm>
          <a:prstGeom prst="rect">
            <a:avLst/>
          </a:prstGeom>
          <a:noFill/>
        </p:spPr>
        <p:txBody>
          <a:bodyPr wrap="none" lIns="0" tIns="0" rIns="0" bIns="0" rtlCol="0">
            <a:noAutofit/>
          </a:bodyPr>
          <a:lstStyle/>
          <a:p>
            <a:pPr algn="r">
              <a:lnSpc>
                <a:spcPts val="1000"/>
              </a:lnSpc>
            </a:pPr>
            <a:endParaRPr lang="en-GB" sz="1100" noProof="1" smtClean="0"/>
          </a:p>
        </p:txBody>
      </p:sp>
      <p:sp>
        <p:nvSpPr>
          <p:cNvPr id="13" name="HeaderTOCPlaceholder"/>
          <p:cNvSpPr txBox="1"/>
          <p:nvPr userDrawn="1">
            <p:custDataLst>
              <p:tags r:id="rId3"/>
            </p:custDataLst>
          </p:nvPr>
        </p:nvSpPr>
        <p:spPr>
          <a:xfrm>
            <a:off x="3581399" y="704088"/>
            <a:ext cx="5943600" cy="138499"/>
          </a:xfrm>
          <a:prstGeom prst="rect">
            <a:avLst/>
          </a:prstGeom>
          <a:noFill/>
          <a:ln>
            <a:noFill/>
          </a:ln>
        </p:spPr>
        <p:txBody>
          <a:bodyPr wrap="square" lIns="0" tIns="0" rIns="0" bIns="0" rtlCol="0">
            <a:spAutoFit/>
          </a:bodyPr>
          <a:lstStyle/>
          <a:p>
            <a:endParaRPr lang="en-GB" sz="900" noProof="1" smtClean="0">
              <a:solidFill>
                <a:schemeClr val="tx1"/>
              </a:solidFill>
              <a:latin typeface="+mn-lt"/>
              <a:cs typeface="Arial" pitchFamily="34" charset="0"/>
            </a:endParaRPr>
          </a:p>
        </p:txBody>
      </p:sp>
      <p:cxnSp>
        <p:nvCxnSpPr>
          <p:cNvPr id="22" name="Straight Connector 21"/>
          <p:cNvCxnSpPr/>
          <p:nvPr userDrawn="1"/>
        </p:nvCxnSpPr>
        <p:spPr>
          <a:xfrm>
            <a:off x="530351" y="7086600"/>
            <a:ext cx="899769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Section Footer"/>
          <p:cNvSpPr txBox="1"/>
          <p:nvPr userDrawn="1">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endParaRPr lang="en-GB" sz="1100" noProof="1" smtClean="0">
              <a:solidFill>
                <a:schemeClr val="tx1"/>
              </a:solidFill>
              <a:latin typeface="+mj-lt"/>
            </a:endParaRPr>
          </a:p>
        </p:txBody>
      </p:sp>
      <p:sp>
        <p:nvSpPr>
          <p:cNvPr id="10" name="Draft stamp" hidden="1"/>
          <p:cNvSpPr txBox="1"/>
          <p:nvPr userDrawn="1">
            <p:custDataLst>
              <p:tags r:id="rId5"/>
            </p:custDataLst>
          </p:nvPr>
        </p:nvSpPr>
        <p:spPr>
          <a:xfrm>
            <a:off x="3584448" y="7301371"/>
            <a:ext cx="2130552" cy="169277"/>
          </a:xfrm>
          <a:prstGeom prst="rect">
            <a:avLst/>
          </a:prstGeom>
          <a:noFill/>
          <a:ln>
            <a:noFill/>
          </a:ln>
        </p:spPr>
        <p:txBody>
          <a:bodyPr wrap="square" lIns="0" tIns="0" rIns="0" bIns="0" rtlCol="0">
            <a:spAutoFit/>
          </a:bodyPr>
          <a:lstStyle/>
          <a:p>
            <a:pPr algn="l"/>
            <a:r>
              <a:rPr lang="zh-CN" altLang="en-GB" sz="1100" noProof="1" smtClean="0">
                <a:latin typeface="宋体" panose="02010600030101010101" pitchFamily="2" charset="-122"/>
                <a:ea typeface="宋体" panose="02010600030101010101" pitchFamily="2" charset="-122"/>
              </a:rPr>
              <a:t>草稿</a:t>
            </a:r>
            <a:endParaRPr lang="en-GB" sz="1100" noProof="1">
              <a:latin typeface="宋体" panose="02010600030101010101" pitchFamily="2" charset="-122"/>
              <a:ea typeface="宋体" panose="02010600030101010101" pitchFamily="2" charset="-122"/>
            </a:endParaRPr>
          </a:p>
        </p:txBody>
      </p:sp>
      <p:sp>
        <p:nvSpPr>
          <p:cNvPr id="6" name="Date/Filepath" hidden="1"/>
          <p:cNvSpPr txBox="1"/>
          <p:nvPr userDrawn="1">
            <p:custDataLst>
              <p:tags r:id="rId6"/>
            </p:custDataLst>
          </p:nvPr>
        </p:nvSpPr>
        <p:spPr>
          <a:xfrm>
            <a:off x="3299464" y="303092"/>
            <a:ext cx="6217920" cy="138499"/>
          </a:xfrm>
          <a:prstGeom prst="rect">
            <a:avLst/>
          </a:prstGeom>
          <a:noFill/>
        </p:spPr>
        <p:txBody>
          <a:bodyPr wrap="square" lIns="0" tIns="0" rIns="0" bIns="0" rtlCol="0" anchor="b" anchorCtr="0">
            <a:spAutoFit/>
          </a:bodyPr>
          <a:lstStyle/>
          <a:p>
            <a:pPr algn="r"/>
            <a:r>
              <a:rPr lang="en-GB" sz="900" noProof="1" smtClean="0"/>
              <a:t>8/15/2018 C:\Users\Wendy Guo\Documents\Presentationmaterials\PRC GAAR -Wendy Guo (PwC)_092018.pptx</a:t>
            </a:r>
            <a:endParaRPr lang="en-GB" sz="900" noProof="1"/>
          </a:p>
        </p:txBody>
      </p:sp>
      <p:sp>
        <p:nvSpPr>
          <p:cNvPr id="17" name="Slide Tags" hidden="1"/>
          <p:cNvSpPr txBox="1"/>
          <p:nvPr userDrawn="1">
            <p:custDataLst>
              <p:tags r:id="rId7"/>
            </p:custDataLst>
          </p:nvPr>
        </p:nvSpPr>
        <p:spPr>
          <a:xfrm>
            <a:off x="0" y="228600"/>
            <a:ext cx="1600200" cy="261610"/>
          </a:xfrm>
          <a:prstGeom prst="rect">
            <a:avLst/>
          </a:prstGeom>
          <a:noFill/>
        </p:spPr>
        <p:txBody>
          <a:bodyPr wrap="square" rtlCol="0">
            <a:spAutoFit/>
          </a:bodyPr>
          <a:lstStyle/>
          <a:p>
            <a:r>
              <a:rPr lang="en-GB" noProof="1" smtClean="0"/>
              <a:t>Slide Tags</a:t>
            </a:r>
            <a:endParaRPr lang="en-GB" noProof="1"/>
          </a:p>
        </p:txBody>
      </p:sp>
      <p:cxnSp>
        <p:nvCxnSpPr>
          <p:cNvPr id="15"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13" name="Section Divider Title"/>
          <p:cNvSpPr>
            <a:spLocks noGrp="1"/>
          </p:cNvSpPr>
          <p:nvPr>
            <p:ph type="title" hasCustomPrompt="1"/>
            <p:custDataLst>
              <p:tags r:id="rId1"/>
            </p:custDataLst>
          </p:nvPr>
        </p:nvSpPr>
        <p:spPr>
          <a:xfrm>
            <a:off x="529200" y="1004400"/>
            <a:ext cx="2891125" cy="1477328"/>
          </a:xfrm>
        </p:spPr>
        <p:txBody>
          <a:bodyPr wrap="square" tIns="0" bIns="0" anchor="t">
            <a:spAutoFit/>
          </a:bodyPr>
          <a:lstStyle>
            <a:lvl1pPr algn="l">
              <a:defRPr sz="3200" b="1" i="1" cap="none">
                <a:solidFill>
                  <a:schemeClr val="tx2"/>
                </a:solidFill>
              </a:defRPr>
            </a:lvl1pPr>
          </a:lstStyle>
          <a:p>
            <a:r>
              <a:rPr lang="en-GB" noProof="0" dirty="0" smtClean="0"/>
              <a:t>Click to add Section Divider Title</a:t>
            </a:r>
            <a:endParaRPr lang="en-GB" noProof="0" dirty="0"/>
          </a:p>
        </p:txBody>
      </p:sp>
      <p:sp>
        <p:nvSpPr>
          <p:cNvPr id="25" name="DividerTOCPlaceholder"/>
          <p:cNvSpPr txBox="1"/>
          <p:nvPr userDrawn="1">
            <p:custDataLst>
              <p:tags r:id="rId2"/>
            </p:custDataLst>
          </p:nvPr>
        </p:nvSpPr>
        <p:spPr>
          <a:xfrm>
            <a:off x="3589200" y="1029600"/>
            <a:ext cx="5943600" cy="5904600"/>
          </a:xfrm>
          <a:prstGeom prst="rect">
            <a:avLst/>
          </a:prstGeom>
          <a:noFill/>
          <a:ln>
            <a:noFill/>
          </a:ln>
        </p:spPr>
        <p:txBody>
          <a:bodyPr wrap="square" lIns="0" tIns="0" rIns="0" bIns="0" rtlCol="0">
            <a:noAutofit/>
          </a:bodyPr>
          <a:lstStyle/>
          <a:p>
            <a:endParaRPr lang="en-GB" noProof="1" smtClean="0">
              <a:solidFill>
                <a:schemeClr val="tx1"/>
              </a:solidFill>
              <a:latin typeface="Georgia" pitchFamily="18" charset="0"/>
              <a:cs typeface="Arial" pitchFamily="34" charset="0"/>
            </a:endParaRPr>
          </a:p>
        </p:txBody>
      </p:sp>
      <p:sp>
        <p:nvSpPr>
          <p:cNvPr id="18" name="PwC Text"/>
          <p:cNvSpPr txBox="1"/>
          <p:nvPr userDrawn="1"/>
        </p:nvSpPr>
        <p:spPr>
          <a:xfrm>
            <a:off x="530352" y="7344000"/>
            <a:ext cx="274320" cy="107157"/>
          </a:xfrm>
          <a:prstGeom prst="rect">
            <a:avLst/>
          </a:prstGeom>
          <a:noFill/>
        </p:spPr>
        <p:txBody>
          <a:bodyPr vert="horz" wrap="none" lIns="0" tIns="0" rIns="0" bIns="0" rtlCol="0" anchor="t" anchorCtr="0">
            <a:noAutofit/>
          </a:bodyPr>
          <a:lstStyle/>
          <a:p>
            <a:pPr>
              <a:lnSpc>
                <a:spcPts val="1000"/>
              </a:lnSpc>
            </a:pPr>
            <a:r>
              <a:rPr lang="en-GB" sz="1100" noProof="1" smtClean="0">
                <a:latin typeface="+mj-lt"/>
                <a:ea typeface="宋体" panose="02010600030101010101" pitchFamily="2" charset="-122"/>
                <a:cs typeface="Arial" pitchFamily="34" charset="0"/>
              </a:rPr>
              <a:t>PwC</a:t>
            </a:r>
            <a:endParaRPr lang="en-GB" sz="1100" noProof="1">
              <a:latin typeface="+mj-lt"/>
              <a:ea typeface="宋体" panose="02010600030101010101" pitchFamily="2" charset="-122"/>
              <a:cs typeface="Arial" pitchFamily="34" charset="0"/>
            </a:endParaRPr>
          </a:p>
        </p:txBody>
      </p:sp>
      <p:sp>
        <p:nvSpPr>
          <p:cNvPr id="19" name="Report Date"/>
          <p:cNvSpPr txBox="1"/>
          <p:nvPr userDrawn="1">
            <p:custDataLst>
              <p:tags r:id="rId3"/>
            </p:custDataLst>
          </p:nvPr>
        </p:nvSpPr>
        <p:spPr>
          <a:xfrm>
            <a:off x="8500778" y="7128974"/>
            <a:ext cx="1017907" cy="169277"/>
          </a:xfrm>
          <a:prstGeom prst="rect">
            <a:avLst/>
          </a:prstGeom>
          <a:noFill/>
        </p:spPr>
        <p:txBody>
          <a:bodyPr wrap="none" lIns="0" tIns="0" rIns="0" bIns="0" rtlCol="0">
            <a:spAutoFit/>
          </a:bodyPr>
          <a:lstStyle/>
          <a:p>
            <a:pPr indent="-274320" algn="r">
              <a:spcAft>
                <a:spcPts val="900"/>
              </a:spcAft>
            </a:pPr>
            <a:r>
              <a:rPr lang="en-GB" sz="1100" noProof="1" smtClean="0">
                <a:latin typeface="+mj-lt"/>
                <a:ea typeface="宋体" panose="02010600030101010101" pitchFamily="2" charset="-122"/>
              </a:rPr>
              <a:t>September 2018</a:t>
            </a:r>
            <a:endParaRPr lang="en-GB" sz="1100" noProof="1" smtClean="0">
              <a:latin typeface="+mj-lt"/>
              <a:ea typeface="宋体" panose="02010600030101010101" pitchFamily="2" charset="-122"/>
            </a:endParaRPr>
          </a:p>
        </p:txBody>
      </p:sp>
      <p:sp>
        <p:nvSpPr>
          <p:cNvPr id="23" name="Page Number"/>
          <p:cNvSpPr txBox="1"/>
          <p:nvPr userDrawn="1">
            <p:custDataLst>
              <p:tags r:id="rId4"/>
            </p:custDataLst>
          </p:nvPr>
        </p:nvSpPr>
        <p:spPr>
          <a:xfrm>
            <a:off x="9217152" y="7315200"/>
            <a:ext cx="320040" cy="155448"/>
          </a:xfrm>
          <a:prstGeom prst="rect">
            <a:avLst/>
          </a:prstGeom>
          <a:noFill/>
        </p:spPr>
        <p:txBody>
          <a:bodyPr wrap="none" lIns="0" tIns="0" rIns="0" bIns="0" rtlCol="0">
            <a:noAutofit/>
          </a:bodyPr>
          <a:lstStyle/>
          <a:p>
            <a:pPr algn="r">
              <a:lnSpc>
                <a:spcPts val="1000"/>
              </a:lnSpc>
            </a:pPr>
            <a:endParaRPr lang="en-GB" sz="1100" noProof="1" smtClean="0"/>
          </a:p>
        </p:txBody>
      </p:sp>
      <p:sp>
        <p:nvSpPr>
          <p:cNvPr id="24" name="HeaderTOCPlaceholder"/>
          <p:cNvSpPr txBox="1"/>
          <p:nvPr userDrawn="1">
            <p:custDataLst>
              <p:tags r:id="rId5"/>
            </p:custDataLst>
          </p:nvPr>
        </p:nvSpPr>
        <p:spPr>
          <a:xfrm>
            <a:off x="3581399" y="704088"/>
            <a:ext cx="5943600" cy="138499"/>
          </a:xfrm>
          <a:prstGeom prst="rect">
            <a:avLst/>
          </a:prstGeom>
          <a:noFill/>
          <a:ln>
            <a:noFill/>
          </a:ln>
        </p:spPr>
        <p:txBody>
          <a:bodyPr wrap="square" lIns="0" tIns="0" rIns="0" bIns="0" rtlCol="0">
            <a:spAutoFit/>
          </a:bodyPr>
          <a:lstStyle/>
          <a:p>
            <a:endParaRPr lang="en-GB" sz="900" noProof="1" smtClean="0">
              <a:solidFill>
                <a:schemeClr val="tx1"/>
              </a:solidFill>
              <a:latin typeface="+mn-lt"/>
              <a:cs typeface="Arial" pitchFamily="34" charset="0"/>
            </a:endParaRPr>
          </a:p>
        </p:txBody>
      </p:sp>
      <p:cxnSp>
        <p:nvCxnSpPr>
          <p:cNvPr id="28" name="Straight Connector 27"/>
          <p:cNvCxnSpPr/>
          <p:nvPr userDrawn="1"/>
        </p:nvCxnSpPr>
        <p:spPr>
          <a:xfrm>
            <a:off x="530351" y="7086600"/>
            <a:ext cx="899769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Section Footer"/>
          <p:cNvSpPr txBox="1"/>
          <p:nvPr userDrawn="1">
            <p:custDataLst>
              <p:tags r:id="rId6"/>
            </p:custDataLst>
          </p:nvPr>
        </p:nvSpPr>
        <p:spPr>
          <a:xfrm>
            <a:off x="530352" y="7128974"/>
            <a:ext cx="2898648" cy="169277"/>
          </a:xfrm>
          <a:prstGeom prst="rect">
            <a:avLst/>
          </a:prstGeom>
          <a:noFill/>
          <a:ln>
            <a:noFill/>
          </a:ln>
        </p:spPr>
        <p:txBody>
          <a:bodyPr wrap="square" lIns="0" tIns="0" rIns="0" bIns="0" rtlCol="0" anchor="b" anchorCtr="0">
            <a:spAutoFit/>
          </a:bodyPr>
          <a:lstStyle/>
          <a:p>
            <a:endParaRPr lang="en-GB" sz="1100" noProof="1" smtClean="0">
              <a:solidFill>
                <a:schemeClr val="tx1"/>
              </a:solidFill>
              <a:latin typeface="+mj-lt"/>
            </a:endParaRPr>
          </a:p>
        </p:txBody>
      </p:sp>
      <p:sp>
        <p:nvSpPr>
          <p:cNvPr id="29" name="Section Header"/>
          <p:cNvSpPr txBox="1"/>
          <p:nvPr userDrawn="1">
            <p:custDataLst>
              <p:tags r:id="rId7"/>
            </p:custDataLst>
          </p:nvPr>
        </p:nvSpPr>
        <p:spPr>
          <a:xfrm>
            <a:off x="530351" y="704088"/>
            <a:ext cx="3034379" cy="137160"/>
          </a:xfrm>
          <a:prstGeom prst="rect">
            <a:avLst/>
          </a:prstGeom>
          <a:noFill/>
        </p:spPr>
        <p:txBody>
          <a:bodyPr wrap="square" lIns="0" tIns="0" rIns="0" bIns="0" rtlCol="0" anchor="b" anchorCtr="0">
            <a:noAutofit/>
          </a:bodyPr>
          <a:lstStyle/>
          <a:p>
            <a:endParaRPr lang="en-GB" sz="900" noProof="1" smtClean="0">
              <a:solidFill>
                <a:schemeClr val="tx1"/>
              </a:solidFill>
            </a:endParaRPr>
          </a:p>
        </p:txBody>
      </p:sp>
      <p:sp>
        <p:nvSpPr>
          <p:cNvPr id="21" name="Draft stamp" hidden="1"/>
          <p:cNvSpPr txBox="1"/>
          <p:nvPr userDrawn="1">
            <p:custDataLst>
              <p:tags r:id="rId8"/>
            </p:custDataLst>
          </p:nvPr>
        </p:nvSpPr>
        <p:spPr>
          <a:xfrm>
            <a:off x="3584448" y="7301371"/>
            <a:ext cx="2130552" cy="169277"/>
          </a:xfrm>
          <a:prstGeom prst="rect">
            <a:avLst/>
          </a:prstGeom>
          <a:noFill/>
          <a:ln>
            <a:noFill/>
          </a:ln>
        </p:spPr>
        <p:txBody>
          <a:bodyPr wrap="square" lIns="0" tIns="0" rIns="0" bIns="0" rtlCol="0">
            <a:spAutoFit/>
          </a:bodyPr>
          <a:lstStyle/>
          <a:p>
            <a:pPr algn="l"/>
            <a:r>
              <a:rPr lang="zh-CN" altLang="en-GB" sz="1100" noProof="1" smtClean="0">
                <a:latin typeface="宋体" panose="02010600030101010101" pitchFamily="2" charset="-122"/>
                <a:ea typeface="宋体" panose="02010600030101010101" pitchFamily="2" charset="-122"/>
              </a:rPr>
              <a:t>草稿</a:t>
            </a:r>
            <a:endParaRPr lang="en-GB" sz="1100" noProof="1">
              <a:latin typeface="宋体" panose="02010600030101010101" pitchFamily="2" charset="-122"/>
              <a:ea typeface="宋体" panose="02010600030101010101" pitchFamily="2" charset="-122"/>
            </a:endParaRPr>
          </a:p>
        </p:txBody>
      </p:sp>
      <p:sp>
        <p:nvSpPr>
          <p:cNvPr id="14" name="Date/Filepath" hidden="1"/>
          <p:cNvSpPr txBox="1"/>
          <p:nvPr userDrawn="1">
            <p:custDataLst>
              <p:tags r:id="rId9"/>
            </p:custDataLst>
          </p:nvPr>
        </p:nvSpPr>
        <p:spPr>
          <a:xfrm>
            <a:off x="3299464" y="303092"/>
            <a:ext cx="6217920" cy="138499"/>
          </a:xfrm>
          <a:prstGeom prst="rect">
            <a:avLst/>
          </a:prstGeom>
          <a:noFill/>
        </p:spPr>
        <p:txBody>
          <a:bodyPr wrap="square" lIns="0" tIns="0" rIns="0" bIns="0" rtlCol="0" anchor="b" anchorCtr="0">
            <a:spAutoFit/>
          </a:bodyPr>
          <a:lstStyle/>
          <a:p>
            <a:pPr algn="r"/>
            <a:r>
              <a:rPr lang="en-GB" sz="900" noProof="1" smtClean="0"/>
              <a:t>8/15/2018 C:\Users\Wendy Guo\Documents\Presentationmaterials\PRC GAAR -Wendy Guo (PwC)_092018.pptx</a:t>
            </a:r>
            <a:endParaRPr lang="en-GB" sz="900" noProof="1"/>
          </a:p>
        </p:txBody>
      </p:sp>
      <p:sp>
        <p:nvSpPr>
          <p:cNvPr id="11" name="Slide Tags" hidden="1"/>
          <p:cNvSpPr txBox="1"/>
          <p:nvPr userDrawn="1">
            <p:custDataLst>
              <p:tags r:id="rId10"/>
            </p:custDataLst>
          </p:nvPr>
        </p:nvSpPr>
        <p:spPr>
          <a:xfrm>
            <a:off x="0" y="228600"/>
            <a:ext cx="1600200" cy="261610"/>
          </a:xfrm>
          <a:prstGeom prst="rect">
            <a:avLst/>
          </a:prstGeom>
          <a:noFill/>
        </p:spPr>
        <p:txBody>
          <a:bodyPr wrap="square" rtlCol="0">
            <a:spAutoFit/>
          </a:bodyPr>
          <a:lstStyle/>
          <a:p>
            <a:r>
              <a:rPr lang="en-GB" noProof="1" smtClean="0"/>
              <a:t>Slide Tags</a:t>
            </a:r>
            <a:endParaRPr lang="en-GB" noProof="1"/>
          </a:p>
        </p:txBody>
      </p:sp>
      <p:cxnSp>
        <p:nvCxnSpPr>
          <p:cNvPr id="20"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ppendix Divider">
    <p:spTree>
      <p:nvGrpSpPr>
        <p:cNvPr id="1" name=""/>
        <p:cNvGrpSpPr/>
        <p:nvPr/>
      </p:nvGrpSpPr>
      <p:grpSpPr>
        <a:xfrm>
          <a:off x="0" y="0"/>
          <a:ext cx="0" cy="0"/>
          <a:chOff x="0" y="0"/>
          <a:chExt cx="0" cy="0"/>
        </a:xfrm>
      </p:grpSpPr>
      <p:sp>
        <p:nvSpPr>
          <p:cNvPr id="2" name="Appendix Divider Title"/>
          <p:cNvSpPr>
            <a:spLocks noGrp="1"/>
          </p:cNvSpPr>
          <p:nvPr>
            <p:ph type="title" hasCustomPrompt="1"/>
            <p:custDataLst>
              <p:tags r:id="rId1"/>
            </p:custDataLst>
          </p:nvPr>
        </p:nvSpPr>
        <p:spPr>
          <a:xfrm>
            <a:off x="530351" y="1004400"/>
            <a:ext cx="2898649" cy="1477328"/>
          </a:xfrm>
        </p:spPr>
        <p:txBody>
          <a:bodyPr wrap="square" tIns="0" bIns="0" anchor="t">
            <a:spAutoFit/>
          </a:bodyPr>
          <a:lstStyle>
            <a:lvl1pPr algn="l">
              <a:defRPr sz="3200" b="1" i="1" cap="none" baseline="0">
                <a:latin typeface="+mj-lt"/>
              </a:defRPr>
            </a:lvl1pPr>
          </a:lstStyle>
          <a:p>
            <a:r>
              <a:rPr lang="en-GB" noProof="0" dirty="0" smtClean="0"/>
              <a:t>Click to add Appendix Divider Title</a:t>
            </a:r>
            <a:endParaRPr lang="en-GB" noProof="0" dirty="0"/>
          </a:p>
        </p:txBody>
      </p:sp>
      <p:sp>
        <p:nvSpPr>
          <p:cNvPr id="18" name="DividerTOCPlaceholder"/>
          <p:cNvSpPr txBox="1"/>
          <p:nvPr userDrawn="1">
            <p:custDataLst>
              <p:tags r:id="rId2"/>
            </p:custDataLst>
          </p:nvPr>
        </p:nvSpPr>
        <p:spPr>
          <a:xfrm>
            <a:off x="3589200" y="1029600"/>
            <a:ext cx="5943600" cy="5904000"/>
          </a:xfrm>
          <a:prstGeom prst="rect">
            <a:avLst/>
          </a:prstGeom>
          <a:noFill/>
          <a:ln>
            <a:noFill/>
          </a:ln>
        </p:spPr>
        <p:txBody>
          <a:bodyPr wrap="square" lIns="0" tIns="0" rIns="0" bIns="0" rtlCol="0">
            <a:noAutofit/>
          </a:bodyPr>
          <a:lstStyle/>
          <a:p>
            <a:endParaRPr lang="en-GB" noProof="1" smtClean="0">
              <a:solidFill>
                <a:schemeClr val="tx1"/>
              </a:solidFill>
              <a:latin typeface="Georgia" pitchFamily="18" charset="0"/>
              <a:cs typeface="Arial" pitchFamily="34" charset="0"/>
            </a:endParaRPr>
          </a:p>
        </p:txBody>
      </p:sp>
      <p:sp>
        <p:nvSpPr>
          <p:cNvPr id="20" name="PwC Text"/>
          <p:cNvSpPr txBox="1"/>
          <p:nvPr userDrawn="1"/>
        </p:nvSpPr>
        <p:spPr>
          <a:xfrm>
            <a:off x="530352" y="7344000"/>
            <a:ext cx="394392" cy="214608"/>
          </a:xfrm>
          <a:prstGeom prst="rect">
            <a:avLst/>
          </a:prstGeom>
          <a:noFill/>
        </p:spPr>
        <p:txBody>
          <a:bodyPr vert="horz" wrap="none" lIns="0" tIns="0" rIns="0" bIns="0" rtlCol="0" anchor="t" anchorCtr="0">
            <a:noAutofit/>
          </a:bodyPr>
          <a:lstStyle/>
          <a:p>
            <a:pPr>
              <a:lnSpc>
                <a:spcPts val="1000"/>
              </a:lnSpc>
            </a:pPr>
            <a:r>
              <a:rPr lang="en-GB" sz="1100" noProof="1" smtClean="0">
                <a:latin typeface="+mj-lt"/>
                <a:cs typeface="Arial" pitchFamily="34" charset="0"/>
              </a:rPr>
              <a:t>PwC</a:t>
            </a:r>
            <a:endParaRPr lang="en-GB" sz="1100" noProof="1">
              <a:latin typeface="+mj-lt"/>
              <a:cs typeface="Arial" pitchFamily="34" charset="0"/>
            </a:endParaRPr>
          </a:p>
        </p:txBody>
      </p:sp>
      <p:sp>
        <p:nvSpPr>
          <p:cNvPr id="21" name="Report Date"/>
          <p:cNvSpPr txBox="1"/>
          <p:nvPr userDrawn="1">
            <p:custDataLst>
              <p:tags r:id="rId3"/>
            </p:custDataLst>
          </p:nvPr>
        </p:nvSpPr>
        <p:spPr>
          <a:xfrm>
            <a:off x="8531235" y="7128974"/>
            <a:ext cx="987450" cy="169277"/>
          </a:xfrm>
          <a:prstGeom prst="rect">
            <a:avLst/>
          </a:prstGeom>
          <a:noFill/>
        </p:spPr>
        <p:txBody>
          <a:bodyPr wrap="none" lIns="0" tIns="0" rIns="0" bIns="0" rtlCol="0">
            <a:spAutoFit/>
          </a:bodyPr>
          <a:lstStyle/>
          <a:p>
            <a:pPr indent="-274320" algn="r">
              <a:spcAft>
                <a:spcPts val="900"/>
              </a:spcAft>
            </a:pPr>
            <a:r>
              <a:rPr lang="en-GB" sz="1100" noProof="1" smtClean="0">
                <a:latin typeface="宋体" panose="02010600030101010101" pitchFamily="2" charset="-122"/>
                <a:ea typeface="宋体" panose="02010600030101010101" pitchFamily="2" charset="-122"/>
              </a:rPr>
              <a:t>September 2018</a:t>
            </a:r>
            <a:endParaRPr lang="en-GB" sz="1100" noProof="1" smtClean="0">
              <a:latin typeface="宋体" panose="02010600030101010101" pitchFamily="2" charset="-122"/>
              <a:ea typeface="宋体" panose="02010600030101010101" pitchFamily="2" charset="-122"/>
            </a:endParaRPr>
          </a:p>
        </p:txBody>
      </p:sp>
      <p:sp>
        <p:nvSpPr>
          <p:cNvPr id="25" name="Page Number"/>
          <p:cNvSpPr txBox="1"/>
          <p:nvPr userDrawn="1">
            <p:custDataLst>
              <p:tags r:id="rId4"/>
            </p:custDataLst>
          </p:nvPr>
        </p:nvSpPr>
        <p:spPr>
          <a:xfrm>
            <a:off x="9217152" y="7315200"/>
            <a:ext cx="320040" cy="155448"/>
          </a:xfrm>
          <a:prstGeom prst="rect">
            <a:avLst/>
          </a:prstGeom>
          <a:noFill/>
        </p:spPr>
        <p:txBody>
          <a:bodyPr wrap="none" lIns="0" tIns="0" rIns="0" bIns="0" rtlCol="0">
            <a:noAutofit/>
          </a:bodyPr>
          <a:lstStyle/>
          <a:p>
            <a:pPr algn="r">
              <a:lnSpc>
                <a:spcPts val="1000"/>
              </a:lnSpc>
            </a:pPr>
            <a:endParaRPr lang="en-GB" sz="1100" noProof="1" smtClean="0"/>
          </a:p>
        </p:txBody>
      </p:sp>
      <p:sp>
        <p:nvSpPr>
          <p:cNvPr id="26" name="HeaderTOCPlaceholder"/>
          <p:cNvSpPr txBox="1"/>
          <p:nvPr userDrawn="1">
            <p:custDataLst>
              <p:tags r:id="rId5"/>
            </p:custDataLst>
          </p:nvPr>
        </p:nvSpPr>
        <p:spPr>
          <a:xfrm>
            <a:off x="3581399" y="704088"/>
            <a:ext cx="5943600" cy="138499"/>
          </a:xfrm>
          <a:prstGeom prst="rect">
            <a:avLst/>
          </a:prstGeom>
          <a:noFill/>
          <a:ln>
            <a:noFill/>
          </a:ln>
        </p:spPr>
        <p:txBody>
          <a:bodyPr wrap="square" lIns="0" tIns="0" rIns="0" bIns="0" rtlCol="0">
            <a:spAutoFit/>
          </a:bodyPr>
          <a:lstStyle/>
          <a:p>
            <a:endParaRPr lang="en-GB" sz="900" noProof="1" smtClean="0">
              <a:solidFill>
                <a:schemeClr val="tx1"/>
              </a:solidFill>
              <a:latin typeface="+mn-lt"/>
              <a:cs typeface="Arial" pitchFamily="34" charset="0"/>
            </a:endParaRPr>
          </a:p>
        </p:txBody>
      </p:sp>
      <p:cxnSp>
        <p:nvCxnSpPr>
          <p:cNvPr id="29" name="Straight Connector 28"/>
          <p:cNvCxnSpPr/>
          <p:nvPr userDrawn="1"/>
        </p:nvCxnSpPr>
        <p:spPr>
          <a:xfrm>
            <a:off x="530351" y="7086600"/>
            <a:ext cx="899769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30" name="Section Footer"/>
          <p:cNvSpPr txBox="1"/>
          <p:nvPr userDrawn="1">
            <p:custDataLst>
              <p:tags r:id="rId6"/>
            </p:custDataLst>
          </p:nvPr>
        </p:nvSpPr>
        <p:spPr>
          <a:xfrm>
            <a:off x="530352" y="7128974"/>
            <a:ext cx="2898648" cy="169277"/>
          </a:xfrm>
          <a:prstGeom prst="rect">
            <a:avLst/>
          </a:prstGeom>
          <a:noFill/>
          <a:ln>
            <a:noFill/>
          </a:ln>
        </p:spPr>
        <p:txBody>
          <a:bodyPr wrap="square" lIns="0" tIns="0" rIns="0" bIns="0" rtlCol="0" anchor="b" anchorCtr="0">
            <a:spAutoFit/>
          </a:bodyPr>
          <a:lstStyle/>
          <a:p>
            <a:endParaRPr lang="en-GB" sz="1100" noProof="1" smtClean="0">
              <a:solidFill>
                <a:schemeClr val="tx1"/>
              </a:solidFill>
              <a:latin typeface="+mj-lt"/>
            </a:endParaRPr>
          </a:p>
        </p:txBody>
      </p:sp>
      <p:sp>
        <p:nvSpPr>
          <p:cNvPr id="19" name="Section Header"/>
          <p:cNvSpPr txBox="1"/>
          <p:nvPr userDrawn="1">
            <p:custDataLst>
              <p:tags r:id="rId7"/>
            </p:custDataLst>
          </p:nvPr>
        </p:nvSpPr>
        <p:spPr>
          <a:xfrm>
            <a:off x="530351" y="704088"/>
            <a:ext cx="3034379" cy="137160"/>
          </a:xfrm>
          <a:prstGeom prst="rect">
            <a:avLst/>
          </a:prstGeom>
          <a:noFill/>
        </p:spPr>
        <p:txBody>
          <a:bodyPr wrap="square" lIns="0" tIns="0" rIns="0" bIns="0" rtlCol="0" anchor="b" anchorCtr="0">
            <a:noAutofit/>
          </a:bodyPr>
          <a:lstStyle/>
          <a:p>
            <a:endParaRPr lang="en-GB" sz="900" noProof="1" smtClean="0">
              <a:solidFill>
                <a:schemeClr val="tx1"/>
              </a:solidFill>
            </a:endParaRPr>
          </a:p>
        </p:txBody>
      </p:sp>
      <p:sp>
        <p:nvSpPr>
          <p:cNvPr id="23" name="Draft stamp" hidden="1"/>
          <p:cNvSpPr txBox="1"/>
          <p:nvPr userDrawn="1">
            <p:custDataLst>
              <p:tags r:id="rId8"/>
            </p:custDataLst>
          </p:nvPr>
        </p:nvSpPr>
        <p:spPr>
          <a:xfrm>
            <a:off x="3584448" y="7301371"/>
            <a:ext cx="2130552" cy="169277"/>
          </a:xfrm>
          <a:prstGeom prst="rect">
            <a:avLst/>
          </a:prstGeom>
          <a:noFill/>
          <a:ln>
            <a:noFill/>
          </a:ln>
        </p:spPr>
        <p:txBody>
          <a:bodyPr wrap="square" lIns="0" tIns="0" rIns="0" bIns="0" rtlCol="0">
            <a:spAutoFit/>
          </a:bodyPr>
          <a:lstStyle/>
          <a:p>
            <a:pPr algn="l"/>
            <a:r>
              <a:rPr lang="zh-CN" altLang="en-GB" sz="1100" noProof="1" smtClean="0">
                <a:latin typeface="宋体" panose="02010600030101010101" pitchFamily="2" charset="-122"/>
                <a:ea typeface="宋体" panose="02010600030101010101" pitchFamily="2" charset="-122"/>
              </a:rPr>
              <a:t>草稿</a:t>
            </a:r>
            <a:endParaRPr lang="en-GB" sz="1100" noProof="1">
              <a:latin typeface="宋体" panose="02010600030101010101" pitchFamily="2" charset="-122"/>
              <a:ea typeface="宋体" panose="02010600030101010101" pitchFamily="2" charset="-122"/>
            </a:endParaRPr>
          </a:p>
        </p:txBody>
      </p:sp>
      <p:sp>
        <p:nvSpPr>
          <p:cNvPr id="17" name="Date/Filepath" hidden="1"/>
          <p:cNvSpPr txBox="1"/>
          <p:nvPr userDrawn="1">
            <p:custDataLst>
              <p:tags r:id="rId9"/>
            </p:custDataLst>
          </p:nvPr>
        </p:nvSpPr>
        <p:spPr>
          <a:xfrm>
            <a:off x="3299464" y="303092"/>
            <a:ext cx="6217920" cy="138499"/>
          </a:xfrm>
          <a:prstGeom prst="rect">
            <a:avLst/>
          </a:prstGeom>
          <a:noFill/>
        </p:spPr>
        <p:txBody>
          <a:bodyPr wrap="square" lIns="0" tIns="0" rIns="0" bIns="0" rtlCol="0" anchor="b" anchorCtr="0">
            <a:spAutoFit/>
          </a:bodyPr>
          <a:lstStyle/>
          <a:p>
            <a:pPr algn="r"/>
            <a:r>
              <a:rPr lang="en-GB" sz="900" noProof="1" smtClean="0"/>
              <a:t>8/15/2018 C:\Users\Wendy Guo\Documents\Presentationmaterials\PRC GAAR -Wendy Guo (PwC)_092018.pptx</a:t>
            </a:r>
            <a:endParaRPr lang="en-GB" sz="900" noProof="1"/>
          </a:p>
        </p:txBody>
      </p:sp>
      <p:sp>
        <p:nvSpPr>
          <p:cNvPr id="16" name="Slide Tags" hidden="1"/>
          <p:cNvSpPr txBox="1"/>
          <p:nvPr userDrawn="1">
            <p:custDataLst>
              <p:tags r:id="rId10"/>
            </p:custDataLst>
          </p:nvPr>
        </p:nvSpPr>
        <p:spPr>
          <a:xfrm>
            <a:off x="0" y="228600"/>
            <a:ext cx="1600200" cy="261610"/>
          </a:xfrm>
          <a:prstGeom prst="rect">
            <a:avLst/>
          </a:prstGeom>
          <a:noFill/>
        </p:spPr>
        <p:txBody>
          <a:bodyPr wrap="square" rtlCol="0">
            <a:spAutoFit/>
          </a:bodyPr>
          <a:lstStyle/>
          <a:p>
            <a:r>
              <a:rPr lang="en-GB" noProof="1" smtClean="0"/>
              <a:t>Slide Tags</a:t>
            </a:r>
            <a:endParaRPr lang="en-GB" noProof="1"/>
          </a:p>
        </p:txBody>
      </p:sp>
      <p:cxnSp>
        <p:nvCxnSpPr>
          <p:cNvPr id="28"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ver Slide with Content">
    <p:spTree>
      <p:nvGrpSpPr>
        <p:cNvPr id="1" name=""/>
        <p:cNvGrpSpPr/>
        <p:nvPr/>
      </p:nvGrpSpPr>
      <p:grpSpPr>
        <a:xfrm>
          <a:off x="0" y="0"/>
          <a:ext cx="0" cy="0"/>
          <a:chOff x="0" y="0"/>
          <a:chExt cx="0" cy="0"/>
        </a:xfrm>
      </p:grpSpPr>
      <p:grpSp>
        <p:nvGrpSpPr>
          <p:cNvPr id="4" name="Logo with Panels"/>
          <p:cNvGrpSpPr/>
          <p:nvPr userDrawn="1"/>
        </p:nvGrpSpPr>
        <p:grpSpPr>
          <a:xfrm>
            <a:off x="1130368" y="0"/>
            <a:ext cx="8928031" cy="7318210"/>
            <a:chOff x="1130368" y="0"/>
            <a:chExt cx="8928031" cy="7318210"/>
          </a:xfrm>
        </p:grpSpPr>
        <p:grpSp>
          <p:nvGrpSpPr>
            <p:cNvPr id="5" name="Logo Shapes"/>
            <p:cNvGrpSpPr/>
            <p:nvPr userDrawn="1"/>
          </p:nvGrpSpPr>
          <p:grpSpPr>
            <a:xfrm>
              <a:off x="1904992" y="0"/>
              <a:ext cx="8153407" cy="6792223"/>
              <a:chOff x="1828800" y="-7143"/>
              <a:chExt cx="8153407" cy="6792223"/>
            </a:xfrm>
          </p:grpSpPr>
          <p:sp>
            <p:nvSpPr>
              <p:cNvPr id="23" name="Rectangle 1"/>
              <p:cNvSpPr>
                <a:spLocks noChangeArrowheads="1"/>
              </p:cNvSpPr>
              <p:nvPr/>
            </p:nvSpPr>
            <p:spPr bwMode="gray">
              <a:xfrm>
                <a:off x="1832930" y="4496096"/>
                <a:ext cx="8149277" cy="2288752"/>
              </a:xfrm>
              <a:prstGeom prst="rect">
                <a:avLst/>
              </a:prstGeom>
              <a:solidFill>
                <a:srgbClr val="F3BE2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68" name="Rectangle 2"/>
              <p:cNvSpPr>
                <a:spLocks noChangeArrowheads="1"/>
              </p:cNvSpPr>
              <p:nvPr userDrawn="1"/>
            </p:nvSpPr>
            <p:spPr bwMode="gray">
              <a:xfrm>
                <a:off x="1828800" y="3583782"/>
                <a:ext cx="7132320" cy="3201066"/>
              </a:xfrm>
              <a:prstGeom prst="rect">
                <a:avLst/>
              </a:prstGeom>
              <a:solidFill>
                <a:srgbClr val="F3BC87"/>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0" name="Rectangle 3"/>
              <p:cNvSpPr>
                <a:spLocks noChangeArrowheads="1"/>
              </p:cNvSpPr>
              <p:nvPr userDrawn="1"/>
            </p:nvSpPr>
            <p:spPr bwMode="gray">
              <a:xfrm>
                <a:off x="1828800" y="4496096"/>
                <a:ext cx="7132320" cy="2288752"/>
              </a:xfrm>
              <a:prstGeom prst="rect">
                <a:avLst/>
              </a:prstGeom>
              <a:solidFill>
                <a:srgbClr val="E88C1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4" name="Rectangle 4"/>
              <p:cNvSpPr>
                <a:spLocks noChangeArrowheads="1"/>
              </p:cNvSpPr>
              <p:nvPr/>
            </p:nvSpPr>
            <p:spPr bwMode="gray">
              <a:xfrm>
                <a:off x="1828800" y="-7143"/>
                <a:ext cx="6248400" cy="6772722"/>
              </a:xfrm>
              <a:prstGeom prst="rect">
                <a:avLst/>
              </a:prstGeom>
              <a:solidFill>
                <a:srgbClr val="EE9C34"/>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8" name="Rectangle 5"/>
              <p:cNvSpPr>
                <a:spLocks noChangeArrowheads="1"/>
              </p:cNvSpPr>
              <p:nvPr userDrawn="1"/>
            </p:nvSpPr>
            <p:spPr bwMode="gray">
              <a:xfrm>
                <a:off x="1828800" y="1057382"/>
                <a:ext cx="6492240" cy="5708197"/>
              </a:xfrm>
              <a:prstGeom prst="rect">
                <a:avLst/>
              </a:prstGeom>
              <a:solidFill>
                <a:srgbClr val="E669A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69" name="Rectangle 6"/>
              <p:cNvSpPr>
                <a:spLocks noChangeArrowheads="1"/>
              </p:cNvSpPr>
              <p:nvPr userDrawn="1"/>
            </p:nvSpPr>
            <p:spPr bwMode="gray">
              <a:xfrm>
                <a:off x="1828800" y="3583782"/>
                <a:ext cx="6492240" cy="3201066"/>
              </a:xfrm>
              <a:prstGeom prst="rect">
                <a:avLst/>
              </a:prstGeom>
              <a:solidFill>
                <a:srgbClr val="DB4D56"/>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9" name="Rectangle 7"/>
              <p:cNvSpPr>
                <a:spLocks noChangeArrowheads="1"/>
              </p:cNvSpPr>
              <p:nvPr userDrawn="1"/>
            </p:nvSpPr>
            <p:spPr bwMode="gray">
              <a:xfrm>
                <a:off x="1828800" y="1057382"/>
                <a:ext cx="6248400" cy="5708197"/>
              </a:xfrm>
              <a:prstGeom prst="rect">
                <a:avLst/>
              </a:prstGeom>
              <a:solidFill>
                <a:srgbClr val="D74021"/>
              </a:solidFill>
              <a:ln w="0">
                <a:noFill/>
                <a:prstDash val="solid"/>
                <a:miter lim="800000"/>
                <a:headEnd/>
                <a:tailEnd/>
              </a:ln>
            </p:spPr>
            <p:txBody>
              <a:bodyPr vert="horz" wrap="square" lIns="0" tIns="0" rIns="0" bIns="0" numCol="1" anchor="t" anchorCtr="0" compatLnSpc="1">
                <a:prstTxWarp prst="textNoShape">
                  <a:avLst/>
                </a:prstTxWarp>
              </a:bodyPr>
              <a:lstStyle/>
              <a:p>
                <a:endParaRPr lang="en-GB" noProof="0" dirty="0"/>
              </a:p>
            </p:txBody>
          </p:sp>
          <p:sp>
            <p:nvSpPr>
              <p:cNvPr id="26" name="Rectangle 8"/>
              <p:cNvSpPr>
                <a:spLocks noChangeArrowheads="1"/>
              </p:cNvSpPr>
              <p:nvPr userDrawn="1"/>
            </p:nvSpPr>
            <p:spPr bwMode="gray">
              <a:xfrm>
                <a:off x="1828800" y="4496096"/>
                <a:ext cx="6492240" cy="2288752"/>
              </a:xfrm>
              <a:prstGeom prst="rect">
                <a:avLst/>
              </a:prstGeom>
              <a:solidFill>
                <a:srgbClr val="D1390D"/>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27" name="Rectangle 9"/>
              <p:cNvSpPr/>
              <p:nvPr userDrawn="1"/>
            </p:nvSpPr>
            <p:spPr bwMode="gray">
              <a:xfrm>
                <a:off x="1828800" y="3583782"/>
                <a:ext cx="6246019" cy="3201066"/>
              </a:xfrm>
              <a:prstGeom prst="rect">
                <a:avLst/>
              </a:prstGeom>
              <a:solidFill>
                <a:srgbClr val="CD2F0E"/>
              </a:solidFill>
              <a:ln w="0">
                <a:noFill/>
                <a:prstDash val="solid"/>
                <a:round/>
                <a:headEnd/>
                <a:tailEnd/>
              </a:ln>
            </p:spPr>
            <p:txBody>
              <a:bodyPr vert="horz" wrap="square" lIns="91440" tIns="45720" rIns="91440" bIns="45720" numCol="1" anchor="t" anchorCtr="0" compatLnSpc="1">
                <a:prstTxWarp prst="textNoShape">
                  <a:avLst/>
                </a:prstTxWarp>
              </a:bodyPr>
              <a:lstStyle/>
              <a:p>
                <a:pPr marL="0" algn="l" defTabSz="1018824" rtl="0" eaLnBrk="1" latinLnBrk="0" hangingPunct="1"/>
                <a:endParaRPr lang="en-GB" sz="2000" kern="1200" noProof="0" dirty="0">
                  <a:solidFill>
                    <a:schemeClr val="tx1"/>
                  </a:solidFill>
                  <a:latin typeface="+mn-lt"/>
                  <a:ea typeface="+mn-ea"/>
                  <a:cs typeface="+mn-cs"/>
                </a:endParaRPr>
              </a:p>
            </p:txBody>
          </p:sp>
          <p:sp>
            <p:nvSpPr>
              <p:cNvPr id="30" name="Rectangle 10"/>
              <p:cNvSpPr>
                <a:spLocks noChangeArrowheads="1"/>
              </p:cNvSpPr>
              <p:nvPr userDrawn="1"/>
            </p:nvSpPr>
            <p:spPr bwMode="gray">
              <a:xfrm>
                <a:off x="1828800" y="4495801"/>
                <a:ext cx="6245352" cy="2288752"/>
              </a:xfrm>
              <a:prstGeom prst="rect">
                <a:avLst/>
              </a:prstGeom>
              <a:solidFill>
                <a:srgbClr val="C42303"/>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sp>
            <p:nvSpPr>
              <p:cNvPr id="71" name="Rectangle 11"/>
              <p:cNvSpPr>
                <a:spLocks noChangeArrowheads="1"/>
              </p:cNvSpPr>
              <p:nvPr userDrawn="1"/>
            </p:nvSpPr>
            <p:spPr bwMode="gray">
              <a:xfrm>
                <a:off x="1828800" y="4800832"/>
                <a:ext cx="2286000" cy="1984248"/>
              </a:xfrm>
              <a:prstGeom prst="rect">
                <a:avLst/>
              </a:prstGeom>
              <a:solidFill>
                <a:srgbClr val="9A1702"/>
              </a:solid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en-GB" noProof="0" dirty="0"/>
              </a:p>
            </p:txBody>
          </p:sp>
        </p:grpSp>
        <p:grpSp>
          <p:nvGrpSpPr>
            <p:cNvPr id="6" name="Logo"/>
            <p:cNvGrpSpPr/>
            <p:nvPr userDrawn="1"/>
          </p:nvGrpSpPr>
          <p:grpSpPr>
            <a:xfrm>
              <a:off x="1130368" y="6790556"/>
              <a:ext cx="905256" cy="527654"/>
              <a:chOff x="1130368" y="6790556"/>
              <a:chExt cx="905256" cy="527654"/>
            </a:xfrm>
          </p:grpSpPr>
          <p:sp>
            <p:nvSpPr>
              <p:cNvPr id="38" name="Rectangle 0"/>
              <p:cNvSpPr>
                <a:spLocks noChangeArrowheads="1"/>
              </p:cNvSpPr>
              <p:nvPr userDrawn="1"/>
            </p:nvSpPr>
            <p:spPr bwMode="black">
              <a:xfrm>
                <a:off x="1676368" y="6790556"/>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39" name="Freeform 38"/>
              <p:cNvSpPr>
                <a:spLocks noEditPoints="1"/>
              </p:cNvSpPr>
              <p:nvPr userDrawn="1"/>
            </p:nvSpPr>
            <p:spPr bwMode="black">
              <a:xfrm>
                <a:off x="1130368" y="6976999"/>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37" name="Descriptor"/>
          <p:cNvSpPr>
            <a:spLocks noGrp="1"/>
          </p:cNvSpPr>
          <p:nvPr userDrawn="1">
            <p:custDataLst>
              <p:tags r:id="rId1"/>
            </p:custDataLst>
          </p:nvPr>
        </p:nvSpPr>
        <p:spPr bwMode="white">
          <a:xfrm>
            <a:off x="2059200" y="611644"/>
            <a:ext cx="65" cy="215444"/>
          </a:xfrm>
          <a:prstGeom prst="rect">
            <a:avLst/>
          </a:prstGeom>
        </p:spPr>
        <p:txBody>
          <a:bodyPr vert="horz" wrap="none" lIns="0" tIns="0" rIns="0" bIns="0" rtlCol="0" anchor="b" anchorCtr="0">
            <a:spAutoFit/>
          </a:bodyPr>
          <a:lstStyle>
            <a:lvl1pPr marL="0" marR="0" indent="0" algn="l" defTabSz="1019175" rtl="0" eaLnBrk="1" fontAlgn="base" latinLnBrk="0" hangingPunct="1">
              <a:lnSpc>
                <a:spcPct val="100000"/>
              </a:lnSpc>
              <a:spcBef>
                <a:spcPts val="0"/>
              </a:spcBef>
              <a:spcAft>
                <a:spcPts val="0"/>
              </a:spcAft>
              <a:buClr>
                <a:srgbClr val="000000"/>
              </a:buClr>
              <a:buSzTx/>
              <a:buFont typeface="Wingdings" pitchFamily="2" charset="2"/>
              <a:buNone/>
              <a:tabLst/>
              <a:defRPr sz="1100" kern="1200">
                <a:solidFill>
                  <a:schemeClr val="tx1"/>
                </a:solidFill>
                <a:latin typeface="Georgia" pitchFamily="18" charset="0"/>
                <a:ea typeface="+mn-ea"/>
                <a:cs typeface="+mn-cs"/>
              </a:defRPr>
            </a:lvl1pPr>
            <a:lvl2pPr marL="234950" marR="0" indent="-228600" algn="l" defTabSz="1019175" rtl="0" eaLnBrk="1" fontAlgn="base" latinLnBrk="0" hangingPunct="1">
              <a:lnSpc>
                <a:spcPct val="100000"/>
              </a:lnSpc>
              <a:spcBef>
                <a:spcPts val="0"/>
              </a:spcBef>
              <a:spcAft>
                <a:spcPts val="0"/>
              </a:spcAft>
              <a:buClr>
                <a:srgbClr val="000000"/>
              </a:buClr>
              <a:buSzTx/>
              <a:buFont typeface="Times New Roman" pitchFamily="18" charset="0"/>
              <a:buChar char="•"/>
              <a:tabLst/>
              <a:defRPr sz="1100" kern="1200">
                <a:solidFill>
                  <a:schemeClr val="tx1"/>
                </a:solidFill>
                <a:latin typeface="Georgia" pitchFamily="18" charset="0"/>
                <a:ea typeface="+mn-ea"/>
                <a:cs typeface="+mn-cs"/>
              </a:defRPr>
            </a:lvl2pPr>
            <a:lvl3pPr marL="475488" marR="0" indent="-227013" algn="l" defTabSz="1019175" rtl="0" eaLnBrk="1" fontAlgn="base" latinLnBrk="0" hangingPunct="1">
              <a:lnSpc>
                <a:spcPct val="100000"/>
              </a:lnSpc>
              <a:spcBef>
                <a:spcPts val="0"/>
              </a:spcBef>
              <a:spcAft>
                <a:spcPts val="0"/>
              </a:spcAft>
              <a:buClr>
                <a:srgbClr val="000000"/>
              </a:buClr>
              <a:buSzTx/>
              <a:buFont typeface="Arial" pitchFamily="34" charset="0"/>
              <a:buChar char="-"/>
              <a:tabLst/>
              <a:defRPr sz="1100" kern="1200">
                <a:solidFill>
                  <a:schemeClr val="tx1"/>
                </a:solidFill>
                <a:latin typeface="Georgia" pitchFamily="18" charset="0"/>
                <a:ea typeface="+mn-ea"/>
                <a:cs typeface="+mn-cs"/>
              </a:defRPr>
            </a:lvl3pPr>
            <a:lvl4pPr marL="685800" marR="0" indent="-237744" algn="l" defTabSz="1019175" rtl="0" eaLnBrk="1" fontAlgn="base" latinLnBrk="0" hangingPunct="1">
              <a:lnSpc>
                <a:spcPct val="100000"/>
              </a:lnSpc>
              <a:spcBef>
                <a:spcPts val="0"/>
              </a:spcBef>
              <a:spcAft>
                <a:spcPts val="0"/>
              </a:spcAft>
              <a:buClr>
                <a:srgbClr val="000000"/>
              </a:buClr>
              <a:buSzTx/>
              <a:buFont typeface="Georgia" pitchFamily="18" charset="0"/>
              <a:buChar char="◦"/>
              <a:tabLst/>
              <a:defRPr sz="1100" kern="1200">
                <a:solidFill>
                  <a:schemeClr val="tx1"/>
                </a:solidFill>
                <a:latin typeface="Georgia" pitchFamily="18" charset="0"/>
                <a:ea typeface="+mn-ea"/>
                <a:cs typeface="+mn-cs"/>
              </a:defRPr>
            </a:lvl4pPr>
            <a:lvl5pPr marL="914400" marR="0" indent="-228600" algn="l" defTabSz="1019175" rtl="0" eaLnBrk="1" fontAlgn="base" latinLnBrk="0" hangingPunct="1">
              <a:lnSpc>
                <a:spcPct val="100000"/>
              </a:lnSpc>
              <a:spcBef>
                <a:spcPts val="0"/>
              </a:spcBef>
              <a:spcAft>
                <a:spcPts val="0"/>
              </a:spcAft>
              <a:buClr>
                <a:srgbClr val="000000"/>
              </a:buClr>
              <a:buSzTx/>
              <a:buFont typeface="Georgia" pitchFamily="18" charset="0"/>
              <a:buChar char="›"/>
              <a:tabLst/>
              <a:defRPr sz="1100" kern="1200" baseline="0">
                <a:solidFill>
                  <a:schemeClr val="tx1"/>
                </a:solidFill>
                <a:latin typeface="Georgia" pitchFamily="18" charset="0"/>
                <a:ea typeface="+mn-ea"/>
                <a:cs typeface="+mn-cs"/>
              </a:defRPr>
            </a:lvl5pPr>
            <a:lvl6pPr marL="237744" indent="-237744" algn="l" defTabSz="1018824" rtl="0" eaLnBrk="1" latinLnBrk="0" hangingPunct="1">
              <a:lnSpc>
                <a:spcPct val="100000"/>
              </a:lnSpc>
              <a:spcBef>
                <a:spcPts val="0"/>
              </a:spcBef>
              <a:spcAft>
                <a:spcPts val="0"/>
              </a:spcAft>
              <a:buFont typeface="+mj-lt"/>
              <a:buAutoNum type="arabicPeriod"/>
              <a:defRPr lang="en-GB" sz="1100" kern="1200" baseline="0" noProof="0" dirty="0" smtClean="0">
                <a:solidFill>
                  <a:schemeClr val="tx1"/>
                </a:solidFill>
                <a:latin typeface="Georgia" pitchFamily="18" charset="0"/>
                <a:ea typeface="+mn-ea"/>
                <a:cs typeface="+mn-cs"/>
              </a:defRPr>
            </a:lvl6pPr>
            <a:lvl7pPr marL="475488" indent="-228600" algn="l" defTabSz="1018824" rtl="0" eaLnBrk="1" latinLnBrk="0" hangingPunct="1">
              <a:lnSpc>
                <a:spcPct val="100000"/>
              </a:lnSpc>
              <a:spcBef>
                <a:spcPts val="0"/>
              </a:spcBef>
              <a:spcAft>
                <a:spcPts val="0"/>
              </a:spcAft>
              <a:buFont typeface="+mj-lt"/>
              <a:buAutoNum type="alphaLcPeriod"/>
              <a:defRPr lang="en-GB" sz="1100" kern="1200" baseline="0" noProof="0" dirty="0" smtClean="0">
                <a:solidFill>
                  <a:schemeClr val="tx1"/>
                </a:solidFill>
                <a:latin typeface="Georgia" pitchFamily="18" charset="0"/>
                <a:ea typeface="+mn-ea"/>
                <a:cs typeface="+mn-cs"/>
              </a:defRPr>
            </a:lvl7pPr>
            <a:lvl8pPr marL="682625" indent="-228600" algn="l" defTabSz="1018824" rtl="0" eaLnBrk="1" latinLnBrk="0" hangingPunct="1">
              <a:lnSpc>
                <a:spcPct val="100000"/>
              </a:lnSpc>
              <a:spcBef>
                <a:spcPts val="0"/>
              </a:spcBef>
              <a:spcAft>
                <a:spcPts val="0"/>
              </a:spcAft>
              <a:buFont typeface="+mj-lt"/>
              <a:buAutoNum type="romanLcPeriod"/>
              <a:defRPr lang="en-GB" sz="1100" kern="1200" baseline="0" noProof="0" dirty="0" smtClean="0">
                <a:solidFill>
                  <a:schemeClr val="tx1"/>
                </a:solidFill>
                <a:latin typeface="Georgia" pitchFamily="18" charset="0"/>
                <a:ea typeface="+mn-ea"/>
                <a:cs typeface="+mn-cs"/>
              </a:defRPr>
            </a:lvl8pPr>
            <a:lvl9pPr marL="0" indent="0" algn="l" defTabSz="1018824" rtl="0" eaLnBrk="1" latinLnBrk="0" hangingPunct="1">
              <a:lnSpc>
                <a:spcPct val="100000"/>
              </a:lnSpc>
              <a:spcBef>
                <a:spcPts val="0"/>
              </a:spcBef>
              <a:spcAft>
                <a:spcPts val="600"/>
              </a:spcAft>
              <a:buFont typeface="Arial" pitchFamily="34" charset="0"/>
              <a:buNone/>
              <a:defRPr lang="en-GB" sz="1100" b="1" kern="1200" baseline="0" noProof="0" dirty="0" smtClean="0">
                <a:solidFill>
                  <a:schemeClr val="tx2"/>
                </a:solidFill>
                <a:latin typeface="Georgia" pitchFamily="18" charset="0"/>
                <a:ea typeface="+mn-ea"/>
                <a:cs typeface="+mn-cs"/>
              </a:defRPr>
            </a:lvl9pPr>
          </a:lstStyle>
          <a:p>
            <a:pPr lvl="0">
              <a:spcBef>
                <a:spcPct val="0"/>
              </a:spcBef>
              <a:defRPr/>
            </a:pPr>
            <a:endParaRPr lang="en-GB" sz="1400" b="0" i="0" dirty="0">
              <a:solidFill>
                <a:schemeClr val="bg1"/>
              </a:solidFill>
              <a:latin typeface="Arial" pitchFamily="34" charset="0"/>
              <a:cs typeface="Arial" pitchFamily="34" charset="0"/>
            </a:endParaRPr>
          </a:p>
        </p:txBody>
      </p:sp>
      <p:sp>
        <p:nvSpPr>
          <p:cNvPr id="32" name="Report Title"/>
          <p:cNvSpPr>
            <a:spLocks noGrp="1"/>
          </p:cNvSpPr>
          <p:nvPr>
            <p:ph type="ctrTitle" hasCustomPrompt="1"/>
            <p:custDataLst>
              <p:tags r:id="rId2"/>
            </p:custDataLst>
          </p:nvPr>
        </p:nvSpPr>
        <p:spPr bwMode="white">
          <a:xfrm>
            <a:off x="2056818" y="1261037"/>
            <a:ext cx="5943600" cy="530442"/>
          </a:xfrm>
        </p:spPr>
        <p:txBody>
          <a:bodyPr vert="horz" lIns="0" tIns="0" rIns="0" bIns="90000" rtlCol="0" anchor="t" anchorCtr="0">
            <a:spAutoFit/>
          </a:bodyPr>
          <a:lstStyle>
            <a:lvl1pPr algn="l" defTabSz="1018824" rtl="0" eaLnBrk="1" latinLnBrk="0" hangingPunct="1">
              <a:lnSpc>
                <a:spcPct val="90000"/>
              </a:lnSpc>
              <a:spcBef>
                <a:spcPct val="0"/>
              </a:spcBef>
              <a:buNone/>
              <a:defRPr lang="en-GB" sz="3200" b="1" i="1" kern="1200" baseline="0" noProof="0">
                <a:solidFill>
                  <a:schemeClr val="bg1"/>
                </a:solidFill>
                <a:latin typeface="+mj-lt"/>
                <a:ea typeface="+mj-ea"/>
                <a:cs typeface="+mj-cs"/>
              </a:defRPr>
            </a:lvl1pPr>
          </a:lstStyle>
          <a:p>
            <a:r>
              <a:rPr lang="en-GB" noProof="0" dirty="0" smtClean="0"/>
              <a:t>Report Title</a:t>
            </a:r>
            <a:endParaRPr lang="en-GB" noProof="0" dirty="0"/>
          </a:p>
        </p:txBody>
      </p:sp>
      <p:sp>
        <p:nvSpPr>
          <p:cNvPr id="31" name="Report Subtitle"/>
          <p:cNvSpPr>
            <a:spLocks noGrp="1"/>
          </p:cNvSpPr>
          <p:nvPr>
            <p:ph type="subTitle" idx="1" hasCustomPrompt="1"/>
            <p:custDataLst>
              <p:tags r:id="rId3"/>
            </p:custDataLst>
          </p:nvPr>
        </p:nvSpPr>
        <p:spPr bwMode="white">
          <a:xfrm>
            <a:off x="2056818" y="1828800"/>
            <a:ext cx="5943600" cy="443198"/>
          </a:xfrm>
        </p:spPr>
        <p:txBody>
          <a:bodyPr tIns="0" bIns="0">
            <a:spAutoFit/>
          </a:bodyPr>
          <a:lstStyle>
            <a:lvl1pPr marL="0" indent="0" algn="l">
              <a:lnSpc>
                <a:spcPct val="90000"/>
              </a:lnSpc>
              <a:spcAft>
                <a:spcPts val="0"/>
              </a:spcAft>
              <a:buNone/>
              <a:defRPr sz="3200" baseline="0">
                <a:solidFill>
                  <a:schemeClr val="bg1"/>
                </a:solidFill>
                <a:latin typeface="+mj-lt"/>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GB" noProof="0" dirty="0" smtClean="0"/>
              <a:t>Subtitle</a:t>
            </a:r>
          </a:p>
        </p:txBody>
      </p:sp>
      <p:cxnSp>
        <p:nvCxnSpPr>
          <p:cNvPr id="25" name="Frame Line"/>
          <p:cNvCxnSpPr/>
          <p:nvPr userDrawn="1"/>
        </p:nvCxnSpPr>
        <p:spPr>
          <a:xfrm flipV="1">
            <a:off x="381000" y="3593592"/>
            <a:ext cx="1371600" cy="144000"/>
          </a:xfrm>
          <a:prstGeom prst="bentConnector3">
            <a:avLst>
              <a:gd name="adj1" fmla="val -174"/>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3" name="Confidentiality Stamp"/>
          <p:cNvSpPr>
            <a:spLocks noGrp="1"/>
          </p:cNvSpPr>
          <p:nvPr userDrawn="1">
            <p:custDataLst>
              <p:tags r:id="rId4"/>
            </p:custDataLst>
          </p:nvPr>
        </p:nvSpPr>
        <p:spPr>
          <a:xfrm>
            <a:off x="530351" y="3729600"/>
            <a:ext cx="1224000" cy="153888"/>
          </a:xfrm>
          <a:prstGeom prst="rect">
            <a:avLst/>
          </a:prstGeom>
        </p:spPr>
        <p:txBody>
          <a:bodyPr vert="horz" wrap="square" lIns="0" tIns="0" rIns="0" bIns="0" rtlCol="0">
            <a:spAutoFit/>
          </a:bodyPr>
          <a:lstStyle>
            <a:lvl1pPr marL="0" marR="0" indent="0" algn="l" defTabSz="1019175" rtl="0" eaLnBrk="1" fontAlgn="base" latinLnBrk="0" hangingPunct="1">
              <a:lnSpc>
                <a:spcPct val="100000"/>
              </a:lnSpc>
              <a:spcBef>
                <a:spcPts val="0"/>
              </a:spcBef>
              <a:spcAft>
                <a:spcPts val="0"/>
              </a:spcAft>
              <a:buClr>
                <a:srgbClr val="000000"/>
              </a:buClr>
              <a:buSzTx/>
              <a:buFont typeface="Wingdings" pitchFamily="2" charset="2"/>
              <a:buNone/>
              <a:tabLst/>
              <a:defRPr sz="1100" kern="1200">
                <a:solidFill>
                  <a:schemeClr val="tx1"/>
                </a:solidFill>
                <a:latin typeface="Georgia" pitchFamily="18" charset="0"/>
                <a:ea typeface="+mn-ea"/>
                <a:cs typeface="+mn-cs"/>
              </a:defRPr>
            </a:lvl1pPr>
            <a:lvl2pPr marL="234950" marR="0" indent="-228600" algn="l" defTabSz="1019175" rtl="0" eaLnBrk="1" fontAlgn="base" latinLnBrk="0" hangingPunct="1">
              <a:lnSpc>
                <a:spcPct val="100000"/>
              </a:lnSpc>
              <a:spcBef>
                <a:spcPts val="0"/>
              </a:spcBef>
              <a:spcAft>
                <a:spcPts val="0"/>
              </a:spcAft>
              <a:buClr>
                <a:srgbClr val="000000"/>
              </a:buClr>
              <a:buSzTx/>
              <a:buFont typeface="Times New Roman" pitchFamily="18" charset="0"/>
              <a:buChar char="•"/>
              <a:tabLst/>
              <a:defRPr sz="1100" kern="1200">
                <a:solidFill>
                  <a:schemeClr val="tx1"/>
                </a:solidFill>
                <a:latin typeface="Georgia" pitchFamily="18" charset="0"/>
                <a:ea typeface="+mn-ea"/>
                <a:cs typeface="+mn-cs"/>
              </a:defRPr>
            </a:lvl2pPr>
            <a:lvl3pPr marL="475488" marR="0" indent="-227013" algn="l" defTabSz="1019175" rtl="0" eaLnBrk="1" fontAlgn="base" latinLnBrk="0" hangingPunct="1">
              <a:lnSpc>
                <a:spcPct val="100000"/>
              </a:lnSpc>
              <a:spcBef>
                <a:spcPts val="0"/>
              </a:spcBef>
              <a:spcAft>
                <a:spcPts val="0"/>
              </a:spcAft>
              <a:buClr>
                <a:srgbClr val="000000"/>
              </a:buClr>
              <a:buSzTx/>
              <a:buFont typeface="Arial" pitchFamily="34" charset="0"/>
              <a:buChar char="-"/>
              <a:tabLst/>
              <a:defRPr sz="1100" kern="1200">
                <a:solidFill>
                  <a:schemeClr val="tx1"/>
                </a:solidFill>
                <a:latin typeface="Georgia" pitchFamily="18" charset="0"/>
                <a:ea typeface="+mn-ea"/>
                <a:cs typeface="+mn-cs"/>
              </a:defRPr>
            </a:lvl3pPr>
            <a:lvl4pPr marL="685800" marR="0" indent="-237744" algn="l" defTabSz="1019175" rtl="0" eaLnBrk="1" fontAlgn="base" latinLnBrk="0" hangingPunct="1">
              <a:lnSpc>
                <a:spcPct val="100000"/>
              </a:lnSpc>
              <a:spcBef>
                <a:spcPts val="0"/>
              </a:spcBef>
              <a:spcAft>
                <a:spcPts val="0"/>
              </a:spcAft>
              <a:buClr>
                <a:srgbClr val="000000"/>
              </a:buClr>
              <a:buSzTx/>
              <a:buFont typeface="Georgia" pitchFamily="18" charset="0"/>
              <a:buChar char="◦"/>
              <a:tabLst/>
              <a:defRPr sz="1100" kern="1200">
                <a:solidFill>
                  <a:schemeClr val="tx1"/>
                </a:solidFill>
                <a:latin typeface="Georgia" pitchFamily="18" charset="0"/>
                <a:ea typeface="+mn-ea"/>
                <a:cs typeface="+mn-cs"/>
              </a:defRPr>
            </a:lvl4pPr>
            <a:lvl5pPr marL="914400" marR="0" indent="-228600" algn="l" defTabSz="1019175" rtl="0" eaLnBrk="1" fontAlgn="base" latinLnBrk="0" hangingPunct="1">
              <a:lnSpc>
                <a:spcPct val="100000"/>
              </a:lnSpc>
              <a:spcBef>
                <a:spcPts val="0"/>
              </a:spcBef>
              <a:spcAft>
                <a:spcPts val="0"/>
              </a:spcAft>
              <a:buClr>
                <a:srgbClr val="000000"/>
              </a:buClr>
              <a:buSzTx/>
              <a:buFont typeface="Georgia" pitchFamily="18" charset="0"/>
              <a:buChar char="›"/>
              <a:tabLst/>
              <a:defRPr sz="1100" kern="1200" baseline="0">
                <a:solidFill>
                  <a:schemeClr val="tx1"/>
                </a:solidFill>
                <a:latin typeface="Georgia" pitchFamily="18" charset="0"/>
                <a:ea typeface="+mn-ea"/>
                <a:cs typeface="+mn-cs"/>
              </a:defRPr>
            </a:lvl5pPr>
            <a:lvl6pPr marL="237744" indent="-237744" algn="l" defTabSz="1018824" rtl="0" eaLnBrk="1" latinLnBrk="0" hangingPunct="1">
              <a:lnSpc>
                <a:spcPct val="100000"/>
              </a:lnSpc>
              <a:spcBef>
                <a:spcPts val="0"/>
              </a:spcBef>
              <a:spcAft>
                <a:spcPts val="0"/>
              </a:spcAft>
              <a:buFont typeface="+mj-lt"/>
              <a:buAutoNum type="arabicPeriod"/>
              <a:defRPr lang="en-GB" sz="1100" kern="1200" baseline="0" noProof="0" dirty="0" smtClean="0">
                <a:solidFill>
                  <a:schemeClr val="tx1"/>
                </a:solidFill>
                <a:latin typeface="Georgia" pitchFamily="18" charset="0"/>
                <a:ea typeface="+mn-ea"/>
                <a:cs typeface="+mn-cs"/>
              </a:defRPr>
            </a:lvl6pPr>
            <a:lvl7pPr marL="475488" indent="-228600" algn="l" defTabSz="1018824" rtl="0" eaLnBrk="1" latinLnBrk="0" hangingPunct="1">
              <a:lnSpc>
                <a:spcPct val="100000"/>
              </a:lnSpc>
              <a:spcBef>
                <a:spcPts val="0"/>
              </a:spcBef>
              <a:spcAft>
                <a:spcPts val="0"/>
              </a:spcAft>
              <a:buFont typeface="+mj-lt"/>
              <a:buAutoNum type="alphaLcPeriod"/>
              <a:defRPr lang="en-GB" sz="1100" kern="1200" baseline="0" noProof="0" dirty="0" smtClean="0">
                <a:solidFill>
                  <a:schemeClr val="tx1"/>
                </a:solidFill>
                <a:latin typeface="Georgia" pitchFamily="18" charset="0"/>
                <a:ea typeface="+mn-ea"/>
                <a:cs typeface="+mn-cs"/>
              </a:defRPr>
            </a:lvl7pPr>
            <a:lvl8pPr marL="682625" indent="-228600" algn="l" defTabSz="1018824" rtl="0" eaLnBrk="1" latinLnBrk="0" hangingPunct="1">
              <a:lnSpc>
                <a:spcPct val="100000"/>
              </a:lnSpc>
              <a:spcBef>
                <a:spcPts val="0"/>
              </a:spcBef>
              <a:spcAft>
                <a:spcPts val="0"/>
              </a:spcAft>
              <a:buFont typeface="+mj-lt"/>
              <a:buAutoNum type="romanLcPeriod"/>
              <a:defRPr lang="en-GB" sz="1100" kern="1200" baseline="0" noProof="0" dirty="0" smtClean="0">
                <a:solidFill>
                  <a:schemeClr val="tx1"/>
                </a:solidFill>
                <a:latin typeface="Georgia" pitchFamily="18" charset="0"/>
                <a:ea typeface="+mn-ea"/>
                <a:cs typeface="+mn-cs"/>
              </a:defRPr>
            </a:lvl8pPr>
            <a:lvl9pPr marL="0" indent="0" algn="l" defTabSz="1018824" rtl="0" eaLnBrk="1" latinLnBrk="0" hangingPunct="1">
              <a:lnSpc>
                <a:spcPct val="100000"/>
              </a:lnSpc>
              <a:spcBef>
                <a:spcPts val="0"/>
              </a:spcBef>
              <a:spcAft>
                <a:spcPts val="600"/>
              </a:spcAft>
              <a:buFont typeface="Arial" pitchFamily="34" charset="0"/>
              <a:buNone/>
              <a:defRPr lang="en-GB" sz="1100" b="1" kern="1200" baseline="0" noProof="0" dirty="0" smtClean="0">
                <a:solidFill>
                  <a:schemeClr val="tx2"/>
                </a:solidFill>
                <a:latin typeface="Georgia" pitchFamily="18" charset="0"/>
                <a:ea typeface="+mn-ea"/>
                <a:cs typeface="+mn-cs"/>
              </a:defRPr>
            </a:lvl9pPr>
          </a:lstStyle>
          <a:p>
            <a:pPr lvl="0">
              <a:spcBef>
                <a:spcPct val="0"/>
              </a:spcBef>
              <a:defRPr/>
            </a:pPr>
            <a:endParaRPr lang="en-GB" sz="1000" b="0" i="1" dirty="0">
              <a:solidFill>
                <a:schemeClr val="tx1"/>
              </a:solidFill>
            </a:endParaRPr>
          </a:p>
        </p:txBody>
      </p:sp>
      <p:sp>
        <p:nvSpPr>
          <p:cNvPr id="34" name="Draft Stamp"/>
          <p:cNvSpPr txBox="1"/>
          <p:nvPr userDrawn="1">
            <p:custDataLst>
              <p:tags r:id="rId5"/>
            </p:custDataLst>
          </p:nvPr>
        </p:nvSpPr>
        <p:spPr bwMode="black">
          <a:xfrm>
            <a:off x="530352" y="4041648"/>
            <a:ext cx="1371600" cy="292388"/>
          </a:xfrm>
          <a:prstGeom prst="rect">
            <a:avLst/>
          </a:prstGeom>
          <a:noFill/>
          <a:ln>
            <a:noFill/>
          </a:ln>
        </p:spPr>
        <p:txBody>
          <a:bodyPr wrap="square" lIns="0" tIns="0" rIns="0" bIns="137160" rtlCol="0" anchor="t" anchorCtr="0">
            <a:spAutoFit/>
          </a:bodyPr>
          <a:lstStyle/>
          <a:p>
            <a:pPr algn="l">
              <a:lnSpc>
                <a:spcPct val="100000"/>
              </a:lnSpc>
            </a:pPr>
            <a:endParaRPr lang="en-GB" sz="1000" b="1" i="1" dirty="0">
              <a:solidFill>
                <a:schemeClr val="tx1"/>
              </a:solidFill>
              <a:latin typeface="Georgia" pitchFamily="18" charset="0"/>
            </a:endParaRPr>
          </a:p>
        </p:txBody>
      </p:sp>
      <p:sp>
        <p:nvSpPr>
          <p:cNvPr id="40" name="Report Date"/>
          <p:cNvSpPr txBox="1"/>
          <p:nvPr userDrawn="1">
            <p:custDataLst>
              <p:tags r:id="rId6"/>
            </p:custDataLst>
          </p:nvPr>
        </p:nvSpPr>
        <p:spPr bwMode="black">
          <a:xfrm>
            <a:off x="530352" y="4343400"/>
            <a:ext cx="1225296" cy="153888"/>
          </a:xfrm>
          <a:prstGeom prst="rect">
            <a:avLst/>
          </a:prstGeom>
          <a:noFill/>
          <a:ln>
            <a:noFill/>
          </a:ln>
        </p:spPr>
        <p:txBody>
          <a:bodyPr wrap="square" lIns="0" tIns="0" rIns="0" bIns="0" rtlCol="0">
            <a:spAutoFit/>
          </a:bodyPr>
          <a:lstStyle/>
          <a:p>
            <a:pPr algn="l"/>
            <a:endParaRPr lang="en-GB" sz="1000" i="1" dirty="0">
              <a:latin typeface="Georgia" pitchFamily="18" charset="0"/>
            </a:endParaRPr>
          </a:p>
        </p:txBody>
      </p:sp>
      <p:sp>
        <p:nvSpPr>
          <p:cNvPr id="35" name="Content Placeholder 34"/>
          <p:cNvSpPr>
            <a:spLocks noGrp="1"/>
          </p:cNvSpPr>
          <p:nvPr>
            <p:ph sz="quarter" idx="10" hasCustomPrompt="1"/>
            <p:custDataLst>
              <p:tags r:id="rId7"/>
            </p:custDataLst>
          </p:nvPr>
        </p:nvSpPr>
        <p:spPr>
          <a:xfrm>
            <a:off x="530352" y="4645152"/>
            <a:ext cx="1225296" cy="1298448"/>
          </a:xfrm>
        </p:spPr>
        <p:txBody>
          <a:bodyPr/>
          <a:lstStyle>
            <a:lvl1pPr>
              <a:defRPr sz="1000" i="1"/>
            </a:lvl1pPr>
          </a:lstStyle>
          <a:p>
            <a:pPr lvl="0"/>
            <a:r>
              <a:rPr lang="en-GB" dirty="0" smtClean="0"/>
              <a:t>Click to enter text</a:t>
            </a:r>
            <a:endParaRPr lang="en-GB" dirty="0"/>
          </a:p>
        </p:txBody>
      </p:sp>
      <p:sp>
        <p:nvSpPr>
          <p:cNvPr id="36" name="Cover image"/>
          <p:cNvSpPr txBox="1">
            <a:spLocks noChangeAspect="1"/>
          </p:cNvSpPr>
          <p:nvPr userDrawn="1">
            <p:custDataLst>
              <p:tags r:id="rId8"/>
            </p:custDataLst>
          </p:nvPr>
        </p:nvSpPr>
        <p:spPr>
          <a:xfrm>
            <a:off x="1904334" y="3589973"/>
            <a:ext cx="6719929" cy="3200400"/>
          </a:xfrm>
          <a:prstGeom prst="rect">
            <a:avLst/>
          </a:prstGeom>
          <a:noFill/>
          <a:ln w="3175">
            <a:noFill/>
          </a:ln>
        </p:spPr>
        <p:txBody>
          <a:bodyPr wrap="square" lIns="0" tIns="0" rIns="0" bIns="0" rtlCol="0">
            <a:noAutofit/>
          </a:bodyPr>
          <a:lstStyle/>
          <a:p>
            <a:pPr indent="-305647">
              <a:spcAft>
                <a:spcPts val="1003"/>
              </a:spcAft>
            </a:pPr>
            <a:endParaRPr lang="en-GB" sz="2200" dirty="0" smtClean="0">
              <a:latin typeface="Georgia" pitchFamily="18" charset="0"/>
            </a:endParaRP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ntent: One">
    <p:spTree>
      <p:nvGrpSpPr>
        <p:cNvPr id="1" name=""/>
        <p:cNvGrpSpPr/>
        <p:nvPr/>
      </p:nvGrpSpPr>
      <p:grpSpPr>
        <a:xfrm>
          <a:off x="0" y="0"/>
          <a:ext cx="0" cy="0"/>
          <a:chOff x="0" y="0"/>
          <a:chExt cx="0" cy="0"/>
        </a:xfrm>
      </p:grpSpPr>
      <p:sp>
        <p:nvSpPr>
          <p:cNvPr id="34" name="Content Placeholder 2"/>
          <p:cNvSpPr>
            <a:spLocks noGrp="1"/>
          </p:cNvSpPr>
          <p:nvPr>
            <p:ph sz="quarter" idx="24"/>
            <p:custDataLst>
              <p:tags r:id="rId1"/>
            </p:custDataLst>
          </p:nvPr>
        </p:nvSpPr>
        <p:spPr>
          <a:xfrm>
            <a:off x="530352" y="2057400"/>
            <a:ext cx="8997696" cy="4882896"/>
          </a:xfrm>
        </p:spPr>
        <p:txBody>
          <a:bodyPr tIns="0" bIns="0"/>
          <a:lstStyle>
            <a:lvl1pPr>
              <a:defRPr sz="2000"/>
            </a:lvl1pPr>
            <a:lvl2pPr>
              <a:defRPr sz="2000"/>
            </a:lvl2pPr>
            <a:lvl3pPr>
              <a:defRPr sz="2000"/>
            </a:lvl3pPr>
            <a:lvl4pPr>
              <a:defRPr sz="2000"/>
            </a:lvl4pPr>
            <a:lvl5pPr>
              <a:defRPr sz="2000"/>
            </a:lvl5pPr>
          </a:lstStyle>
          <a:p>
            <a:pPr lvl="0"/>
            <a:r>
              <a:rPr lang="en-GB" noProof="0" dirty="0" smtClean="0"/>
              <a:t>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4" name="PwC Text"/>
          <p:cNvSpPr txBox="1"/>
          <p:nvPr userDrawn="1"/>
        </p:nvSpPr>
        <p:spPr>
          <a:xfrm>
            <a:off x="530352" y="7344000"/>
            <a:ext cx="274320" cy="126648"/>
          </a:xfrm>
          <a:prstGeom prst="rect">
            <a:avLst/>
          </a:prstGeom>
          <a:noFill/>
        </p:spPr>
        <p:txBody>
          <a:bodyPr vert="horz" wrap="none" lIns="0" tIns="0" rIns="0" bIns="0" rtlCol="0" anchor="t" anchorCtr="0">
            <a:noAutofit/>
          </a:bodyPr>
          <a:lstStyle/>
          <a:p>
            <a:pPr>
              <a:lnSpc>
                <a:spcPts val="1000"/>
              </a:lnSpc>
            </a:pPr>
            <a:r>
              <a:rPr lang="en-GB" sz="1100" noProof="1" smtClean="0">
                <a:latin typeface="+mj-lt"/>
                <a:ea typeface="宋体" panose="02010600030101010101" pitchFamily="2" charset="-122"/>
                <a:cs typeface="Arial" pitchFamily="34" charset="0"/>
              </a:rPr>
              <a:t>PwC</a:t>
            </a:r>
            <a:endParaRPr lang="en-GB" sz="1100" noProof="1">
              <a:latin typeface="+mj-lt"/>
              <a:ea typeface="宋体" panose="02010600030101010101" pitchFamily="2" charset="-122"/>
              <a:cs typeface="Arial" pitchFamily="34" charset="0"/>
            </a:endParaRPr>
          </a:p>
        </p:txBody>
      </p:sp>
      <p:sp>
        <p:nvSpPr>
          <p:cNvPr id="25" name="Report Date"/>
          <p:cNvSpPr txBox="1"/>
          <p:nvPr userDrawn="1">
            <p:custDataLst>
              <p:tags r:id="rId2"/>
            </p:custDataLst>
          </p:nvPr>
        </p:nvSpPr>
        <p:spPr>
          <a:xfrm>
            <a:off x="8500778" y="7128974"/>
            <a:ext cx="1017907" cy="169277"/>
          </a:xfrm>
          <a:prstGeom prst="rect">
            <a:avLst/>
          </a:prstGeom>
          <a:noFill/>
        </p:spPr>
        <p:txBody>
          <a:bodyPr wrap="none" lIns="0" tIns="0" rIns="0" bIns="0" rtlCol="0">
            <a:spAutoFit/>
          </a:bodyPr>
          <a:lstStyle/>
          <a:p>
            <a:pPr indent="-274320" algn="r">
              <a:spcAft>
                <a:spcPts val="900"/>
              </a:spcAft>
            </a:pPr>
            <a:r>
              <a:rPr lang="en-GB" sz="1100" noProof="1" smtClean="0">
                <a:latin typeface="+mj-lt"/>
                <a:ea typeface="宋体" panose="02010600030101010101" pitchFamily="2" charset="-122"/>
              </a:rPr>
              <a:t>September 2018</a:t>
            </a:r>
            <a:endParaRPr lang="en-GB" sz="1100" noProof="1" smtClean="0">
              <a:latin typeface="+mj-lt"/>
              <a:ea typeface="宋体" panose="02010600030101010101" pitchFamily="2" charset="-122"/>
            </a:endParaRPr>
          </a:p>
        </p:txBody>
      </p:sp>
      <p:sp>
        <p:nvSpPr>
          <p:cNvPr id="31" name="Page Number"/>
          <p:cNvSpPr txBox="1"/>
          <p:nvPr userDrawn="1">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endParaRPr lang="en-GB" sz="1100" noProof="1" smtClean="0"/>
          </a:p>
        </p:txBody>
      </p:sp>
      <p:sp>
        <p:nvSpPr>
          <p:cNvPr id="45" name="HeaderTOCPlaceholder"/>
          <p:cNvSpPr txBox="1"/>
          <p:nvPr userDrawn="1">
            <p:custDataLst>
              <p:tags r:id="rId4"/>
            </p:custDataLst>
          </p:nvPr>
        </p:nvSpPr>
        <p:spPr>
          <a:xfrm>
            <a:off x="3581400" y="704088"/>
            <a:ext cx="5939414" cy="138499"/>
          </a:xfrm>
          <a:prstGeom prst="rect">
            <a:avLst/>
          </a:prstGeom>
          <a:noFill/>
          <a:ln>
            <a:noFill/>
          </a:ln>
        </p:spPr>
        <p:txBody>
          <a:bodyPr wrap="square" lIns="0" tIns="0" rIns="0" bIns="0" rtlCol="0">
            <a:spAutoFit/>
          </a:bodyPr>
          <a:lstStyle/>
          <a:p>
            <a:endParaRPr lang="en-GB" sz="900" noProof="1" smtClean="0">
              <a:solidFill>
                <a:schemeClr val="tx1"/>
              </a:solidFill>
              <a:latin typeface="+mn-lt"/>
              <a:cs typeface="Arial" pitchFamily="34" charset="0"/>
            </a:endParaRPr>
          </a:p>
        </p:txBody>
      </p:sp>
      <p:cxnSp>
        <p:nvCxnSpPr>
          <p:cNvPr id="50" name="Straight Connector 49"/>
          <p:cNvCxnSpPr/>
          <p:nvPr userDrawn="1"/>
        </p:nvCxnSpPr>
        <p:spPr>
          <a:xfrm>
            <a:off x="530351" y="7086600"/>
            <a:ext cx="899769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5292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3" name="Section Footer"/>
          <p:cNvSpPr txBox="1"/>
          <p:nvPr userDrawn="1">
            <p:custDataLst>
              <p:tags r:id="rId5"/>
            </p:custDataLst>
          </p:nvPr>
        </p:nvSpPr>
        <p:spPr>
          <a:xfrm>
            <a:off x="530352" y="7128974"/>
            <a:ext cx="2898648" cy="169277"/>
          </a:xfrm>
          <a:prstGeom prst="rect">
            <a:avLst/>
          </a:prstGeom>
          <a:noFill/>
          <a:ln>
            <a:noFill/>
          </a:ln>
        </p:spPr>
        <p:txBody>
          <a:bodyPr wrap="square" lIns="0" tIns="0" rIns="0" bIns="0" rtlCol="0" anchor="b" anchorCtr="0">
            <a:spAutoFit/>
          </a:bodyPr>
          <a:lstStyle/>
          <a:p>
            <a:endParaRPr lang="en-GB" sz="1100" noProof="1" smtClean="0">
              <a:solidFill>
                <a:schemeClr val="tx1"/>
              </a:solidFill>
              <a:latin typeface="+mj-lt"/>
            </a:endParaRPr>
          </a:p>
        </p:txBody>
      </p:sp>
      <p:sp>
        <p:nvSpPr>
          <p:cNvPr id="28" name="Section Header"/>
          <p:cNvSpPr txBox="1"/>
          <p:nvPr userDrawn="1">
            <p:custDataLst>
              <p:tags r:id="rId6"/>
            </p:custDataLst>
          </p:nvPr>
        </p:nvSpPr>
        <p:spPr>
          <a:xfrm>
            <a:off x="530351" y="704088"/>
            <a:ext cx="3034379" cy="137160"/>
          </a:xfrm>
          <a:prstGeom prst="rect">
            <a:avLst/>
          </a:prstGeom>
          <a:noFill/>
        </p:spPr>
        <p:txBody>
          <a:bodyPr wrap="square" lIns="0" tIns="0" rIns="0" bIns="0" rtlCol="0" anchor="b" anchorCtr="0">
            <a:noAutofit/>
          </a:bodyPr>
          <a:lstStyle/>
          <a:p>
            <a:endParaRPr lang="en-GB" sz="900" noProof="1" smtClean="0">
              <a:solidFill>
                <a:schemeClr val="tx1"/>
              </a:solidFill>
            </a:endParaRPr>
          </a:p>
        </p:txBody>
      </p:sp>
      <p:sp>
        <p:nvSpPr>
          <p:cNvPr id="27" name="Draft stamp" hidden="1"/>
          <p:cNvSpPr txBox="1"/>
          <p:nvPr userDrawn="1">
            <p:custDataLst>
              <p:tags r:id="rId7"/>
            </p:custDataLst>
          </p:nvPr>
        </p:nvSpPr>
        <p:spPr>
          <a:xfrm>
            <a:off x="3584448" y="7301371"/>
            <a:ext cx="2130552" cy="169277"/>
          </a:xfrm>
          <a:prstGeom prst="rect">
            <a:avLst/>
          </a:prstGeom>
          <a:noFill/>
          <a:ln>
            <a:noFill/>
          </a:ln>
        </p:spPr>
        <p:txBody>
          <a:bodyPr wrap="square" lIns="0" tIns="0" rIns="0" bIns="0" rtlCol="0">
            <a:spAutoFit/>
          </a:bodyPr>
          <a:lstStyle/>
          <a:p>
            <a:pPr algn="l"/>
            <a:r>
              <a:rPr lang="zh-CN" altLang="en-GB" sz="1100" noProof="1" smtClean="0">
                <a:latin typeface="宋体" panose="02010600030101010101" pitchFamily="2" charset="-122"/>
                <a:ea typeface="宋体" panose="02010600030101010101" pitchFamily="2" charset="-122"/>
              </a:rPr>
              <a:t>草稿</a:t>
            </a:r>
            <a:endParaRPr lang="en-GB" sz="1100" noProof="1">
              <a:latin typeface="宋体" panose="02010600030101010101" pitchFamily="2" charset="-122"/>
              <a:ea typeface="宋体" panose="02010600030101010101" pitchFamily="2" charset="-122"/>
            </a:endParaRPr>
          </a:p>
        </p:txBody>
      </p:sp>
      <p:sp>
        <p:nvSpPr>
          <p:cNvPr id="21" name="Date/Filepath" hidden="1"/>
          <p:cNvSpPr txBox="1"/>
          <p:nvPr userDrawn="1">
            <p:custDataLst>
              <p:tags r:id="rId8"/>
            </p:custDataLst>
          </p:nvPr>
        </p:nvSpPr>
        <p:spPr>
          <a:xfrm>
            <a:off x="3299464" y="303092"/>
            <a:ext cx="6217920" cy="138499"/>
          </a:xfrm>
          <a:prstGeom prst="rect">
            <a:avLst/>
          </a:prstGeom>
          <a:noFill/>
        </p:spPr>
        <p:txBody>
          <a:bodyPr wrap="square" lIns="0" tIns="0" rIns="0" bIns="0" rtlCol="0" anchor="b" anchorCtr="0">
            <a:spAutoFit/>
          </a:bodyPr>
          <a:lstStyle/>
          <a:p>
            <a:pPr algn="r"/>
            <a:r>
              <a:rPr lang="en-GB" sz="900" noProof="1" smtClean="0"/>
              <a:t>8/15/2018 C:\Users\Wendy Guo\Documents\Presentationmaterials\PRC GAAR -Wendy Guo (PwC)_092018.pptx</a:t>
            </a:r>
            <a:endParaRPr lang="en-GB" sz="900" noProof="1"/>
          </a:p>
        </p:txBody>
      </p:sp>
      <p:sp>
        <p:nvSpPr>
          <p:cNvPr id="19" name="Slide Tags" hidden="1"/>
          <p:cNvSpPr txBox="1"/>
          <p:nvPr userDrawn="1">
            <p:custDataLst>
              <p:tags r:id="rId9"/>
            </p:custDataLst>
          </p:nvPr>
        </p:nvSpPr>
        <p:spPr>
          <a:xfrm>
            <a:off x="0" y="228600"/>
            <a:ext cx="1600200" cy="261610"/>
          </a:xfrm>
          <a:prstGeom prst="rect">
            <a:avLst/>
          </a:prstGeom>
          <a:noFill/>
        </p:spPr>
        <p:txBody>
          <a:bodyPr wrap="square" rtlCol="0">
            <a:spAutoFit/>
          </a:bodyPr>
          <a:lstStyle/>
          <a:p>
            <a:r>
              <a:rPr lang="en-GB" noProof="1" smtClean="0"/>
              <a:t>Slide Tags</a:t>
            </a:r>
            <a:endParaRPr lang="en-GB" noProof="1"/>
          </a:p>
        </p:txBody>
      </p:sp>
      <p:cxnSp>
        <p:nvCxnSpPr>
          <p:cNvPr id="26"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p:txBody>
          <a:bodyPr/>
          <a:lstStyle/>
          <a:p>
            <a:r>
              <a:rPr lang="en-GB" dirty="0" smtClean="0"/>
              <a:t>Insert banner statement here</a:t>
            </a:r>
            <a:endParaRPr lang="en-GB"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Two">
    <p:spTree>
      <p:nvGrpSpPr>
        <p:cNvPr id="1" name=""/>
        <p:cNvGrpSpPr/>
        <p:nvPr/>
      </p:nvGrpSpPr>
      <p:grpSpPr>
        <a:xfrm>
          <a:off x="0" y="0"/>
          <a:ext cx="0" cy="0"/>
          <a:chOff x="0" y="0"/>
          <a:chExt cx="0" cy="0"/>
        </a:xfrm>
      </p:grpSpPr>
      <p:sp>
        <p:nvSpPr>
          <p:cNvPr id="34" name="Content Placeholder 2"/>
          <p:cNvSpPr>
            <a:spLocks noGrp="1"/>
          </p:cNvSpPr>
          <p:nvPr>
            <p:ph sz="quarter" idx="24"/>
            <p:custDataLst>
              <p:tags r:id="rId1"/>
            </p:custDataLst>
          </p:nvPr>
        </p:nvSpPr>
        <p:spPr>
          <a:xfrm>
            <a:off x="530352" y="2057400"/>
            <a:ext cx="4425696" cy="4882896"/>
          </a:xfrm>
        </p:spPr>
        <p:txBody>
          <a:bodyPr tIns="0" bIns="0"/>
          <a:lstStyle>
            <a:lvl1pPr>
              <a:defRPr sz="2000"/>
            </a:lvl1pPr>
            <a:lvl2pPr>
              <a:defRPr sz="2000"/>
            </a:lvl2pPr>
            <a:lvl3pPr>
              <a:defRPr sz="2000"/>
            </a:lvl3pPr>
            <a:lvl4pPr>
              <a:defRPr sz="2000"/>
            </a:lvl4pPr>
            <a:lvl5pPr>
              <a:defRPr sz="2000"/>
            </a:lvl5pPr>
          </a:lstStyle>
          <a:p>
            <a:pPr lvl="0"/>
            <a:r>
              <a:rPr lang="en-GB" noProof="0" dirty="0" smtClean="0"/>
              <a:t>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6" name="Content Placeholder 3"/>
          <p:cNvSpPr>
            <a:spLocks noGrp="1"/>
          </p:cNvSpPr>
          <p:nvPr>
            <p:ph sz="quarter" idx="25"/>
            <p:custDataLst>
              <p:tags r:id="rId2"/>
            </p:custDataLst>
          </p:nvPr>
        </p:nvSpPr>
        <p:spPr>
          <a:xfrm>
            <a:off x="5102352" y="2057400"/>
            <a:ext cx="4425696" cy="4882896"/>
          </a:xfrm>
        </p:spPr>
        <p:txBody>
          <a:bodyPr tIns="0" bIns="0"/>
          <a:lstStyle>
            <a:lvl1pPr>
              <a:defRPr sz="2000"/>
            </a:lvl1pPr>
            <a:lvl2pPr>
              <a:defRPr sz="2000"/>
            </a:lvl2pPr>
            <a:lvl3pPr>
              <a:defRPr sz="2000"/>
            </a:lvl3pPr>
            <a:lvl4pPr>
              <a:defRPr sz="2000"/>
            </a:lvl4pPr>
            <a:lvl5pPr>
              <a:defRPr sz="2000"/>
            </a:lvl5pPr>
          </a:lstStyle>
          <a:p>
            <a:pPr lvl="0"/>
            <a:r>
              <a:rPr lang="en-GB" noProof="0" dirty="0" smtClean="0"/>
              <a:t>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4" name="PwC Text"/>
          <p:cNvSpPr txBox="1"/>
          <p:nvPr userDrawn="1"/>
        </p:nvSpPr>
        <p:spPr>
          <a:xfrm>
            <a:off x="530352" y="7344000"/>
            <a:ext cx="274320" cy="107157"/>
          </a:xfrm>
          <a:prstGeom prst="rect">
            <a:avLst/>
          </a:prstGeom>
          <a:noFill/>
        </p:spPr>
        <p:txBody>
          <a:bodyPr vert="horz" wrap="none" lIns="0" tIns="0" rIns="0" bIns="0" rtlCol="0" anchor="t" anchorCtr="0">
            <a:noAutofit/>
          </a:bodyPr>
          <a:lstStyle/>
          <a:p>
            <a:pPr>
              <a:lnSpc>
                <a:spcPts val="1000"/>
              </a:lnSpc>
            </a:pPr>
            <a:r>
              <a:rPr lang="en-GB" sz="1100" noProof="1" smtClean="0">
                <a:latin typeface="+mj-lt"/>
                <a:cs typeface="Arial" pitchFamily="34" charset="0"/>
              </a:rPr>
              <a:t>PwC</a:t>
            </a:r>
            <a:endParaRPr lang="en-GB" sz="1100" noProof="1">
              <a:latin typeface="+mj-lt"/>
              <a:cs typeface="Arial" pitchFamily="34" charset="0"/>
            </a:endParaRPr>
          </a:p>
        </p:txBody>
      </p:sp>
      <p:sp>
        <p:nvSpPr>
          <p:cNvPr id="25" name="Report Date"/>
          <p:cNvSpPr txBox="1"/>
          <p:nvPr userDrawn="1">
            <p:custDataLst>
              <p:tags r:id="rId3"/>
            </p:custDataLst>
          </p:nvPr>
        </p:nvSpPr>
        <p:spPr>
          <a:xfrm>
            <a:off x="8500778" y="7128974"/>
            <a:ext cx="1017907" cy="169277"/>
          </a:xfrm>
          <a:prstGeom prst="rect">
            <a:avLst/>
          </a:prstGeom>
          <a:noFill/>
        </p:spPr>
        <p:txBody>
          <a:bodyPr wrap="none" lIns="0" tIns="0" rIns="0" bIns="0" rtlCol="0">
            <a:spAutoFit/>
          </a:bodyPr>
          <a:lstStyle/>
          <a:p>
            <a:pPr indent="-274320" algn="r">
              <a:spcAft>
                <a:spcPts val="900"/>
              </a:spcAft>
            </a:pPr>
            <a:r>
              <a:rPr lang="en-GB" altLang="zh-CN" sz="1100" noProof="1" smtClean="0">
                <a:latin typeface="+mj-lt"/>
              </a:rPr>
              <a:t>September 2018</a:t>
            </a:r>
            <a:endParaRPr lang="en-GB" sz="1100" noProof="1" smtClean="0">
              <a:latin typeface="+mj-lt"/>
            </a:endParaRPr>
          </a:p>
        </p:txBody>
      </p:sp>
      <p:sp>
        <p:nvSpPr>
          <p:cNvPr id="31" name="Page Number"/>
          <p:cNvSpPr txBox="1"/>
          <p:nvPr userDrawn="1">
            <p:custDataLst>
              <p:tags r:id="rId4"/>
            </p:custDataLst>
          </p:nvPr>
        </p:nvSpPr>
        <p:spPr>
          <a:xfrm>
            <a:off x="9217152" y="7315200"/>
            <a:ext cx="320040" cy="155448"/>
          </a:xfrm>
          <a:prstGeom prst="rect">
            <a:avLst/>
          </a:prstGeom>
          <a:noFill/>
        </p:spPr>
        <p:txBody>
          <a:bodyPr wrap="none" lIns="0" tIns="0" rIns="0" bIns="0" rtlCol="0">
            <a:noAutofit/>
          </a:bodyPr>
          <a:lstStyle/>
          <a:p>
            <a:pPr algn="r">
              <a:lnSpc>
                <a:spcPts val="1000"/>
              </a:lnSpc>
            </a:pPr>
            <a:endParaRPr lang="en-GB" sz="1100" noProof="1" smtClean="0"/>
          </a:p>
        </p:txBody>
      </p:sp>
      <p:sp>
        <p:nvSpPr>
          <p:cNvPr id="45" name="HeaderTOCPlaceholder"/>
          <p:cNvSpPr txBox="1"/>
          <p:nvPr userDrawn="1">
            <p:custDataLst>
              <p:tags r:id="rId5"/>
            </p:custDataLst>
          </p:nvPr>
        </p:nvSpPr>
        <p:spPr>
          <a:xfrm>
            <a:off x="3581400" y="704088"/>
            <a:ext cx="5939414" cy="138499"/>
          </a:xfrm>
          <a:prstGeom prst="rect">
            <a:avLst/>
          </a:prstGeom>
          <a:noFill/>
          <a:ln>
            <a:noFill/>
          </a:ln>
        </p:spPr>
        <p:txBody>
          <a:bodyPr wrap="square" lIns="0" tIns="0" rIns="0" bIns="0" rtlCol="0">
            <a:spAutoFit/>
          </a:bodyPr>
          <a:lstStyle/>
          <a:p>
            <a:endParaRPr lang="en-GB" sz="900" noProof="1" smtClean="0">
              <a:solidFill>
                <a:schemeClr val="tx1"/>
              </a:solidFill>
              <a:latin typeface="+mn-lt"/>
              <a:cs typeface="Arial" pitchFamily="34" charset="0"/>
            </a:endParaRPr>
          </a:p>
        </p:txBody>
      </p:sp>
      <p:sp>
        <p:nvSpPr>
          <p:cNvPr id="48" name="Presentation Disclaimer" hidden="1"/>
          <p:cNvSpPr txBox="1"/>
          <p:nvPr userDrawn="1">
            <p:custDataLst>
              <p:tags r:id="rId6"/>
            </p:custDataLst>
          </p:nvPr>
        </p:nvSpPr>
        <p:spPr>
          <a:xfrm>
            <a:off x="3584448" y="7128974"/>
            <a:ext cx="65" cy="169277"/>
          </a:xfrm>
          <a:prstGeom prst="rect">
            <a:avLst/>
          </a:prstGeom>
          <a:noFill/>
        </p:spPr>
        <p:txBody>
          <a:bodyPr wrap="none" lIns="0" tIns="0" rIns="0" bIns="0" rtlCol="0" anchor="t" anchorCtr="0">
            <a:spAutoFit/>
          </a:bodyPr>
          <a:lstStyle/>
          <a:p>
            <a:pPr algn="l"/>
            <a:endParaRPr lang="en-GB" sz="1100" noProof="1" smtClean="0"/>
          </a:p>
        </p:txBody>
      </p:sp>
      <p:cxnSp>
        <p:nvCxnSpPr>
          <p:cNvPr id="50" name="Straight Connector 49"/>
          <p:cNvCxnSpPr/>
          <p:nvPr userDrawn="1"/>
        </p:nvCxnSpPr>
        <p:spPr>
          <a:xfrm>
            <a:off x="530351" y="7086600"/>
            <a:ext cx="899769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5292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3" name="Section Footer"/>
          <p:cNvSpPr txBox="1"/>
          <p:nvPr userDrawn="1">
            <p:custDataLst>
              <p:tags r:id="rId7"/>
            </p:custDataLst>
          </p:nvPr>
        </p:nvSpPr>
        <p:spPr>
          <a:xfrm>
            <a:off x="530352" y="7128974"/>
            <a:ext cx="2898648" cy="169277"/>
          </a:xfrm>
          <a:prstGeom prst="rect">
            <a:avLst/>
          </a:prstGeom>
          <a:noFill/>
          <a:ln>
            <a:noFill/>
          </a:ln>
        </p:spPr>
        <p:txBody>
          <a:bodyPr wrap="square" lIns="0" tIns="0" rIns="0" bIns="0" rtlCol="0" anchor="b" anchorCtr="0">
            <a:spAutoFit/>
          </a:bodyPr>
          <a:lstStyle/>
          <a:p>
            <a:endParaRPr lang="en-GB" sz="1100" noProof="1" smtClean="0">
              <a:solidFill>
                <a:schemeClr val="tx1"/>
              </a:solidFill>
              <a:latin typeface="+mj-lt"/>
            </a:endParaRPr>
          </a:p>
        </p:txBody>
      </p:sp>
      <p:sp>
        <p:nvSpPr>
          <p:cNvPr id="28" name="Section Header"/>
          <p:cNvSpPr txBox="1"/>
          <p:nvPr userDrawn="1">
            <p:custDataLst>
              <p:tags r:id="rId8"/>
            </p:custDataLst>
          </p:nvPr>
        </p:nvSpPr>
        <p:spPr>
          <a:xfrm>
            <a:off x="530351" y="704088"/>
            <a:ext cx="3034379" cy="137160"/>
          </a:xfrm>
          <a:prstGeom prst="rect">
            <a:avLst/>
          </a:prstGeom>
          <a:noFill/>
        </p:spPr>
        <p:txBody>
          <a:bodyPr wrap="square" lIns="0" tIns="0" rIns="0" bIns="0" rtlCol="0" anchor="b" anchorCtr="0">
            <a:noAutofit/>
          </a:bodyPr>
          <a:lstStyle/>
          <a:p>
            <a:endParaRPr lang="en-GB" sz="900" noProof="1" smtClean="0">
              <a:solidFill>
                <a:schemeClr val="tx1"/>
              </a:solidFill>
            </a:endParaRPr>
          </a:p>
        </p:txBody>
      </p:sp>
      <p:sp>
        <p:nvSpPr>
          <p:cNvPr id="27" name="Draft stamp" hidden="1"/>
          <p:cNvSpPr txBox="1"/>
          <p:nvPr userDrawn="1">
            <p:custDataLst>
              <p:tags r:id="rId9"/>
            </p:custDataLst>
          </p:nvPr>
        </p:nvSpPr>
        <p:spPr>
          <a:xfrm>
            <a:off x="3584448" y="7301371"/>
            <a:ext cx="2130552" cy="169277"/>
          </a:xfrm>
          <a:prstGeom prst="rect">
            <a:avLst/>
          </a:prstGeom>
          <a:noFill/>
          <a:ln>
            <a:noFill/>
          </a:ln>
        </p:spPr>
        <p:txBody>
          <a:bodyPr wrap="square" lIns="0" tIns="0" rIns="0" bIns="0" rtlCol="0">
            <a:spAutoFit/>
          </a:bodyPr>
          <a:lstStyle/>
          <a:p>
            <a:pPr algn="l"/>
            <a:r>
              <a:rPr lang="zh-CN" altLang="en-GB" sz="1100" noProof="1" smtClean="0"/>
              <a:t>草稿</a:t>
            </a:r>
            <a:endParaRPr lang="en-GB" sz="1100" noProof="1"/>
          </a:p>
        </p:txBody>
      </p:sp>
      <p:sp>
        <p:nvSpPr>
          <p:cNvPr id="21" name="Date/Filepath" hidden="1"/>
          <p:cNvSpPr txBox="1"/>
          <p:nvPr userDrawn="1">
            <p:custDataLst>
              <p:tags r:id="rId10"/>
            </p:custDataLst>
          </p:nvPr>
        </p:nvSpPr>
        <p:spPr>
          <a:xfrm>
            <a:off x="3299464" y="303092"/>
            <a:ext cx="6217920" cy="138499"/>
          </a:xfrm>
          <a:prstGeom prst="rect">
            <a:avLst/>
          </a:prstGeom>
          <a:noFill/>
        </p:spPr>
        <p:txBody>
          <a:bodyPr wrap="square" lIns="0" tIns="0" rIns="0" bIns="0" rtlCol="0" anchor="b" anchorCtr="0">
            <a:spAutoFit/>
          </a:bodyPr>
          <a:lstStyle/>
          <a:p>
            <a:pPr algn="r"/>
            <a:r>
              <a:rPr lang="en-GB" sz="900" noProof="1" smtClean="0"/>
              <a:t>8/15/2018 C:\Users\Wendy Guo\Documents\Presentationmaterials\PRC GAAR -Wendy Guo (PwC)_092018.pptx</a:t>
            </a:r>
            <a:endParaRPr lang="en-GB" sz="900" noProof="1"/>
          </a:p>
        </p:txBody>
      </p:sp>
      <p:sp>
        <p:nvSpPr>
          <p:cNvPr id="19" name="Slide Tags" hidden="1"/>
          <p:cNvSpPr txBox="1"/>
          <p:nvPr userDrawn="1">
            <p:custDataLst>
              <p:tags r:id="rId11"/>
            </p:custDataLst>
          </p:nvPr>
        </p:nvSpPr>
        <p:spPr>
          <a:xfrm>
            <a:off x="0" y="228600"/>
            <a:ext cx="1600200" cy="261610"/>
          </a:xfrm>
          <a:prstGeom prst="rect">
            <a:avLst/>
          </a:prstGeom>
          <a:noFill/>
        </p:spPr>
        <p:txBody>
          <a:bodyPr wrap="square" rtlCol="0">
            <a:spAutoFit/>
          </a:bodyPr>
          <a:lstStyle/>
          <a:p>
            <a:r>
              <a:rPr lang="en-GB" noProof="1" smtClean="0"/>
              <a:t>Slide Tags</a:t>
            </a:r>
            <a:endParaRPr lang="en-GB" noProof="1"/>
          </a:p>
        </p:txBody>
      </p:sp>
      <p:cxnSp>
        <p:nvCxnSpPr>
          <p:cNvPr id="22"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itle 19"/>
          <p:cNvSpPr>
            <a:spLocks noGrp="1"/>
          </p:cNvSpPr>
          <p:nvPr>
            <p:ph type="title" hasCustomPrompt="1"/>
          </p:nvPr>
        </p:nvSpPr>
        <p:spPr/>
        <p:txBody>
          <a:bodyPr/>
          <a:lstStyle/>
          <a:p>
            <a:r>
              <a:rPr lang="en-GB" noProof="0" dirty="0" smtClean="0"/>
              <a:t>Insert banner statement here</a:t>
            </a:r>
            <a:endParaRPr lang="en-GB" dirty="0"/>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Large left">
    <p:spTree>
      <p:nvGrpSpPr>
        <p:cNvPr id="1" name=""/>
        <p:cNvGrpSpPr/>
        <p:nvPr/>
      </p:nvGrpSpPr>
      <p:grpSpPr>
        <a:xfrm>
          <a:off x="0" y="0"/>
          <a:ext cx="0" cy="0"/>
          <a:chOff x="0" y="0"/>
          <a:chExt cx="0" cy="0"/>
        </a:xfrm>
      </p:grpSpPr>
      <p:sp>
        <p:nvSpPr>
          <p:cNvPr id="34" name="Content Placeholder 2"/>
          <p:cNvSpPr>
            <a:spLocks noGrp="1"/>
          </p:cNvSpPr>
          <p:nvPr>
            <p:ph sz="quarter" idx="24"/>
            <p:custDataLst>
              <p:tags r:id="rId1"/>
            </p:custDataLst>
          </p:nvPr>
        </p:nvSpPr>
        <p:spPr>
          <a:xfrm>
            <a:off x="530352" y="2057400"/>
            <a:ext cx="5956300" cy="4882896"/>
          </a:xfrm>
        </p:spPr>
        <p:txBody>
          <a:bodyPr tIns="0" bIns="0"/>
          <a:lstStyle>
            <a:lvl1pPr>
              <a:defRPr sz="2000"/>
            </a:lvl1pPr>
            <a:lvl2pPr>
              <a:defRPr sz="2000"/>
            </a:lvl2pPr>
            <a:lvl3pPr>
              <a:defRPr sz="2000"/>
            </a:lvl3pPr>
            <a:lvl4pPr>
              <a:defRPr sz="2000"/>
            </a:lvl4pPr>
            <a:lvl5pPr>
              <a:defRPr sz="2000"/>
            </a:lvl5pPr>
          </a:lstStyle>
          <a:p>
            <a:pPr lvl="0"/>
            <a:r>
              <a:rPr lang="en-GB" noProof="0" dirty="0" smtClean="0"/>
              <a:t>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6" name="Content Placeholder 3"/>
          <p:cNvSpPr>
            <a:spLocks noGrp="1"/>
          </p:cNvSpPr>
          <p:nvPr>
            <p:ph sz="quarter" idx="25"/>
            <p:custDataLst>
              <p:tags r:id="rId2"/>
            </p:custDataLst>
          </p:nvPr>
        </p:nvSpPr>
        <p:spPr>
          <a:xfrm>
            <a:off x="6629401" y="2057400"/>
            <a:ext cx="2892552" cy="4882896"/>
          </a:xfrm>
        </p:spPr>
        <p:txBody>
          <a:bodyPr tIns="0" bIns="0"/>
          <a:lstStyle>
            <a:lvl1pPr>
              <a:defRPr sz="2000"/>
            </a:lvl1pPr>
            <a:lvl2pPr>
              <a:defRPr sz="2000"/>
            </a:lvl2pPr>
            <a:lvl3pPr>
              <a:defRPr sz="2000"/>
            </a:lvl3pPr>
            <a:lvl4pPr>
              <a:defRPr sz="2000"/>
            </a:lvl4pPr>
            <a:lvl5pPr>
              <a:defRPr sz="2000"/>
            </a:lvl5pPr>
          </a:lstStyle>
          <a:p>
            <a:pPr lvl="0"/>
            <a:r>
              <a:rPr lang="en-GB" noProof="0" dirty="0" smtClean="0"/>
              <a:t>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4" name="PwC Text"/>
          <p:cNvSpPr txBox="1"/>
          <p:nvPr userDrawn="1"/>
        </p:nvSpPr>
        <p:spPr>
          <a:xfrm>
            <a:off x="530352" y="7344000"/>
            <a:ext cx="45719" cy="107157"/>
          </a:xfrm>
          <a:prstGeom prst="rect">
            <a:avLst/>
          </a:prstGeom>
          <a:noFill/>
        </p:spPr>
        <p:txBody>
          <a:bodyPr vert="horz" wrap="none" lIns="0" tIns="0" rIns="0" bIns="0" rtlCol="0" anchor="t" anchorCtr="0">
            <a:noAutofit/>
          </a:bodyPr>
          <a:lstStyle/>
          <a:p>
            <a:pPr>
              <a:lnSpc>
                <a:spcPts val="1000"/>
              </a:lnSpc>
            </a:pPr>
            <a:r>
              <a:rPr lang="en-GB" sz="1100" noProof="1" smtClean="0">
                <a:latin typeface="+mj-lt"/>
                <a:cs typeface="Arial" pitchFamily="34" charset="0"/>
              </a:rPr>
              <a:t>PwC</a:t>
            </a:r>
            <a:endParaRPr lang="en-GB" sz="1100" noProof="1">
              <a:latin typeface="+mj-lt"/>
              <a:cs typeface="Arial" pitchFamily="34" charset="0"/>
            </a:endParaRPr>
          </a:p>
        </p:txBody>
      </p:sp>
      <p:sp>
        <p:nvSpPr>
          <p:cNvPr id="25" name="Report Date"/>
          <p:cNvSpPr txBox="1"/>
          <p:nvPr userDrawn="1">
            <p:custDataLst>
              <p:tags r:id="rId3"/>
            </p:custDataLst>
          </p:nvPr>
        </p:nvSpPr>
        <p:spPr>
          <a:xfrm>
            <a:off x="8476733" y="7128974"/>
            <a:ext cx="1041952" cy="169277"/>
          </a:xfrm>
          <a:prstGeom prst="rect">
            <a:avLst/>
          </a:prstGeom>
          <a:noFill/>
        </p:spPr>
        <p:txBody>
          <a:bodyPr wrap="none" lIns="0" tIns="0" rIns="0" bIns="0" rtlCol="0">
            <a:spAutoFit/>
          </a:bodyPr>
          <a:lstStyle/>
          <a:p>
            <a:pPr indent="-274320" algn="r">
              <a:spcAft>
                <a:spcPts val="900"/>
              </a:spcAft>
            </a:pPr>
            <a:r>
              <a:rPr lang="en-GB" altLang="zh-CN" sz="1100" noProof="1" smtClean="0">
                <a:latin typeface="+mn-lt"/>
              </a:rPr>
              <a:t>September 2018</a:t>
            </a:r>
            <a:endParaRPr lang="en-GB" sz="1100" noProof="1" smtClean="0">
              <a:latin typeface="+mn-lt"/>
            </a:endParaRPr>
          </a:p>
        </p:txBody>
      </p:sp>
      <p:sp>
        <p:nvSpPr>
          <p:cNvPr id="31" name="Page Number"/>
          <p:cNvSpPr txBox="1"/>
          <p:nvPr userDrawn="1">
            <p:custDataLst>
              <p:tags r:id="rId4"/>
            </p:custDataLst>
          </p:nvPr>
        </p:nvSpPr>
        <p:spPr>
          <a:xfrm>
            <a:off x="9217152" y="7315200"/>
            <a:ext cx="320040" cy="155448"/>
          </a:xfrm>
          <a:prstGeom prst="rect">
            <a:avLst/>
          </a:prstGeom>
          <a:noFill/>
        </p:spPr>
        <p:txBody>
          <a:bodyPr wrap="none" lIns="0" tIns="0" rIns="0" bIns="0" rtlCol="0">
            <a:noAutofit/>
          </a:bodyPr>
          <a:lstStyle/>
          <a:p>
            <a:pPr algn="r">
              <a:lnSpc>
                <a:spcPts val="1000"/>
              </a:lnSpc>
            </a:pPr>
            <a:endParaRPr lang="en-GB" sz="1100" noProof="1" smtClean="0"/>
          </a:p>
        </p:txBody>
      </p:sp>
      <p:sp>
        <p:nvSpPr>
          <p:cNvPr id="45" name="HeaderTOCPlaceholder"/>
          <p:cNvSpPr txBox="1"/>
          <p:nvPr userDrawn="1">
            <p:custDataLst>
              <p:tags r:id="rId5"/>
            </p:custDataLst>
          </p:nvPr>
        </p:nvSpPr>
        <p:spPr>
          <a:xfrm>
            <a:off x="3581400" y="704088"/>
            <a:ext cx="5939414" cy="138499"/>
          </a:xfrm>
          <a:prstGeom prst="rect">
            <a:avLst/>
          </a:prstGeom>
          <a:noFill/>
          <a:ln>
            <a:noFill/>
          </a:ln>
        </p:spPr>
        <p:txBody>
          <a:bodyPr wrap="square" lIns="0" tIns="0" rIns="0" bIns="0" rtlCol="0">
            <a:spAutoFit/>
          </a:bodyPr>
          <a:lstStyle/>
          <a:p>
            <a:endParaRPr lang="en-GB" sz="900" noProof="1" smtClean="0">
              <a:solidFill>
                <a:schemeClr val="tx1"/>
              </a:solidFill>
              <a:latin typeface="+mn-lt"/>
              <a:cs typeface="Arial" pitchFamily="34" charset="0"/>
            </a:endParaRPr>
          </a:p>
        </p:txBody>
      </p:sp>
      <p:sp>
        <p:nvSpPr>
          <p:cNvPr id="48" name="Presentation Disclaimer" hidden="1"/>
          <p:cNvSpPr txBox="1"/>
          <p:nvPr userDrawn="1">
            <p:custDataLst>
              <p:tags r:id="rId6"/>
            </p:custDataLst>
          </p:nvPr>
        </p:nvSpPr>
        <p:spPr>
          <a:xfrm>
            <a:off x="3584448" y="7128974"/>
            <a:ext cx="65" cy="169277"/>
          </a:xfrm>
          <a:prstGeom prst="rect">
            <a:avLst/>
          </a:prstGeom>
          <a:noFill/>
        </p:spPr>
        <p:txBody>
          <a:bodyPr wrap="none" lIns="0" tIns="0" rIns="0" bIns="0" rtlCol="0" anchor="t" anchorCtr="0">
            <a:spAutoFit/>
          </a:bodyPr>
          <a:lstStyle/>
          <a:p>
            <a:pPr algn="l"/>
            <a:endParaRPr lang="en-GB" sz="1100" noProof="1" smtClean="0"/>
          </a:p>
        </p:txBody>
      </p:sp>
      <p:cxnSp>
        <p:nvCxnSpPr>
          <p:cNvPr id="50" name="Straight Connector 49"/>
          <p:cNvCxnSpPr/>
          <p:nvPr userDrawn="1"/>
        </p:nvCxnSpPr>
        <p:spPr>
          <a:xfrm>
            <a:off x="530351" y="7086600"/>
            <a:ext cx="899769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5292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3" name="Section Footer"/>
          <p:cNvSpPr txBox="1"/>
          <p:nvPr userDrawn="1">
            <p:custDataLst>
              <p:tags r:id="rId7"/>
            </p:custDataLst>
          </p:nvPr>
        </p:nvSpPr>
        <p:spPr>
          <a:xfrm>
            <a:off x="530352" y="7128974"/>
            <a:ext cx="2898648" cy="169277"/>
          </a:xfrm>
          <a:prstGeom prst="rect">
            <a:avLst/>
          </a:prstGeom>
          <a:noFill/>
          <a:ln>
            <a:noFill/>
          </a:ln>
        </p:spPr>
        <p:txBody>
          <a:bodyPr wrap="square" lIns="0" tIns="0" rIns="0" bIns="0" rtlCol="0" anchor="b" anchorCtr="0">
            <a:spAutoFit/>
          </a:bodyPr>
          <a:lstStyle/>
          <a:p>
            <a:endParaRPr lang="en-GB" sz="1100" noProof="1" smtClean="0">
              <a:solidFill>
                <a:schemeClr val="tx1"/>
              </a:solidFill>
            </a:endParaRPr>
          </a:p>
        </p:txBody>
      </p:sp>
      <p:sp>
        <p:nvSpPr>
          <p:cNvPr id="28" name="Section Header"/>
          <p:cNvSpPr txBox="1"/>
          <p:nvPr userDrawn="1">
            <p:custDataLst>
              <p:tags r:id="rId8"/>
            </p:custDataLst>
          </p:nvPr>
        </p:nvSpPr>
        <p:spPr>
          <a:xfrm>
            <a:off x="530351" y="704088"/>
            <a:ext cx="3034379" cy="137160"/>
          </a:xfrm>
          <a:prstGeom prst="rect">
            <a:avLst/>
          </a:prstGeom>
          <a:noFill/>
        </p:spPr>
        <p:txBody>
          <a:bodyPr wrap="square" lIns="0" tIns="0" rIns="0" bIns="0" rtlCol="0" anchor="b" anchorCtr="0">
            <a:noAutofit/>
          </a:bodyPr>
          <a:lstStyle/>
          <a:p>
            <a:endParaRPr lang="en-GB" sz="900" noProof="1" smtClean="0">
              <a:solidFill>
                <a:schemeClr val="tx1"/>
              </a:solidFill>
            </a:endParaRPr>
          </a:p>
        </p:txBody>
      </p:sp>
      <p:sp>
        <p:nvSpPr>
          <p:cNvPr id="27" name="Draft stamp" hidden="1"/>
          <p:cNvSpPr txBox="1"/>
          <p:nvPr userDrawn="1">
            <p:custDataLst>
              <p:tags r:id="rId9"/>
            </p:custDataLst>
          </p:nvPr>
        </p:nvSpPr>
        <p:spPr>
          <a:xfrm>
            <a:off x="3584448" y="7301371"/>
            <a:ext cx="2130552" cy="169277"/>
          </a:xfrm>
          <a:prstGeom prst="rect">
            <a:avLst/>
          </a:prstGeom>
          <a:noFill/>
          <a:ln>
            <a:noFill/>
          </a:ln>
        </p:spPr>
        <p:txBody>
          <a:bodyPr wrap="square" lIns="0" tIns="0" rIns="0" bIns="0" rtlCol="0">
            <a:spAutoFit/>
          </a:bodyPr>
          <a:lstStyle/>
          <a:p>
            <a:pPr algn="l"/>
            <a:r>
              <a:rPr lang="zh-CN" altLang="en-GB" sz="1100" noProof="1" smtClean="0"/>
              <a:t>草稿</a:t>
            </a:r>
            <a:endParaRPr lang="en-GB" sz="1100" noProof="1"/>
          </a:p>
        </p:txBody>
      </p:sp>
      <p:sp>
        <p:nvSpPr>
          <p:cNvPr id="21" name="Date/Filepath" hidden="1"/>
          <p:cNvSpPr txBox="1"/>
          <p:nvPr userDrawn="1">
            <p:custDataLst>
              <p:tags r:id="rId10"/>
            </p:custDataLst>
          </p:nvPr>
        </p:nvSpPr>
        <p:spPr>
          <a:xfrm>
            <a:off x="3299464" y="303092"/>
            <a:ext cx="6217920" cy="138499"/>
          </a:xfrm>
          <a:prstGeom prst="rect">
            <a:avLst/>
          </a:prstGeom>
          <a:noFill/>
        </p:spPr>
        <p:txBody>
          <a:bodyPr wrap="square" lIns="0" tIns="0" rIns="0" bIns="0" rtlCol="0" anchor="b" anchorCtr="0">
            <a:spAutoFit/>
          </a:bodyPr>
          <a:lstStyle/>
          <a:p>
            <a:pPr algn="r"/>
            <a:r>
              <a:rPr lang="en-GB" sz="900" noProof="1" smtClean="0"/>
              <a:t>8/15/2018 C:\Users\Wendy Guo\Documents\Presentationmaterials\PRC GAAR -Wendy Guo (PwC)_092018.pptx</a:t>
            </a:r>
            <a:endParaRPr lang="en-GB" sz="900" noProof="1"/>
          </a:p>
        </p:txBody>
      </p:sp>
      <p:sp>
        <p:nvSpPr>
          <p:cNvPr id="19" name="Slide Tags" hidden="1"/>
          <p:cNvSpPr txBox="1"/>
          <p:nvPr userDrawn="1">
            <p:custDataLst>
              <p:tags r:id="rId11"/>
            </p:custDataLst>
          </p:nvPr>
        </p:nvSpPr>
        <p:spPr>
          <a:xfrm>
            <a:off x="0" y="228600"/>
            <a:ext cx="1600200" cy="261610"/>
          </a:xfrm>
          <a:prstGeom prst="rect">
            <a:avLst/>
          </a:prstGeom>
          <a:noFill/>
        </p:spPr>
        <p:txBody>
          <a:bodyPr wrap="square" rtlCol="0">
            <a:spAutoFit/>
          </a:bodyPr>
          <a:lstStyle/>
          <a:p>
            <a:r>
              <a:rPr lang="en-GB" noProof="1" smtClean="0"/>
              <a:t>Slide Tags</a:t>
            </a:r>
            <a:endParaRPr lang="en-GB" noProof="1"/>
          </a:p>
        </p:txBody>
      </p:sp>
      <p:cxnSp>
        <p:nvCxnSpPr>
          <p:cNvPr id="22"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itle 19"/>
          <p:cNvSpPr>
            <a:spLocks noGrp="1"/>
          </p:cNvSpPr>
          <p:nvPr>
            <p:ph type="title" hasCustomPrompt="1"/>
          </p:nvPr>
        </p:nvSpPr>
        <p:spPr/>
        <p:txBody>
          <a:bodyPr/>
          <a:lstStyle/>
          <a:p>
            <a:r>
              <a:rPr lang="en-GB" noProof="0" dirty="0" smtClean="0"/>
              <a:t>Insert banner statement here</a:t>
            </a:r>
            <a:endParaRPr lang="en-GB" dirty="0"/>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Two Left">
    <p:spTree>
      <p:nvGrpSpPr>
        <p:cNvPr id="1" name=""/>
        <p:cNvGrpSpPr/>
        <p:nvPr/>
      </p:nvGrpSpPr>
      <p:grpSpPr>
        <a:xfrm>
          <a:off x="0" y="0"/>
          <a:ext cx="0" cy="0"/>
          <a:chOff x="0" y="0"/>
          <a:chExt cx="0" cy="0"/>
        </a:xfrm>
      </p:grpSpPr>
      <p:sp>
        <p:nvSpPr>
          <p:cNvPr id="34" name="Content Placeholder 2"/>
          <p:cNvSpPr>
            <a:spLocks noGrp="1"/>
          </p:cNvSpPr>
          <p:nvPr>
            <p:ph sz="quarter" idx="24"/>
            <p:custDataLst>
              <p:tags r:id="rId1"/>
            </p:custDataLst>
          </p:nvPr>
        </p:nvSpPr>
        <p:spPr>
          <a:xfrm>
            <a:off x="530351" y="2057400"/>
            <a:ext cx="4422649" cy="2362200"/>
          </a:xfrm>
        </p:spPr>
        <p:txBody>
          <a:bodyPr tIns="0" bIns="0"/>
          <a:lstStyle>
            <a:lvl1pPr>
              <a:defRPr sz="2000"/>
            </a:lvl1pPr>
            <a:lvl2pPr>
              <a:defRPr sz="2000"/>
            </a:lvl2pPr>
            <a:lvl3pPr>
              <a:defRPr sz="2000"/>
            </a:lvl3pPr>
            <a:lvl4pPr>
              <a:defRPr sz="2000"/>
            </a:lvl4pPr>
            <a:lvl5pPr>
              <a:defRPr sz="2000"/>
            </a:lvl5pPr>
          </a:lstStyle>
          <a:p>
            <a:pPr lvl="0"/>
            <a:r>
              <a:rPr lang="en-GB" noProof="0" dirty="0" smtClean="0"/>
              <a:t>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6" name="Content Placeholder 3"/>
          <p:cNvSpPr>
            <a:spLocks noGrp="1"/>
          </p:cNvSpPr>
          <p:nvPr>
            <p:ph sz="quarter" idx="25"/>
            <p:custDataLst>
              <p:tags r:id="rId2"/>
            </p:custDataLst>
          </p:nvPr>
        </p:nvSpPr>
        <p:spPr>
          <a:xfrm>
            <a:off x="530351" y="4572000"/>
            <a:ext cx="4422649" cy="2359152"/>
          </a:xfrm>
        </p:spPr>
        <p:txBody>
          <a:bodyPr tIns="0" bIns="0"/>
          <a:lstStyle>
            <a:lvl1pPr>
              <a:defRPr sz="2000"/>
            </a:lvl1pPr>
            <a:lvl2pPr>
              <a:defRPr sz="2000"/>
            </a:lvl2pPr>
            <a:lvl3pPr>
              <a:defRPr sz="2000"/>
            </a:lvl3pPr>
            <a:lvl4pPr>
              <a:defRPr sz="2000"/>
            </a:lvl4pPr>
            <a:lvl5pPr>
              <a:defRPr sz="2000"/>
            </a:lvl5pPr>
          </a:lstStyle>
          <a:p>
            <a:pPr lvl="0"/>
            <a:r>
              <a:rPr lang="en-GB" noProof="0" dirty="0" smtClean="0"/>
              <a:t>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8" name="Content Placeholder 4"/>
          <p:cNvSpPr>
            <a:spLocks noGrp="1"/>
          </p:cNvSpPr>
          <p:nvPr>
            <p:ph sz="quarter" idx="26"/>
            <p:custDataLst>
              <p:tags r:id="rId3"/>
            </p:custDataLst>
          </p:nvPr>
        </p:nvSpPr>
        <p:spPr>
          <a:xfrm>
            <a:off x="5105400" y="2057400"/>
            <a:ext cx="4425696" cy="4882896"/>
          </a:xfrm>
        </p:spPr>
        <p:txBody>
          <a:bodyPr tIns="0" bIns="0"/>
          <a:lstStyle>
            <a:lvl1pPr>
              <a:defRPr sz="2000"/>
            </a:lvl1pPr>
            <a:lvl2pPr>
              <a:defRPr sz="2000"/>
            </a:lvl2pPr>
            <a:lvl3pPr>
              <a:defRPr sz="2000"/>
            </a:lvl3pPr>
            <a:lvl4pPr>
              <a:defRPr sz="2000"/>
            </a:lvl4pPr>
            <a:lvl5pPr>
              <a:defRPr sz="2000"/>
            </a:lvl5pPr>
          </a:lstStyle>
          <a:p>
            <a:pPr lvl="0"/>
            <a:r>
              <a:rPr lang="en-GB" noProof="0" dirty="0" smtClean="0"/>
              <a:t>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6" name="PwC Text"/>
          <p:cNvSpPr txBox="1"/>
          <p:nvPr userDrawn="1"/>
        </p:nvSpPr>
        <p:spPr>
          <a:xfrm>
            <a:off x="530352" y="7344000"/>
            <a:ext cx="274320" cy="107157"/>
          </a:xfrm>
          <a:prstGeom prst="rect">
            <a:avLst/>
          </a:prstGeom>
          <a:noFill/>
        </p:spPr>
        <p:txBody>
          <a:bodyPr vert="horz" wrap="none" lIns="0" tIns="0" rIns="0" bIns="0" rtlCol="0" anchor="t" anchorCtr="0">
            <a:noAutofit/>
          </a:bodyPr>
          <a:lstStyle/>
          <a:p>
            <a:pPr>
              <a:lnSpc>
                <a:spcPts val="1000"/>
              </a:lnSpc>
            </a:pPr>
            <a:r>
              <a:rPr lang="en-GB" sz="1100" noProof="1" smtClean="0">
                <a:latin typeface="+mj-lt"/>
                <a:cs typeface="Arial" pitchFamily="34" charset="0"/>
              </a:rPr>
              <a:t>PwC</a:t>
            </a:r>
            <a:endParaRPr lang="en-GB" sz="1100" noProof="1">
              <a:latin typeface="+mj-lt"/>
              <a:cs typeface="Arial" pitchFamily="34" charset="0"/>
            </a:endParaRPr>
          </a:p>
        </p:txBody>
      </p:sp>
      <p:sp>
        <p:nvSpPr>
          <p:cNvPr id="27" name="Report Date"/>
          <p:cNvSpPr txBox="1"/>
          <p:nvPr userDrawn="1">
            <p:custDataLst>
              <p:tags r:id="rId4"/>
            </p:custDataLst>
          </p:nvPr>
        </p:nvSpPr>
        <p:spPr>
          <a:xfrm>
            <a:off x="8476733" y="7128974"/>
            <a:ext cx="1041952" cy="169277"/>
          </a:xfrm>
          <a:prstGeom prst="rect">
            <a:avLst/>
          </a:prstGeom>
          <a:noFill/>
        </p:spPr>
        <p:txBody>
          <a:bodyPr wrap="none" lIns="0" tIns="0" rIns="0" bIns="0" rtlCol="0">
            <a:spAutoFit/>
          </a:bodyPr>
          <a:lstStyle/>
          <a:p>
            <a:pPr indent="-274320" algn="r">
              <a:spcAft>
                <a:spcPts val="900"/>
              </a:spcAft>
            </a:pPr>
            <a:r>
              <a:rPr lang="en-GB" altLang="zh-CN" sz="1100" noProof="1" smtClean="0">
                <a:latin typeface="+mn-lt"/>
              </a:rPr>
              <a:t>September 2018</a:t>
            </a:r>
            <a:endParaRPr lang="en-GB" sz="1100" noProof="1" smtClean="0">
              <a:latin typeface="+mn-lt"/>
            </a:endParaRPr>
          </a:p>
        </p:txBody>
      </p:sp>
      <p:sp>
        <p:nvSpPr>
          <p:cNvPr id="43" name="Page Number"/>
          <p:cNvSpPr txBox="1"/>
          <p:nvPr userDrawn="1">
            <p:custDataLst>
              <p:tags r:id="rId5"/>
            </p:custDataLst>
          </p:nvPr>
        </p:nvSpPr>
        <p:spPr>
          <a:xfrm>
            <a:off x="9217152" y="7315200"/>
            <a:ext cx="320040" cy="155448"/>
          </a:xfrm>
          <a:prstGeom prst="rect">
            <a:avLst/>
          </a:prstGeom>
          <a:noFill/>
        </p:spPr>
        <p:txBody>
          <a:bodyPr wrap="none" lIns="0" tIns="0" rIns="0" bIns="0" rtlCol="0">
            <a:noAutofit/>
          </a:bodyPr>
          <a:lstStyle/>
          <a:p>
            <a:pPr algn="r">
              <a:lnSpc>
                <a:spcPts val="1000"/>
              </a:lnSpc>
            </a:pPr>
            <a:endParaRPr lang="en-GB" sz="1100" noProof="1" smtClean="0"/>
          </a:p>
        </p:txBody>
      </p:sp>
      <p:sp>
        <p:nvSpPr>
          <p:cNvPr id="44" name="HeaderTOCPlaceholder"/>
          <p:cNvSpPr txBox="1"/>
          <p:nvPr userDrawn="1">
            <p:custDataLst>
              <p:tags r:id="rId6"/>
            </p:custDataLst>
          </p:nvPr>
        </p:nvSpPr>
        <p:spPr>
          <a:xfrm>
            <a:off x="3581400" y="704088"/>
            <a:ext cx="5939414" cy="138499"/>
          </a:xfrm>
          <a:prstGeom prst="rect">
            <a:avLst/>
          </a:prstGeom>
          <a:noFill/>
          <a:ln>
            <a:noFill/>
          </a:ln>
        </p:spPr>
        <p:txBody>
          <a:bodyPr wrap="square" lIns="0" tIns="0" rIns="0" bIns="0" rtlCol="0">
            <a:spAutoFit/>
          </a:bodyPr>
          <a:lstStyle/>
          <a:p>
            <a:endParaRPr lang="en-GB" sz="900" noProof="1" smtClean="0">
              <a:solidFill>
                <a:schemeClr val="tx1"/>
              </a:solidFill>
              <a:latin typeface="+mn-lt"/>
              <a:cs typeface="Arial" pitchFamily="34" charset="0"/>
            </a:endParaRPr>
          </a:p>
        </p:txBody>
      </p:sp>
      <p:sp>
        <p:nvSpPr>
          <p:cNvPr id="48" name="Presentation Disclaimer" hidden="1"/>
          <p:cNvSpPr txBox="1"/>
          <p:nvPr userDrawn="1">
            <p:custDataLst>
              <p:tags r:id="rId7"/>
            </p:custDataLst>
          </p:nvPr>
        </p:nvSpPr>
        <p:spPr>
          <a:xfrm>
            <a:off x="3584448" y="7128974"/>
            <a:ext cx="65" cy="169277"/>
          </a:xfrm>
          <a:prstGeom prst="rect">
            <a:avLst/>
          </a:prstGeom>
          <a:noFill/>
        </p:spPr>
        <p:txBody>
          <a:bodyPr wrap="none" lIns="0" tIns="0" rIns="0" bIns="0" rtlCol="0" anchor="t" anchorCtr="0">
            <a:spAutoFit/>
          </a:bodyPr>
          <a:lstStyle/>
          <a:p>
            <a:pPr algn="l"/>
            <a:endParaRPr lang="en-GB" sz="1100" noProof="1" smtClean="0"/>
          </a:p>
        </p:txBody>
      </p:sp>
      <p:cxnSp>
        <p:nvCxnSpPr>
          <p:cNvPr id="50" name="Straight Connector 49"/>
          <p:cNvCxnSpPr/>
          <p:nvPr userDrawn="1"/>
        </p:nvCxnSpPr>
        <p:spPr>
          <a:xfrm>
            <a:off x="530351" y="7086600"/>
            <a:ext cx="899769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userDrawn="1"/>
        </p:nvCxnSpPr>
        <p:spPr>
          <a:xfrm>
            <a:off x="5364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3" name="Section Footer"/>
          <p:cNvSpPr txBox="1"/>
          <p:nvPr userDrawn="1">
            <p:custDataLst>
              <p:tags r:id="rId8"/>
            </p:custDataLst>
          </p:nvPr>
        </p:nvSpPr>
        <p:spPr>
          <a:xfrm>
            <a:off x="530352" y="7128974"/>
            <a:ext cx="2898648" cy="169277"/>
          </a:xfrm>
          <a:prstGeom prst="rect">
            <a:avLst/>
          </a:prstGeom>
          <a:noFill/>
          <a:ln>
            <a:noFill/>
          </a:ln>
        </p:spPr>
        <p:txBody>
          <a:bodyPr wrap="square" lIns="0" tIns="0" rIns="0" bIns="0" rtlCol="0" anchor="b" anchorCtr="0">
            <a:spAutoFit/>
          </a:bodyPr>
          <a:lstStyle/>
          <a:p>
            <a:endParaRPr lang="en-GB" sz="1100" noProof="1" smtClean="0">
              <a:solidFill>
                <a:schemeClr val="tx1"/>
              </a:solidFill>
            </a:endParaRPr>
          </a:p>
        </p:txBody>
      </p:sp>
      <p:sp>
        <p:nvSpPr>
          <p:cNvPr id="28" name="Section Header"/>
          <p:cNvSpPr txBox="1"/>
          <p:nvPr userDrawn="1">
            <p:custDataLst>
              <p:tags r:id="rId9"/>
            </p:custDataLst>
          </p:nvPr>
        </p:nvSpPr>
        <p:spPr>
          <a:xfrm>
            <a:off x="530351" y="704088"/>
            <a:ext cx="3034379" cy="137160"/>
          </a:xfrm>
          <a:prstGeom prst="rect">
            <a:avLst/>
          </a:prstGeom>
          <a:noFill/>
        </p:spPr>
        <p:txBody>
          <a:bodyPr wrap="square" lIns="0" tIns="0" rIns="0" bIns="0" rtlCol="0" anchor="b" anchorCtr="0">
            <a:noAutofit/>
          </a:bodyPr>
          <a:lstStyle/>
          <a:p>
            <a:endParaRPr lang="en-GB" sz="900" noProof="1" smtClean="0">
              <a:solidFill>
                <a:schemeClr val="tx1"/>
              </a:solidFill>
            </a:endParaRPr>
          </a:p>
        </p:txBody>
      </p:sp>
      <p:sp>
        <p:nvSpPr>
          <p:cNvPr id="30" name="Draft stamp" hidden="1"/>
          <p:cNvSpPr txBox="1"/>
          <p:nvPr userDrawn="1">
            <p:custDataLst>
              <p:tags r:id="rId10"/>
            </p:custDataLst>
          </p:nvPr>
        </p:nvSpPr>
        <p:spPr>
          <a:xfrm>
            <a:off x="3584448" y="7301371"/>
            <a:ext cx="2130552" cy="169277"/>
          </a:xfrm>
          <a:prstGeom prst="rect">
            <a:avLst/>
          </a:prstGeom>
          <a:noFill/>
          <a:ln>
            <a:noFill/>
          </a:ln>
        </p:spPr>
        <p:txBody>
          <a:bodyPr wrap="square" lIns="0" tIns="0" rIns="0" bIns="0" rtlCol="0">
            <a:spAutoFit/>
          </a:bodyPr>
          <a:lstStyle/>
          <a:p>
            <a:pPr algn="l"/>
            <a:r>
              <a:rPr lang="zh-CN" altLang="en-GB" sz="1100" noProof="1" smtClean="0"/>
              <a:t>草稿</a:t>
            </a:r>
            <a:endParaRPr lang="en-GB" sz="1100" noProof="1"/>
          </a:p>
        </p:txBody>
      </p:sp>
      <p:sp>
        <p:nvSpPr>
          <p:cNvPr id="25" name="Date/Filepath" hidden="1"/>
          <p:cNvSpPr txBox="1"/>
          <p:nvPr userDrawn="1">
            <p:custDataLst>
              <p:tags r:id="rId11"/>
            </p:custDataLst>
          </p:nvPr>
        </p:nvSpPr>
        <p:spPr>
          <a:xfrm>
            <a:off x="3299464" y="303092"/>
            <a:ext cx="6217920" cy="138499"/>
          </a:xfrm>
          <a:prstGeom prst="rect">
            <a:avLst/>
          </a:prstGeom>
          <a:noFill/>
        </p:spPr>
        <p:txBody>
          <a:bodyPr wrap="square" lIns="0" tIns="0" rIns="0" bIns="0" rtlCol="0" anchor="b" anchorCtr="0">
            <a:spAutoFit/>
          </a:bodyPr>
          <a:lstStyle/>
          <a:p>
            <a:pPr algn="r"/>
            <a:r>
              <a:rPr lang="en-GB" sz="900" noProof="1" smtClean="0"/>
              <a:t>8/15/2018 C:\Users\Wendy Guo\Documents\Presentationmaterials\PRC GAAR -Wendy Guo (PwC)_092018.pptx</a:t>
            </a:r>
            <a:endParaRPr lang="en-GB" sz="900" noProof="1"/>
          </a:p>
        </p:txBody>
      </p:sp>
      <p:sp>
        <p:nvSpPr>
          <p:cNvPr id="20" name="Slide Tags" hidden="1"/>
          <p:cNvSpPr txBox="1"/>
          <p:nvPr userDrawn="1">
            <p:custDataLst>
              <p:tags r:id="rId12"/>
            </p:custDataLst>
          </p:nvPr>
        </p:nvSpPr>
        <p:spPr>
          <a:xfrm>
            <a:off x="0" y="228600"/>
            <a:ext cx="1600200" cy="261610"/>
          </a:xfrm>
          <a:prstGeom prst="rect">
            <a:avLst/>
          </a:prstGeom>
          <a:noFill/>
        </p:spPr>
        <p:txBody>
          <a:bodyPr wrap="square" rtlCol="0">
            <a:spAutoFit/>
          </a:bodyPr>
          <a:lstStyle/>
          <a:p>
            <a:r>
              <a:rPr lang="en-GB" noProof="1" smtClean="0"/>
              <a:t>Slide Tags</a:t>
            </a:r>
            <a:endParaRPr lang="en-GB" noProof="1"/>
          </a:p>
        </p:txBody>
      </p:sp>
      <p:cxnSp>
        <p:nvCxnSpPr>
          <p:cNvPr id="22"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1" name="Title 20"/>
          <p:cNvSpPr>
            <a:spLocks noGrp="1"/>
          </p:cNvSpPr>
          <p:nvPr>
            <p:ph type="title" hasCustomPrompt="1"/>
          </p:nvPr>
        </p:nvSpPr>
        <p:spPr/>
        <p:txBody>
          <a:bodyPr/>
          <a:lstStyle/>
          <a:p>
            <a:r>
              <a:rPr lang="en-GB" noProof="0" dirty="0" smtClean="0"/>
              <a:t>Insert banner statement here</a:t>
            </a:r>
            <a:endParaRPr lang="en-GB" dirty="0"/>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Three Large Bottom">
    <p:spTree>
      <p:nvGrpSpPr>
        <p:cNvPr id="1" name=""/>
        <p:cNvGrpSpPr/>
        <p:nvPr/>
      </p:nvGrpSpPr>
      <p:grpSpPr>
        <a:xfrm>
          <a:off x="0" y="0"/>
          <a:ext cx="0" cy="0"/>
          <a:chOff x="0" y="0"/>
          <a:chExt cx="0" cy="0"/>
        </a:xfrm>
      </p:grpSpPr>
      <p:sp>
        <p:nvSpPr>
          <p:cNvPr id="16" name="Content Placeholder 2"/>
          <p:cNvSpPr>
            <a:spLocks noGrp="1"/>
          </p:cNvSpPr>
          <p:nvPr>
            <p:ph sz="quarter" idx="10"/>
          </p:nvPr>
        </p:nvSpPr>
        <p:spPr>
          <a:xfrm>
            <a:off x="530352" y="2057400"/>
            <a:ext cx="4425696" cy="1527048"/>
          </a:xfrm>
        </p:spPr>
        <p:txBody>
          <a:bodyPr/>
          <a:lstStyle>
            <a:lvl1pPr>
              <a:defRPr sz="2000"/>
            </a:lvl1pPr>
            <a:lvl2pPr>
              <a:defRPr sz="2000"/>
            </a:lvl2pPr>
            <a:lvl3pPr>
              <a:defRPr sz="2000"/>
            </a:lvl3pPr>
            <a:lvl4pPr>
              <a:defRPr sz="2000"/>
            </a:lvl4pPr>
            <a:lvl5pPr>
              <a:defRPr sz="2000"/>
            </a:lvl5pPr>
          </a:lstStyle>
          <a:p>
            <a:pPr lvl="0"/>
            <a:r>
              <a:rPr lang="en-GB" dirty="0" smtClean="0"/>
              <a:t>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18" name="Content Placeholder 3"/>
          <p:cNvSpPr>
            <a:spLocks noGrp="1"/>
          </p:cNvSpPr>
          <p:nvPr>
            <p:ph sz="quarter" idx="11"/>
          </p:nvPr>
        </p:nvSpPr>
        <p:spPr>
          <a:xfrm>
            <a:off x="5102352" y="2057400"/>
            <a:ext cx="4425696" cy="1527048"/>
          </a:xfrm>
        </p:spPr>
        <p:txBody>
          <a:bodyPr/>
          <a:lstStyle>
            <a:lvl1pPr>
              <a:defRPr sz="2000"/>
            </a:lvl1pPr>
            <a:lvl2pPr>
              <a:defRPr sz="2000"/>
            </a:lvl2pPr>
            <a:lvl3pPr>
              <a:defRPr sz="2000"/>
            </a:lvl3pPr>
            <a:lvl4pPr>
              <a:defRPr sz="2000"/>
            </a:lvl4pPr>
            <a:lvl5pPr>
              <a:defRPr sz="2000"/>
            </a:lvl5pPr>
          </a:lstStyle>
          <a:p>
            <a:pPr lvl="0"/>
            <a:r>
              <a:rPr lang="en-GB" dirty="0" smtClean="0"/>
              <a:t>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0" name="Content Placeholder 4"/>
          <p:cNvSpPr>
            <a:spLocks noGrp="1"/>
          </p:cNvSpPr>
          <p:nvPr>
            <p:ph sz="quarter" idx="12"/>
          </p:nvPr>
        </p:nvSpPr>
        <p:spPr>
          <a:xfrm>
            <a:off x="530352" y="3733800"/>
            <a:ext cx="8997696" cy="3200400"/>
          </a:xfrm>
        </p:spPr>
        <p:txBody>
          <a:bodyPr/>
          <a:lstStyle>
            <a:lvl1pPr>
              <a:defRPr sz="2000"/>
            </a:lvl1pPr>
            <a:lvl2pPr>
              <a:defRPr sz="2000"/>
            </a:lvl2pPr>
            <a:lvl3pPr>
              <a:defRPr sz="2000"/>
            </a:lvl3pPr>
            <a:lvl4pPr>
              <a:defRPr sz="2000"/>
            </a:lvl4pPr>
            <a:lvl5pPr>
              <a:defRPr sz="2000"/>
            </a:lvl5pPr>
          </a:lstStyle>
          <a:p>
            <a:pPr lvl="0"/>
            <a:r>
              <a:rPr lang="en-GB" dirty="0" smtClean="0"/>
              <a:t>Edit Master text styles</a:t>
            </a:r>
          </a:p>
          <a:p>
            <a:pPr lvl="1"/>
            <a:r>
              <a:rPr lang="en-GB" dirty="0" smtClean="0"/>
              <a:t>Second level</a:t>
            </a:r>
          </a:p>
          <a:p>
            <a:pPr lvl="2"/>
            <a:r>
              <a:rPr lang="en-GB" dirty="0" smtClean="0"/>
              <a:t>Third level</a:t>
            </a:r>
          </a:p>
          <a:p>
            <a:pPr lvl="3"/>
            <a:r>
              <a:rPr lang="en-GB" dirty="0" smtClean="0"/>
              <a:t>Fourth level</a:t>
            </a:r>
          </a:p>
          <a:p>
            <a:pPr lvl="4"/>
            <a:r>
              <a:rPr lang="en-GB" dirty="0" smtClean="0"/>
              <a:t>Fifth level</a:t>
            </a:r>
            <a:endParaRPr lang="en-GB" dirty="0"/>
          </a:p>
        </p:txBody>
      </p:sp>
      <p:sp>
        <p:nvSpPr>
          <p:cNvPr id="23" name="PwC Text"/>
          <p:cNvSpPr txBox="1"/>
          <p:nvPr userDrawn="1"/>
        </p:nvSpPr>
        <p:spPr>
          <a:xfrm>
            <a:off x="530352" y="7344000"/>
            <a:ext cx="274320" cy="107157"/>
          </a:xfrm>
          <a:prstGeom prst="rect">
            <a:avLst/>
          </a:prstGeom>
          <a:noFill/>
        </p:spPr>
        <p:txBody>
          <a:bodyPr vert="horz" wrap="none" lIns="0" tIns="0" rIns="0" bIns="0" rtlCol="0" anchor="t" anchorCtr="0">
            <a:noAutofit/>
          </a:bodyPr>
          <a:lstStyle/>
          <a:p>
            <a:pPr>
              <a:lnSpc>
                <a:spcPts val="1000"/>
              </a:lnSpc>
            </a:pPr>
            <a:r>
              <a:rPr lang="en-GB" sz="1100" noProof="1" smtClean="0">
                <a:latin typeface="+mj-lt"/>
                <a:cs typeface="Arial" pitchFamily="34" charset="0"/>
              </a:rPr>
              <a:t>PwC</a:t>
            </a:r>
            <a:endParaRPr lang="en-GB" sz="1100" noProof="1">
              <a:latin typeface="+mj-lt"/>
              <a:cs typeface="Arial" pitchFamily="34" charset="0"/>
            </a:endParaRPr>
          </a:p>
        </p:txBody>
      </p:sp>
      <p:sp>
        <p:nvSpPr>
          <p:cNvPr id="25" name="Report Date"/>
          <p:cNvSpPr txBox="1"/>
          <p:nvPr userDrawn="1">
            <p:custDataLst>
              <p:tags r:id="rId1"/>
            </p:custDataLst>
          </p:nvPr>
        </p:nvSpPr>
        <p:spPr>
          <a:xfrm>
            <a:off x="8476733" y="7128974"/>
            <a:ext cx="1041952" cy="169277"/>
          </a:xfrm>
          <a:prstGeom prst="rect">
            <a:avLst/>
          </a:prstGeom>
          <a:noFill/>
        </p:spPr>
        <p:txBody>
          <a:bodyPr wrap="none" lIns="0" tIns="0" rIns="0" bIns="0" rtlCol="0">
            <a:spAutoFit/>
          </a:bodyPr>
          <a:lstStyle/>
          <a:p>
            <a:pPr indent="-274320" algn="r">
              <a:spcAft>
                <a:spcPts val="900"/>
              </a:spcAft>
            </a:pPr>
            <a:r>
              <a:rPr lang="en-GB" altLang="zh-CN" sz="1100" noProof="1" smtClean="0">
                <a:latin typeface="+mn-lt"/>
              </a:rPr>
              <a:t>September 2018</a:t>
            </a:r>
            <a:endParaRPr lang="en-GB" sz="1100" noProof="1" smtClean="0">
              <a:latin typeface="+mn-lt"/>
            </a:endParaRPr>
          </a:p>
        </p:txBody>
      </p:sp>
      <p:sp>
        <p:nvSpPr>
          <p:cNvPr id="45" name="Page Number"/>
          <p:cNvSpPr txBox="1"/>
          <p:nvPr userDrawn="1">
            <p:custDataLst>
              <p:tags r:id="rId2"/>
            </p:custDataLst>
          </p:nvPr>
        </p:nvSpPr>
        <p:spPr>
          <a:xfrm>
            <a:off x="9217152" y="7315200"/>
            <a:ext cx="320040" cy="155448"/>
          </a:xfrm>
          <a:prstGeom prst="rect">
            <a:avLst/>
          </a:prstGeom>
          <a:noFill/>
        </p:spPr>
        <p:txBody>
          <a:bodyPr wrap="none" lIns="0" tIns="0" rIns="0" bIns="0" rtlCol="0">
            <a:noAutofit/>
          </a:bodyPr>
          <a:lstStyle/>
          <a:p>
            <a:pPr algn="r">
              <a:lnSpc>
                <a:spcPts val="1000"/>
              </a:lnSpc>
            </a:pPr>
            <a:endParaRPr lang="en-GB" sz="1100" noProof="1" smtClean="0"/>
          </a:p>
        </p:txBody>
      </p:sp>
      <p:sp>
        <p:nvSpPr>
          <p:cNvPr id="46" name="HeaderTOCPlaceholder"/>
          <p:cNvSpPr txBox="1"/>
          <p:nvPr userDrawn="1">
            <p:custDataLst>
              <p:tags r:id="rId3"/>
            </p:custDataLst>
          </p:nvPr>
        </p:nvSpPr>
        <p:spPr>
          <a:xfrm>
            <a:off x="3581400" y="704088"/>
            <a:ext cx="5939414" cy="138499"/>
          </a:xfrm>
          <a:prstGeom prst="rect">
            <a:avLst/>
          </a:prstGeom>
          <a:noFill/>
          <a:ln>
            <a:noFill/>
          </a:ln>
        </p:spPr>
        <p:txBody>
          <a:bodyPr wrap="square" lIns="0" tIns="0" rIns="0" bIns="0" rtlCol="0">
            <a:spAutoFit/>
          </a:bodyPr>
          <a:lstStyle/>
          <a:p>
            <a:endParaRPr lang="en-GB" sz="900" noProof="1" smtClean="0">
              <a:solidFill>
                <a:schemeClr val="tx1"/>
              </a:solidFill>
              <a:latin typeface="+mn-lt"/>
              <a:cs typeface="Arial" pitchFamily="34" charset="0"/>
            </a:endParaRPr>
          </a:p>
        </p:txBody>
      </p:sp>
      <p:sp>
        <p:nvSpPr>
          <p:cNvPr id="49" name="Presentation Disclaimer" hidden="1"/>
          <p:cNvSpPr txBox="1"/>
          <p:nvPr userDrawn="1">
            <p:custDataLst>
              <p:tags r:id="rId4"/>
            </p:custDataLst>
          </p:nvPr>
        </p:nvSpPr>
        <p:spPr>
          <a:xfrm>
            <a:off x="3584448" y="7128974"/>
            <a:ext cx="65" cy="169277"/>
          </a:xfrm>
          <a:prstGeom prst="rect">
            <a:avLst/>
          </a:prstGeom>
          <a:noFill/>
        </p:spPr>
        <p:txBody>
          <a:bodyPr wrap="none" lIns="0" tIns="0" rIns="0" bIns="0" rtlCol="0" anchor="t" anchorCtr="0">
            <a:spAutoFit/>
          </a:bodyPr>
          <a:lstStyle/>
          <a:p>
            <a:pPr algn="l"/>
            <a:endParaRPr lang="en-GB" sz="1100" noProof="1" smtClean="0"/>
          </a:p>
        </p:txBody>
      </p:sp>
      <p:cxnSp>
        <p:nvCxnSpPr>
          <p:cNvPr id="51" name="Straight Connector 50"/>
          <p:cNvCxnSpPr/>
          <p:nvPr userDrawn="1"/>
        </p:nvCxnSpPr>
        <p:spPr>
          <a:xfrm>
            <a:off x="530351" y="7086600"/>
            <a:ext cx="899769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userDrawn="1"/>
        </p:nvCxnSpPr>
        <p:spPr>
          <a:xfrm>
            <a:off x="5292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30" name="Section Footer"/>
          <p:cNvSpPr txBox="1"/>
          <p:nvPr userDrawn="1">
            <p:custDataLst>
              <p:tags r:id="rId5"/>
            </p:custDataLst>
          </p:nvPr>
        </p:nvSpPr>
        <p:spPr>
          <a:xfrm>
            <a:off x="530352" y="7128974"/>
            <a:ext cx="2898648" cy="169277"/>
          </a:xfrm>
          <a:prstGeom prst="rect">
            <a:avLst/>
          </a:prstGeom>
          <a:noFill/>
          <a:ln>
            <a:noFill/>
          </a:ln>
        </p:spPr>
        <p:txBody>
          <a:bodyPr wrap="square" lIns="0" tIns="0" rIns="0" bIns="0" rtlCol="0" anchor="b" anchorCtr="0">
            <a:spAutoFit/>
          </a:bodyPr>
          <a:lstStyle/>
          <a:p>
            <a:endParaRPr lang="en-GB" sz="1100" noProof="1" smtClean="0">
              <a:solidFill>
                <a:schemeClr val="tx1"/>
              </a:solidFill>
            </a:endParaRPr>
          </a:p>
        </p:txBody>
      </p:sp>
      <p:sp>
        <p:nvSpPr>
          <p:cNvPr id="31" name="Section Header"/>
          <p:cNvSpPr txBox="1"/>
          <p:nvPr userDrawn="1">
            <p:custDataLst>
              <p:tags r:id="rId6"/>
            </p:custDataLst>
          </p:nvPr>
        </p:nvSpPr>
        <p:spPr>
          <a:xfrm>
            <a:off x="530351" y="704088"/>
            <a:ext cx="3034379" cy="137160"/>
          </a:xfrm>
          <a:prstGeom prst="rect">
            <a:avLst/>
          </a:prstGeom>
          <a:noFill/>
        </p:spPr>
        <p:txBody>
          <a:bodyPr wrap="square" lIns="0" tIns="0" rIns="0" bIns="0" rtlCol="0" anchor="b" anchorCtr="0">
            <a:noAutofit/>
          </a:bodyPr>
          <a:lstStyle/>
          <a:p>
            <a:endParaRPr lang="en-GB" sz="900" noProof="1" smtClean="0">
              <a:solidFill>
                <a:schemeClr val="tx1"/>
              </a:solidFill>
            </a:endParaRPr>
          </a:p>
        </p:txBody>
      </p:sp>
      <p:sp>
        <p:nvSpPr>
          <p:cNvPr id="27" name="Draft stamp" hidden="1"/>
          <p:cNvSpPr txBox="1"/>
          <p:nvPr userDrawn="1">
            <p:custDataLst>
              <p:tags r:id="rId7"/>
            </p:custDataLst>
          </p:nvPr>
        </p:nvSpPr>
        <p:spPr>
          <a:xfrm>
            <a:off x="3584448" y="7301371"/>
            <a:ext cx="2130552" cy="169277"/>
          </a:xfrm>
          <a:prstGeom prst="rect">
            <a:avLst/>
          </a:prstGeom>
          <a:noFill/>
          <a:ln>
            <a:noFill/>
          </a:ln>
        </p:spPr>
        <p:txBody>
          <a:bodyPr wrap="square" lIns="0" tIns="0" rIns="0" bIns="0" rtlCol="0">
            <a:spAutoFit/>
          </a:bodyPr>
          <a:lstStyle/>
          <a:p>
            <a:pPr algn="l"/>
            <a:r>
              <a:rPr lang="zh-CN" altLang="en-GB" sz="1100" noProof="1" smtClean="0"/>
              <a:t>草稿</a:t>
            </a:r>
            <a:endParaRPr lang="en-GB" sz="1100" noProof="1"/>
          </a:p>
        </p:txBody>
      </p:sp>
      <p:sp>
        <p:nvSpPr>
          <p:cNvPr id="22" name="Date/Filepath" hidden="1"/>
          <p:cNvSpPr txBox="1"/>
          <p:nvPr userDrawn="1">
            <p:custDataLst>
              <p:tags r:id="rId8"/>
            </p:custDataLst>
          </p:nvPr>
        </p:nvSpPr>
        <p:spPr>
          <a:xfrm>
            <a:off x="3299464" y="303092"/>
            <a:ext cx="6217920" cy="138499"/>
          </a:xfrm>
          <a:prstGeom prst="rect">
            <a:avLst/>
          </a:prstGeom>
          <a:noFill/>
        </p:spPr>
        <p:txBody>
          <a:bodyPr wrap="square" lIns="0" tIns="0" rIns="0" bIns="0" rtlCol="0" anchor="b" anchorCtr="0">
            <a:spAutoFit/>
          </a:bodyPr>
          <a:lstStyle/>
          <a:p>
            <a:pPr algn="r"/>
            <a:r>
              <a:rPr lang="en-GB" sz="900" noProof="1" smtClean="0"/>
              <a:t>8/15/2018 C:\Users\Wendy Guo\Documents\Presentationmaterials\PRC GAAR -Wendy Guo (PwC)_092018.pptx</a:t>
            </a:r>
            <a:endParaRPr lang="en-GB" sz="900" noProof="1"/>
          </a:p>
        </p:txBody>
      </p:sp>
      <p:sp>
        <p:nvSpPr>
          <p:cNvPr id="21" name="Slide Tags" hidden="1"/>
          <p:cNvSpPr txBox="1"/>
          <p:nvPr userDrawn="1">
            <p:custDataLst>
              <p:tags r:id="rId9"/>
            </p:custDataLst>
          </p:nvPr>
        </p:nvSpPr>
        <p:spPr>
          <a:xfrm>
            <a:off x="0" y="228600"/>
            <a:ext cx="1600200" cy="261610"/>
          </a:xfrm>
          <a:prstGeom prst="rect">
            <a:avLst/>
          </a:prstGeom>
          <a:noFill/>
        </p:spPr>
        <p:txBody>
          <a:bodyPr wrap="square" rtlCol="0">
            <a:spAutoFit/>
          </a:bodyPr>
          <a:lstStyle/>
          <a:p>
            <a:r>
              <a:rPr lang="en-GB" noProof="1" smtClean="0"/>
              <a:t>Slide Tags</a:t>
            </a:r>
            <a:endParaRPr lang="en-GB" noProof="1"/>
          </a:p>
        </p:txBody>
      </p:sp>
      <p:cxnSp>
        <p:nvCxnSpPr>
          <p:cNvPr id="28"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6" name="Title 25"/>
          <p:cNvSpPr>
            <a:spLocks noGrp="1"/>
          </p:cNvSpPr>
          <p:nvPr>
            <p:ph type="title" hasCustomPrompt="1"/>
          </p:nvPr>
        </p:nvSpPr>
        <p:spPr/>
        <p:txBody>
          <a:bodyPr/>
          <a:lstStyle/>
          <a:p>
            <a:r>
              <a:rPr lang="en-GB" noProof="0" dirty="0" smtClean="0"/>
              <a:t>Insert banner statement here</a:t>
            </a:r>
            <a:endParaRPr lang="en-GB" dirty="0"/>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Four">
    <p:spTree>
      <p:nvGrpSpPr>
        <p:cNvPr id="1" name=""/>
        <p:cNvGrpSpPr/>
        <p:nvPr/>
      </p:nvGrpSpPr>
      <p:grpSpPr>
        <a:xfrm>
          <a:off x="0" y="0"/>
          <a:ext cx="0" cy="0"/>
          <a:chOff x="0" y="0"/>
          <a:chExt cx="0" cy="0"/>
        </a:xfrm>
      </p:grpSpPr>
      <p:sp>
        <p:nvSpPr>
          <p:cNvPr id="34" name="Content Placeholder 2"/>
          <p:cNvSpPr>
            <a:spLocks noGrp="1"/>
          </p:cNvSpPr>
          <p:nvPr>
            <p:ph sz="quarter" idx="24"/>
          </p:nvPr>
        </p:nvSpPr>
        <p:spPr>
          <a:xfrm>
            <a:off x="530352" y="2057400"/>
            <a:ext cx="4425696" cy="2359152"/>
          </a:xfrm>
        </p:spPr>
        <p:txBody>
          <a:bodyPr tIns="0" bIns="0"/>
          <a:lstStyle>
            <a:lvl1pPr>
              <a:defRPr sz="2000"/>
            </a:lvl1pPr>
            <a:lvl2pPr>
              <a:defRPr sz="2000"/>
            </a:lvl2pPr>
            <a:lvl3pPr>
              <a:defRPr sz="2000"/>
            </a:lvl3pPr>
            <a:lvl4pPr>
              <a:defRPr sz="2000"/>
            </a:lvl4pPr>
            <a:lvl5pPr>
              <a:defRPr sz="2000"/>
            </a:lvl5pPr>
          </a:lstStyle>
          <a:p>
            <a:pPr lvl="0"/>
            <a:r>
              <a:rPr lang="en-GB" noProof="0" dirty="0" smtClean="0"/>
              <a:t>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6" name="Content Placeholder 3"/>
          <p:cNvSpPr>
            <a:spLocks noGrp="1"/>
          </p:cNvSpPr>
          <p:nvPr>
            <p:ph sz="quarter" idx="25"/>
          </p:nvPr>
        </p:nvSpPr>
        <p:spPr>
          <a:xfrm>
            <a:off x="5102352" y="2057400"/>
            <a:ext cx="4425696" cy="2359152"/>
          </a:xfrm>
        </p:spPr>
        <p:txBody>
          <a:bodyPr tIns="0" bIns="0"/>
          <a:lstStyle>
            <a:lvl1pPr>
              <a:defRPr sz="2000"/>
            </a:lvl1pPr>
            <a:lvl2pPr>
              <a:defRPr sz="2000"/>
            </a:lvl2pPr>
            <a:lvl3pPr>
              <a:defRPr sz="2000"/>
            </a:lvl3pPr>
            <a:lvl4pPr>
              <a:defRPr sz="2000"/>
            </a:lvl4pPr>
            <a:lvl5pPr>
              <a:defRPr sz="2000"/>
            </a:lvl5pPr>
          </a:lstStyle>
          <a:p>
            <a:pPr lvl="0"/>
            <a:r>
              <a:rPr lang="en-GB" noProof="0" dirty="0" smtClean="0"/>
              <a:t>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38" name="Content Placeholder 4"/>
          <p:cNvSpPr>
            <a:spLocks noGrp="1"/>
          </p:cNvSpPr>
          <p:nvPr>
            <p:ph sz="quarter" idx="26"/>
          </p:nvPr>
        </p:nvSpPr>
        <p:spPr>
          <a:xfrm>
            <a:off x="530352" y="4572000"/>
            <a:ext cx="4425696" cy="2359152"/>
          </a:xfrm>
        </p:spPr>
        <p:txBody>
          <a:bodyPr tIns="0" bIns="0"/>
          <a:lstStyle>
            <a:lvl1pPr>
              <a:defRPr sz="2000"/>
            </a:lvl1pPr>
            <a:lvl2pPr>
              <a:defRPr sz="2000"/>
            </a:lvl2pPr>
            <a:lvl3pPr>
              <a:defRPr sz="2000"/>
            </a:lvl3pPr>
            <a:lvl4pPr>
              <a:defRPr sz="2000"/>
            </a:lvl4pPr>
            <a:lvl5pPr>
              <a:defRPr sz="2000"/>
            </a:lvl5pPr>
          </a:lstStyle>
          <a:p>
            <a:pPr lvl="0"/>
            <a:r>
              <a:rPr lang="en-GB" noProof="0" dirty="0" smtClean="0"/>
              <a:t>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40" name="Content Placeholder 5"/>
          <p:cNvSpPr>
            <a:spLocks noGrp="1"/>
          </p:cNvSpPr>
          <p:nvPr>
            <p:ph sz="quarter" idx="27"/>
          </p:nvPr>
        </p:nvSpPr>
        <p:spPr>
          <a:xfrm>
            <a:off x="5102352" y="4572000"/>
            <a:ext cx="4425696" cy="2359152"/>
          </a:xfrm>
        </p:spPr>
        <p:txBody>
          <a:bodyPr tIns="0" bIns="0"/>
          <a:lstStyle>
            <a:lvl1pPr>
              <a:defRPr sz="2000"/>
            </a:lvl1pPr>
            <a:lvl2pPr>
              <a:defRPr sz="2000"/>
            </a:lvl2pPr>
            <a:lvl3pPr>
              <a:defRPr sz="2000"/>
            </a:lvl3pPr>
            <a:lvl4pPr>
              <a:defRPr sz="2000"/>
            </a:lvl4pPr>
            <a:lvl5pPr>
              <a:defRPr sz="2000"/>
            </a:lvl5pPr>
          </a:lstStyle>
          <a:p>
            <a:pPr lvl="0"/>
            <a:r>
              <a:rPr lang="en-GB" noProof="0" dirty="0" smtClean="0"/>
              <a:t>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endParaRPr lang="en-GB" noProof="0" dirty="0"/>
          </a:p>
        </p:txBody>
      </p:sp>
      <p:sp>
        <p:nvSpPr>
          <p:cNvPr id="29" name="PwC Text"/>
          <p:cNvSpPr txBox="1"/>
          <p:nvPr userDrawn="1"/>
        </p:nvSpPr>
        <p:spPr>
          <a:xfrm>
            <a:off x="530352" y="7344000"/>
            <a:ext cx="274320" cy="107157"/>
          </a:xfrm>
          <a:prstGeom prst="rect">
            <a:avLst/>
          </a:prstGeom>
          <a:noFill/>
        </p:spPr>
        <p:txBody>
          <a:bodyPr vert="horz" wrap="none" lIns="0" tIns="0" rIns="0" bIns="0" rtlCol="0" anchor="t" anchorCtr="0">
            <a:noAutofit/>
          </a:bodyPr>
          <a:lstStyle/>
          <a:p>
            <a:pPr>
              <a:lnSpc>
                <a:spcPts val="1000"/>
              </a:lnSpc>
            </a:pPr>
            <a:r>
              <a:rPr lang="en-GB" sz="1100" noProof="1" smtClean="0">
                <a:latin typeface="+mn-lt"/>
                <a:cs typeface="Arial" pitchFamily="34" charset="0"/>
              </a:rPr>
              <a:t>PwC</a:t>
            </a:r>
            <a:endParaRPr lang="en-GB" sz="1100" noProof="1">
              <a:latin typeface="+mn-lt"/>
              <a:cs typeface="Arial" pitchFamily="34" charset="0"/>
            </a:endParaRPr>
          </a:p>
        </p:txBody>
      </p:sp>
      <p:sp>
        <p:nvSpPr>
          <p:cNvPr id="31" name="Report Date"/>
          <p:cNvSpPr txBox="1"/>
          <p:nvPr userDrawn="1">
            <p:custDataLst>
              <p:tags r:id="rId1"/>
            </p:custDataLst>
          </p:nvPr>
        </p:nvSpPr>
        <p:spPr>
          <a:xfrm>
            <a:off x="8476733" y="7128974"/>
            <a:ext cx="1041952" cy="169277"/>
          </a:xfrm>
          <a:prstGeom prst="rect">
            <a:avLst/>
          </a:prstGeom>
          <a:noFill/>
        </p:spPr>
        <p:txBody>
          <a:bodyPr wrap="none" lIns="0" tIns="0" rIns="0" bIns="0" rtlCol="0">
            <a:spAutoFit/>
          </a:bodyPr>
          <a:lstStyle/>
          <a:p>
            <a:pPr indent="-274320" algn="r">
              <a:spcAft>
                <a:spcPts val="900"/>
              </a:spcAft>
            </a:pPr>
            <a:r>
              <a:rPr lang="en-GB" altLang="zh-CN" sz="1100" noProof="1" smtClean="0">
                <a:latin typeface="+mn-lt"/>
              </a:rPr>
              <a:t>September 2018</a:t>
            </a:r>
            <a:endParaRPr lang="en-GB" sz="1100" noProof="1" smtClean="0">
              <a:latin typeface="+mn-lt"/>
            </a:endParaRPr>
          </a:p>
        </p:txBody>
      </p:sp>
      <p:sp>
        <p:nvSpPr>
          <p:cNvPr id="50" name="Page Number"/>
          <p:cNvSpPr txBox="1"/>
          <p:nvPr userDrawn="1">
            <p:custDataLst>
              <p:tags r:id="rId2"/>
            </p:custDataLst>
          </p:nvPr>
        </p:nvSpPr>
        <p:spPr>
          <a:xfrm>
            <a:off x="9217152" y="7315200"/>
            <a:ext cx="320040" cy="155448"/>
          </a:xfrm>
          <a:prstGeom prst="rect">
            <a:avLst/>
          </a:prstGeom>
          <a:noFill/>
        </p:spPr>
        <p:txBody>
          <a:bodyPr wrap="none" lIns="0" tIns="0" rIns="0" bIns="0" rtlCol="0">
            <a:noAutofit/>
          </a:bodyPr>
          <a:lstStyle/>
          <a:p>
            <a:pPr algn="r">
              <a:lnSpc>
                <a:spcPts val="1000"/>
              </a:lnSpc>
            </a:pPr>
            <a:endParaRPr lang="en-GB" sz="1100" noProof="1" smtClean="0"/>
          </a:p>
        </p:txBody>
      </p:sp>
      <p:sp>
        <p:nvSpPr>
          <p:cNvPr id="51" name="HeaderTOCPlaceholder"/>
          <p:cNvSpPr txBox="1"/>
          <p:nvPr userDrawn="1">
            <p:custDataLst>
              <p:tags r:id="rId3"/>
            </p:custDataLst>
          </p:nvPr>
        </p:nvSpPr>
        <p:spPr>
          <a:xfrm>
            <a:off x="3581400" y="704088"/>
            <a:ext cx="5939414" cy="138499"/>
          </a:xfrm>
          <a:prstGeom prst="rect">
            <a:avLst/>
          </a:prstGeom>
          <a:noFill/>
          <a:ln>
            <a:noFill/>
          </a:ln>
        </p:spPr>
        <p:txBody>
          <a:bodyPr wrap="square" lIns="0" tIns="0" rIns="0" bIns="0" rtlCol="0">
            <a:spAutoFit/>
          </a:bodyPr>
          <a:lstStyle/>
          <a:p>
            <a:endParaRPr lang="en-GB" sz="900" noProof="1" smtClean="0">
              <a:solidFill>
                <a:schemeClr val="tx1"/>
              </a:solidFill>
              <a:latin typeface="+mn-lt"/>
              <a:cs typeface="Arial" pitchFamily="34" charset="0"/>
            </a:endParaRPr>
          </a:p>
        </p:txBody>
      </p:sp>
      <p:sp>
        <p:nvSpPr>
          <p:cNvPr id="54" name="Presentation Disclaimer" hidden="1"/>
          <p:cNvSpPr txBox="1"/>
          <p:nvPr userDrawn="1">
            <p:custDataLst>
              <p:tags r:id="rId4"/>
            </p:custDataLst>
          </p:nvPr>
        </p:nvSpPr>
        <p:spPr>
          <a:xfrm>
            <a:off x="3584448" y="7128974"/>
            <a:ext cx="65" cy="169277"/>
          </a:xfrm>
          <a:prstGeom prst="rect">
            <a:avLst/>
          </a:prstGeom>
          <a:noFill/>
        </p:spPr>
        <p:txBody>
          <a:bodyPr wrap="none" lIns="0" tIns="0" rIns="0" bIns="0" rtlCol="0" anchor="t" anchorCtr="0">
            <a:spAutoFit/>
          </a:bodyPr>
          <a:lstStyle/>
          <a:p>
            <a:pPr algn="l"/>
            <a:endParaRPr lang="en-GB" sz="1100" noProof="1" smtClean="0"/>
          </a:p>
        </p:txBody>
      </p:sp>
      <p:cxnSp>
        <p:nvCxnSpPr>
          <p:cNvPr id="56" name="Straight Connector 55"/>
          <p:cNvCxnSpPr/>
          <p:nvPr userDrawn="1"/>
        </p:nvCxnSpPr>
        <p:spPr>
          <a:xfrm>
            <a:off x="530351" y="7086600"/>
            <a:ext cx="899769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5292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24" name="Section Footer"/>
          <p:cNvSpPr txBox="1"/>
          <p:nvPr userDrawn="1">
            <p:custDataLst>
              <p:tags r:id="rId5"/>
            </p:custDataLst>
          </p:nvPr>
        </p:nvSpPr>
        <p:spPr>
          <a:xfrm>
            <a:off x="530352" y="7128974"/>
            <a:ext cx="2898648" cy="169277"/>
          </a:xfrm>
          <a:prstGeom prst="rect">
            <a:avLst/>
          </a:prstGeom>
          <a:noFill/>
          <a:ln>
            <a:noFill/>
          </a:ln>
        </p:spPr>
        <p:txBody>
          <a:bodyPr wrap="square" lIns="0" tIns="0" rIns="0" bIns="0" rtlCol="0" anchor="b" anchorCtr="0">
            <a:spAutoFit/>
          </a:bodyPr>
          <a:lstStyle/>
          <a:p>
            <a:endParaRPr lang="en-GB" sz="1100" noProof="1" smtClean="0">
              <a:solidFill>
                <a:schemeClr val="tx1"/>
              </a:solidFill>
            </a:endParaRPr>
          </a:p>
        </p:txBody>
      </p:sp>
      <p:sp>
        <p:nvSpPr>
          <p:cNvPr id="26" name="Section Header"/>
          <p:cNvSpPr txBox="1"/>
          <p:nvPr userDrawn="1">
            <p:custDataLst>
              <p:tags r:id="rId6"/>
            </p:custDataLst>
          </p:nvPr>
        </p:nvSpPr>
        <p:spPr>
          <a:xfrm>
            <a:off x="530351" y="704088"/>
            <a:ext cx="3034379" cy="137160"/>
          </a:xfrm>
          <a:prstGeom prst="rect">
            <a:avLst/>
          </a:prstGeom>
          <a:noFill/>
        </p:spPr>
        <p:txBody>
          <a:bodyPr wrap="square" lIns="0" tIns="0" rIns="0" bIns="0" rtlCol="0" anchor="b" anchorCtr="0">
            <a:noAutofit/>
          </a:bodyPr>
          <a:lstStyle/>
          <a:p>
            <a:endParaRPr lang="en-GB" sz="900" noProof="1" smtClean="0">
              <a:solidFill>
                <a:schemeClr val="tx1"/>
              </a:solidFill>
            </a:endParaRPr>
          </a:p>
        </p:txBody>
      </p:sp>
      <p:sp>
        <p:nvSpPr>
          <p:cNvPr id="33" name="Draft stamp" hidden="1"/>
          <p:cNvSpPr txBox="1"/>
          <p:nvPr userDrawn="1">
            <p:custDataLst>
              <p:tags r:id="rId7"/>
            </p:custDataLst>
          </p:nvPr>
        </p:nvSpPr>
        <p:spPr>
          <a:xfrm>
            <a:off x="3584448" y="7301371"/>
            <a:ext cx="2130552" cy="169277"/>
          </a:xfrm>
          <a:prstGeom prst="rect">
            <a:avLst/>
          </a:prstGeom>
          <a:noFill/>
          <a:ln>
            <a:noFill/>
          </a:ln>
        </p:spPr>
        <p:txBody>
          <a:bodyPr wrap="square" lIns="0" tIns="0" rIns="0" bIns="0" rtlCol="0">
            <a:spAutoFit/>
          </a:bodyPr>
          <a:lstStyle/>
          <a:p>
            <a:pPr algn="l"/>
            <a:r>
              <a:rPr lang="zh-CN" altLang="en-GB" sz="1100" noProof="1" smtClean="0"/>
              <a:t>草稿</a:t>
            </a:r>
            <a:endParaRPr lang="en-GB" sz="1100" noProof="1"/>
          </a:p>
        </p:txBody>
      </p:sp>
      <p:sp>
        <p:nvSpPr>
          <p:cNvPr id="27" name="Date/Filepath" hidden="1"/>
          <p:cNvSpPr txBox="1"/>
          <p:nvPr userDrawn="1">
            <p:custDataLst>
              <p:tags r:id="rId8"/>
            </p:custDataLst>
          </p:nvPr>
        </p:nvSpPr>
        <p:spPr>
          <a:xfrm>
            <a:off x="3299464" y="303092"/>
            <a:ext cx="6217920" cy="138499"/>
          </a:xfrm>
          <a:prstGeom prst="rect">
            <a:avLst/>
          </a:prstGeom>
          <a:noFill/>
        </p:spPr>
        <p:txBody>
          <a:bodyPr wrap="square" lIns="0" tIns="0" rIns="0" bIns="0" rtlCol="0" anchor="b" anchorCtr="0">
            <a:spAutoFit/>
          </a:bodyPr>
          <a:lstStyle/>
          <a:p>
            <a:pPr algn="r"/>
            <a:r>
              <a:rPr lang="en-GB" sz="900" noProof="1" smtClean="0"/>
              <a:t>8/15/2018 C:\Users\Wendy Guo\Documents\Presentationmaterials\PRC GAAR -Wendy Guo (PwC)_092018.pptx</a:t>
            </a:r>
            <a:endParaRPr lang="en-GB" sz="900" noProof="1"/>
          </a:p>
        </p:txBody>
      </p:sp>
      <p:sp>
        <p:nvSpPr>
          <p:cNvPr id="21" name="Slide Tags" hidden="1"/>
          <p:cNvSpPr txBox="1"/>
          <p:nvPr userDrawn="1">
            <p:custDataLst>
              <p:tags r:id="rId9"/>
            </p:custDataLst>
          </p:nvPr>
        </p:nvSpPr>
        <p:spPr>
          <a:xfrm>
            <a:off x="0" y="228600"/>
            <a:ext cx="1600200" cy="261610"/>
          </a:xfrm>
          <a:prstGeom prst="rect">
            <a:avLst/>
          </a:prstGeom>
          <a:noFill/>
        </p:spPr>
        <p:txBody>
          <a:bodyPr wrap="square" rtlCol="0">
            <a:spAutoFit/>
          </a:bodyPr>
          <a:lstStyle/>
          <a:p>
            <a:r>
              <a:rPr lang="en-GB" noProof="1" smtClean="0"/>
              <a:t>Slide Tags</a:t>
            </a:r>
            <a:endParaRPr lang="en-GB" noProof="1"/>
          </a:p>
        </p:txBody>
      </p:sp>
      <p:cxnSp>
        <p:nvCxnSpPr>
          <p:cNvPr id="23"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22" name="Title 21"/>
          <p:cNvSpPr>
            <a:spLocks noGrp="1"/>
          </p:cNvSpPr>
          <p:nvPr>
            <p:ph type="title" hasCustomPrompt="1"/>
          </p:nvPr>
        </p:nvSpPr>
        <p:spPr/>
        <p:txBody>
          <a:bodyPr/>
          <a:lstStyle/>
          <a:p>
            <a:r>
              <a:rPr lang="en-GB" noProof="0" dirty="0" smtClean="0"/>
              <a:t>Insert banner statement here</a:t>
            </a:r>
            <a:endParaRPr lang="en-GB"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2" name="Date/Filepath" hidden="1"/>
          <p:cNvSpPr txBox="1"/>
          <p:nvPr userDrawn="1">
            <p:custDataLst>
              <p:tags r:id="rId1"/>
            </p:custDataLst>
          </p:nvPr>
        </p:nvSpPr>
        <p:spPr>
          <a:xfrm>
            <a:off x="3299464" y="303092"/>
            <a:ext cx="6217920" cy="138499"/>
          </a:xfrm>
          <a:prstGeom prst="rect">
            <a:avLst/>
          </a:prstGeom>
          <a:noFill/>
        </p:spPr>
        <p:txBody>
          <a:bodyPr wrap="square" lIns="0" tIns="0" rIns="0" bIns="0" rtlCol="0" anchor="b" anchorCtr="0">
            <a:spAutoFit/>
          </a:bodyPr>
          <a:lstStyle/>
          <a:p>
            <a:pPr algn="r"/>
            <a:r>
              <a:rPr lang="en-GB" sz="900" noProof="1" smtClean="0"/>
              <a:t>8/15/2018 C:\Users\Wendy Guo\Documents\Presentationmaterials\PRC GAAR -Wendy Guo (PwC)_092018.pptx</a:t>
            </a:r>
            <a:endParaRPr lang="en-GB" sz="900" noProof="1"/>
          </a:p>
        </p:txBody>
      </p:sp>
      <p:sp>
        <p:nvSpPr>
          <p:cNvPr id="5" name="Slide Tags" hidden="1"/>
          <p:cNvSpPr txBox="1"/>
          <p:nvPr userDrawn="1">
            <p:custDataLst>
              <p:tags r:id="rId2"/>
            </p:custDataLst>
          </p:nvPr>
        </p:nvSpPr>
        <p:spPr>
          <a:xfrm>
            <a:off x="0" y="228600"/>
            <a:ext cx="1600200" cy="261610"/>
          </a:xfrm>
          <a:prstGeom prst="rect">
            <a:avLst/>
          </a:prstGeom>
          <a:noFill/>
        </p:spPr>
        <p:txBody>
          <a:bodyPr wrap="square" rtlCol="0">
            <a:spAutoFit/>
          </a:bodyPr>
          <a:lstStyle/>
          <a:p>
            <a:r>
              <a:rPr lang="en-GB" noProof="1" smtClean="0"/>
              <a:t>Slide Tags</a:t>
            </a:r>
            <a:endParaRPr lang="en-GB" noProof="1"/>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Title Only No Header Footer">
    <p:spTree>
      <p:nvGrpSpPr>
        <p:cNvPr id="1" name=""/>
        <p:cNvGrpSpPr/>
        <p:nvPr/>
      </p:nvGrpSpPr>
      <p:grpSpPr>
        <a:xfrm>
          <a:off x="0" y="0"/>
          <a:ext cx="0" cy="0"/>
          <a:chOff x="0" y="0"/>
          <a:chExt cx="0" cy="0"/>
        </a:xfrm>
      </p:grpSpPr>
      <p:sp>
        <p:nvSpPr>
          <p:cNvPr id="12" name="HeaderTOCPlaceholder"/>
          <p:cNvSpPr txBox="1"/>
          <p:nvPr userDrawn="1">
            <p:custDataLst>
              <p:tags r:id="rId1"/>
            </p:custDataLst>
          </p:nvPr>
        </p:nvSpPr>
        <p:spPr>
          <a:xfrm>
            <a:off x="3581399" y="704088"/>
            <a:ext cx="5943600" cy="138499"/>
          </a:xfrm>
          <a:prstGeom prst="rect">
            <a:avLst/>
          </a:prstGeom>
          <a:noFill/>
          <a:ln>
            <a:noFill/>
          </a:ln>
        </p:spPr>
        <p:txBody>
          <a:bodyPr wrap="square" lIns="0" tIns="0" rIns="0" bIns="0" rtlCol="0">
            <a:spAutoFit/>
          </a:bodyPr>
          <a:lstStyle/>
          <a:p>
            <a:endParaRPr lang="en-GB" sz="900" noProof="1" smtClean="0">
              <a:solidFill>
                <a:schemeClr val="tx1"/>
              </a:solidFill>
              <a:latin typeface="+mn-lt"/>
              <a:cs typeface="Arial" pitchFamily="34" charset="0"/>
            </a:endParaRPr>
          </a:p>
        </p:txBody>
      </p:sp>
      <p:cxnSp>
        <p:nvCxnSpPr>
          <p:cNvPr id="21" name="Straight Connector 20"/>
          <p:cNvCxnSpPr/>
          <p:nvPr userDrawn="1"/>
        </p:nvCxnSpPr>
        <p:spPr>
          <a:xfrm>
            <a:off x="530351" y="7086600"/>
            <a:ext cx="8997697" cy="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529200" y="1981200"/>
            <a:ext cx="8996400" cy="0"/>
          </a:xfrm>
          <a:prstGeom prst="line">
            <a:avLst/>
          </a:prstGeom>
          <a:ln w="12700" cap="rnd">
            <a:solidFill>
              <a:schemeClr val="accent1"/>
            </a:solidFill>
            <a:prstDash val="sysDot"/>
          </a:ln>
        </p:spPr>
        <p:style>
          <a:lnRef idx="1">
            <a:schemeClr val="accent1"/>
          </a:lnRef>
          <a:fillRef idx="0">
            <a:schemeClr val="accent1"/>
          </a:fillRef>
          <a:effectRef idx="0">
            <a:schemeClr val="accent1"/>
          </a:effectRef>
          <a:fontRef idx="minor">
            <a:schemeClr val="tx1"/>
          </a:fontRef>
        </p:style>
      </p:cxnSp>
      <p:sp>
        <p:nvSpPr>
          <p:cNvPr id="8" name="Slide Tags" hidden="1"/>
          <p:cNvSpPr txBox="1"/>
          <p:nvPr userDrawn="1">
            <p:custDataLst>
              <p:tags r:id="rId2"/>
            </p:custDataLst>
          </p:nvPr>
        </p:nvSpPr>
        <p:spPr>
          <a:xfrm>
            <a:off x="0" y="228600"/>
            <a:ext cx="1600200" cy="261610"/>
          </a:xfrm>
          <a:prstGeom prst="rect">
            <a:avLst/>
          </a:prstGeom>
          <a:noFill/>
        </p:spPr>
        <p:txBody>
          <a:bodyPr wrap="square" rtlCol="0">
            <a:spAutoFit/>
          </a:bodyPr>
          <a:lstStyle/>
          <a:p>
            <a:r>
              <a:rPr lang="en-GB" noProof="1" smtClean="0"/>
              <a:t>Slide Tags</a:t>
            </a:r>
            <a:endParaRPr lang="en-GB" noProof="1"/>
          </a:p>
        </p:txBody>
      </p:sp>
      <p:cxnSp>
        <p:nvCxnSpPr>
          <p:cNvPr id="13" name="Frame Line"/>
          <p:cNvCxnSpPr/>
          <p:nvPr userDrawn="1"/>
        </p:nvCxnSpPr>
        <p:spPr>
          <a:xfrm flipV="1">
            <a:off x="381000" y="933196"/>
            <a:ext cx="9144002" cy="144000"/>
          </a:xfrm>
          <a:prstGeom prst="bentConnector3">
            <a:avLst>
              <a:gd name="adj1" fmla="val 0"/>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itle 9"/>
          <p:cNvSpPr>
            <a:spLocks noGrp="1"/>
          </p:cNvSpPr>
          <p:nvPr>
            <p:ph type="title" hasCustomPrompt="1"/>
          </p:nvPr>
        </p:nvSpPr>
        <p:spPr/>
        <p:txBody>
          <a:bodyPr/>
          <a:lstStyle/>
          <a:p>
            <a:r>
              <a:rPr lang="en-GB" noProof="0" dirty="0" smtClean="0"/>
              <a:t>Insert banner statement here</a:t>
            </a:r>
            <a:endParaRPr lang="en-GB" dirty="0"/>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10" name="Grid" hidden="1"/>
          <p:cNvGrpSpPr/>
          <p:nvPr>
            <p:custDataLst>
              <p:tags r:id="rId16"/>
            </p:custDataLst>
          </p:nvPr>
        </p:nvGrpSpPr>
        <p:grpSpPr>
          <a:xfrm>
            <a:off x="530352" y="612648"/>
            <a:ext cx="8997696" cy="6848856"/>
            <a:chOff x="530352" y="612648"/>
            <a:chExt cx="8997696" cy="6848856"/>
          </a:xfrm>
        </p:grpSpPr>
        <p:grpSp>
          <p:nvGrpSpPr>
            <p:cNvPr id="108" name="Group 107" hidden="1"/>
            <p:cNvGrpSpPr/>
            <p:nvPr userDrawn="1"/>
          </p:nvGrpSpPr>
          <p:grpSpPr>
            <a:xfrm>
              <a:off x="530352" y="7159752"/>
              <a:ext cx="8997696" cy="301752"/>
              <a:chOff x="530352" y="7159752"/>
              <a:chExt cx="8997696" cy="301752"/>
            </a:xfrm>
          </p:grpSpPr>
          <p:sp>
            <p:nvSpPr>
              <p:cNvPr id="43"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44"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5"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7" name="Group 106" hidden="1"/>
            <p:cNvGrpSpPr/>
            <p:nvPr userDrawn="1"/>
          </p:nvGrpSpPr>
          <p:grpSpPr>
            <a:xfrm>
              <a:off x="530352" y="1066800"/>
              <a:ext cx="8997696" cy="835152"/>
              <a:chOff x="530352" y="1066800"/>
              <a:chExt cx="8997696" cy="835152"/>
            </a:xfrm>
          </p:grpSpPr>
          <p:sp>
            <p:nvSpPr>
              <p:cNvPr id="45"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sp>
            <p:nvSpPr>
              <p:cNvPr id="56"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grpSp>
        <p:sp>
          <p:nvSpPr>
            <p:cNvPr id="5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en-GB" sz="1400" dirty="0">
                <a:solidFill>
                  <a:schemeClr val="folHlink"/>
                </a:solidFill>
                <a:cs typeface="Arial" charset="0"/>
              </a:endParaRPr>
            </a:p>
          </p:txBody>
        </p:sp>
        <p:grpSp>
          <p:nvGrpSpPr>
            <p:cNvPr id="106" name="Group 600" hidden="1"/>
            <p:cNvGrpSpPr/>
            <p:nvPr userDrawn="1"/>
          </p:nvGrpSpPr>
          <p:grpSpPr>
            <a:xfrm>
              <a:off x="533400" y="6245352"/>
              <a:ext cx="8994648" cy="688848"/>
              <a:chOff x="533400" y="6013704"/>
              <a:chExt cx="8994648" cy="688848"/>
            </a:xfrm>
          </p:grpSpPr>
          <p:sp>
            <p:nvSpPr>
              <p:cNvPr id="50"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51"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9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9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9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9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5" name="Group 500" hidden="1"/>
            <p:cNvGrpSpPr/>
            <p:nvPr userDrawn="1"/>
          </p:nvGrpSpPr>
          <p:grpSpPr>
            <a:xfrm>
              <a:off x="533400" y="5407152"/>
              <a:ext cx="8994648" cy="688848"/>
              <a:chOff x="533400" y="5026152"/>
              <a:chExt cx="8994648" cy="688848"/>
            </a:xfrm>
          </p:grpSpPr>
          <p:sp>
            <p:nvSpPr>
              <p:cNvPr id="52"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53"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9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9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9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9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4" name="Group 400" hidden="1"/>
            <p:cNvGrpSpPr/>
            <p:nvPr userDrawn="1"/>
          </p:nvGrpSpPr>
          <p:grpSpPr>
            <a:xfrm>
              <a:off x="533400" y="4568952"/>
              <a:ext cx="8994648" cy="688848"/>
              <a:chOff x="533400" y="4038600"/>
              <a:chExt cx="8994648" cy="688848"/>
            </a:xfrm>
          </p:grpSpPr>
          <p:sp>
            <p:nvSpPr>
              <p:cNvPr id="54"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64"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8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8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8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8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3" name="Group 300" hidden="1"/>
            <p:cNvGrpSpPr/>
            <p:nvPr userDrawn="1"/>
          </p:nvGrpSpPr>
          <p:grpSpPr>
            <a:xfrm>
              <a:off x="533400" y="3730752"/>
              <a:ext cx="8994648" cy="688848"/>
              <a:chOff x="533400" y="3041904"/>
              <a:chExt cx="8994648" cy="688848"/>
            </a:xfrm>
          </p:grpSpPr>
          <p:sp>
            <p:nvSpPr>
              <p:cNvPr id="65"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70"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7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7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8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8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1" name="Group 200" hidden="1"/>
            <p:cNvGrpSpPr/>
            <p:nvPr userDrawn="1"/>
          </p:nvGrpSpPr>
          <p:grpSpPr>
            <a:xfrm>
              <a:off x="533400" y="2892552"/>
              <a:ext cx="8994648" cy="688848"/>
              <a:chOff x="533400" y="1066800"/>
              <a:chExt cx="8994648" cy="688848"/>
            </a:xfrm>
          </p:grpSpPr>
          <p:sp>
            <p:nvSpPr>
              <p:cNvPr id="77"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82"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66"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67"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68"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69"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2" name="Group 100" hidden="1"/>
            <p:cNvGrpSpPr/>
            <p:nvPr userDrawn="1"/>
          </p:nvGrpSpPr>
          <p:grpSpPr>
            <a:xfrm>
              <a:off x="533400" y="2054352"/>
              <a:ext cx="8994648" cy="688848"/>
              <a:chOff x="533400" y="2054352"/>
              <a:chExt cx="8994648" cy="688848"/>
            </a:xfrm>
          </p:grpSpPr>
          <p:sp>
            <p:nvSpPr>
              <p:cNvPr id="71"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76"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72"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73"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74"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75"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sp>
        <p:nvSpPr>
          <p:cNvPr id="2" name="Title Placeholder 1"/>
          <p:cNvSpPr>
            <a:spLocks noGrp="1"/>
          </p:cNvSpPr>
          <p:nvPr>
            <p:ph type="title"/>
          </p:nvPr>
        </p:nvSpPr>
        <p:spPr>
          <a:xfrm>
            <a:off x="530352" y="1069848"/>
            <a:ext cx="8997696" cy="841248"/>
          </a:xfrm>
          <a:prstGeom prst="rect">
            <a:avLst/>
          </a:prstGeom>
        </p:spPr>
        <p:txBody>
          <a:bodyPr vert="horz" lIns="0" tIns="0" rIns="0" bIns="0" rtlCol="0" anchor="t" anchorCtr="0">
            <a:noAutofit/>
          </a:bodyPr>
          <a:lstStyle/>
          <a:p>
            <a:r>
              <a:rPr lang="en-GB" noProof="0" dirty="0" smtClean="0"/>
              <a:t>Insert banner statement here</a:t>
            </a:r>
            <a:endParaRPr lang="en-GB" noProof="0" dirty="0"/>
          </a:p>
        </p:txBody>
      </p:sp>
      <p:sp>
        <p:nvSpPr>
          <p:cNvPr id="3" name="Text Placeholder 2"/>
          <p:cNvSpPr>
            <a:spLocks noGrp="1"/>
          </p:cNvSpPr>
          <p:nvPr>
            <p:ph type="body" idx="1"/>
          </p:nvPr>
        </p:nvSpPr>
        <p:spPr>
          <a:xfrm>
            <a:off x="530352" y="2057400"/>
            <a:ext cx="8997696" cy="4881600"/>
          </a:xfrm>
          <a:prstGeom prst="rect">
            <a:avLst/>
          </a:prstGeom>
        </p:spPr>
        <p:txBody>
          <a:bodyPr vert="horz" lIns="0" tIns="0" rIns="0" bIns="0" rtlCol="0">
            <a:noAutofit/>
          </a:bodyPr>
          <a:lstStyle/>
          <a:p>
            <a:pPr lvl="0"/>
            <a:r>
              <a:rPr lang="en-GB" noProof="0" dirty="0" smtClean="0"/>
              <a:t>Edit Master text styles</a:t>
            </a:r>
          </a:p>
          <a:p>
            <a:pPr lvl="1"/>
            <a:r>
              <a:rPr lang="en-GB" noProof="0" dirty="0" smtClean="0"/>
              <a:t>Second level</a:t>
            </a:r>
          </a:p>
          <a:p>
            <a:pPr lvl="2"/>
            <a:r>
              <a:rPr lang="en-GB" noProof="0" dirty="0" smtClean="0"/>
              <a:t>Third level</a:t>
            </a:r>
          </a:p>
          <a:p>
            <a:pPr lvl="3"/>
            <a:r>
              <a:rPr lang="en-GB" noProof="0" dirty="0" smtClean="0"/>
              <a:t>Fourth level</a:t>
            </a:r>
          </a:p>
          <a:p>
            <a:pPr lvl="4"/>
            <a:r>
              <a:rPr lang="en-GB" noProof="0" dirty="0" smtClean="0"/>
              <a:t>Fifth level</a:t>
            </a:r>
          </a:p>
        </p:txBody>
      </p:sp>
      <p:sp>
        <p:nvSpPr>
          <p:cNvPr id="4" name="Date Placeholder 3"/>
          <p:cNvSpPr>
            <a:spLocks noGrp="1"/>
          </p:cNvSpPr>
          <p:nvPr>
            <p:ph type="dt" sz="half" idx="2"/>
          </p:nvPr>
        </p:nvSpPr>
        <p:spPr>
          <a:xfrm>
            <a:off x="7845552" y="7086600"/>
            <a:ext cx="1673352" cy="155448"/>
          </a:xfrm>
          <a:prstGeom prst="rect">
            <a:avLst/>
          </a:prstGeom>
        </p:spPr>
        <p:txBody>
          <a:bodyPr vert="horz" lIns="101882" tIns="50941" rIns="101882" bIns="50941" rtlCol="0" anchor="ctr"/>
          <a:lstStyle>
            <a:lvl1pPr algn="r">
              <a:defRPr sz="900">
                <a:solidFill>
                  <a:schemeClr val="tx1">
                    <a:tint val="75000"/>
                  </a:schemeClr>
                </a:solidFill>
                <a:latin typeface="+mj-lt"/>
                <a:cs typeface="Arial" pitchFamily="34" charset="0"/>
              </a:defRPr>
            </a:lvl1pPr>
          </a:lstStyle>
          <a:p>
            <a:fld id="{19421298-5ECC-4ECF-8253-524571409FFE}" type="datetimeFigureOut">
              <a:rPr lang="en-GB" smtClean="0"/>
              <a:pPr/>
              <a:t>14/08/2018</a:t>
            </a:fld>
            <a:endParaRPr lang="en-GB" dirty="0"/>
          </a:p>
        </p:txBody>
      </p:sp>
      <p:sp>
        <p:nvSpPr>
          <p:cNvPr id="5" name="Footer Placeholder 4"/>
          <p:cNvSpPr>
            <a:spLocks noGrp="1"/>
          </p:cNvSpPr>
          <p:nvPr>
            <p:ph type="ftr" sz="quarter" idx="3"/>
          </p:nvPr>
        </p:nvSpPr>
        <p:spPr>
          <a:xfrm>
            <a:off x="530352" y="7086600"/>
            <a:ext cx="5779008" cy="155448"/>
          </a:xfrm>
          <a:prstGeom prst="rect">
            <a:avLst/>
          </a:prstGeom>
        </p:spPr>
        <p:txBody>
          <a:bodyPr vert="horz" lIns="101882" tIns="50941" rIns="101882" bIns="50941" rtlCol="0" anchor="ctr"/>
          <a:lstStyle>
            <a:lvl1pPr algn="l">
              <a:defRPr sz="900">
                <a:solidFill>
                  <a:schemeClr val="tx1">
                    <a:tint val="75000"/>
                  </a:schemeClr>
                </a:solidFill>
                <a:latin typeface="+mj-lt"/>
                <a:cs typeface="Arial" pitchFamily="34" charset="0"/>
              </a:defRPr>
            </a:lvl1pPr>
          </a:lstStyle>
          <a:p>
            <a:endParaRPr lang="en-GB" dirty="0"/>
          </a:p>
        </p:txBody>
      </p:sp>
      <p:sp>
        <p:nvSpPr>
          <p:cNvPr id="6" name="Slide Number Placeholder 5"/>
          <p:cNvSpPr>
            <a:spLocks noGrp="1"/>
          </p:cNvSpPr>
          <p:nvPr>
            <p:ph type="sldNum" sz="quarter" idx="4"/>
          </p:nvPr>
        </p:nvSpPr>
        <p:spPr>
          <a:xfrm>
            <a:off x="7845552" y="7242048"/>
            <a:ext cx="1673352" cy="155448"/>
          </a:xfrm>
          <a:prstGeom prst="rect">
            <a:avLst/>
          </a:prstGeom>
        </p:spPr>
        <p:txBody>
          <a:bodyPr vert="horz" lIns="101882" tIns="50941" rIns="101882" bIns="50941" rtlCol="0" anchor="ctr"/>
          <a:lstStyle>
            <a:lvl1pPr algn="r">
              <a:defRPr sz="900">
                <a:solidFill>
                  <a:schemeClr val="tx1">
                    <a:tint val="75000"/>
                  </a:schemeClr>
                </a:solidFill>
                <a:latin typeface="Arial" pitchFamily="34" charset="0"/>
                <a:cs typeface="Arial" pitchFamily="34" charset="0"/>
              </a:defRPr>
            </a:lvl1pPr>
          </a:lstStyle>
          <a:p>
            <a:fld id="{4D5A39AF-FEF5-47AB-AA80-4C0BD4A8B092}" type="slidenum">
              <a:rPr lang="en-GB" smtClean="0"/>
              <a:pPr/>
              <a:t>‹#›</a:t>
            </a:fld>
            <a:endParaRPr lang="en-GB" dirty="0"/>
          </a:p>
        </p:txBody>
      </p:sp>
    </p:spTree>
  </p:cSld>
  <p:clrMap bg1="lt1" tx1="dk1" bg2="lt2" tx2="dk2" accent1="accent1" accent2="accent2" accent3="accent3" accent4="accent4" accent5="accent5" accent6="accent6" hlink="hlink" folHlink="folHlink"/>
  <p:sldLayoutIdLst>
    <p:sldLayoutId id="2147483716" r:id="rId1"/>
    <p:sldLayoutId id="2147483729" r:id="rId2"/>
    <p:sldLayoutId id="2147483701" r:id="rId3"/>
    <p:sldLayoutId id="2147483700" r:id="rId4"/>
    <p:sldLayoutId id="2147483697" r:id="rId5"/>
    <p:sldLayoutId id="2147483720" r:id="rId6"/>
    <p:sldLayoutId id="2147483696" r:id="rId7"/>
    <p:sldLayoutId id="2147483705" r:id="rId8"/>
    <p:sldLayoutId id="2147483688" r:id="rId9"/>
    <p:sldLayoutId id="2147483721" r:id="rId10"/>
    <p:sldLayoutId id="2147483730" r:id="rId11"/>
    <p:sldLayoutId id="2147483711" r:id="rId12"/>
    <p:sldLayoutId id="2147483708" r:id="rId13"/>
    <p:sldLayoutId id="2147483717" r:id="rId14"/>
  </p:sldLayoutIdLst>
  <p:txStyles>
    <p:titleStyle>
      <a:lvl1pPr algn="l" defTabSz="1018824" rtl="0" eaLnBrk="1" latinLnBrk="0" hangingPunct="1">
        <a:spcBef>
          <a:spcPct val="0"/>
        </a:spcBef>
        <a:buNone/>
        <a:defRPr sz="2400" b="1" i="1" kern="1200">
          <a:solidFill>
            <a:schemeClr val="tx2"/>
          </a:solidFill>
          <a:latin typeface="+mj-lt"/>
          <a:ea typeface="+mj-ea"/>
          <a:cs typeface="+mj-cs"/>
        </a:defRPr>
      </a:lvl1pPr>
    </p:titleStyle>
    <p:bodyStyle>
      <a:lvl1pPr marL="0" marR="0" indent="0" algn="l" defTabSz="1019175" rtl="0" eaLnBrk="1" fontAlgn="base" latinLnBrk="0" hangingPunct="1">
        <a:lnSpc>
          <a:spcPct val="100000"/>
        </a:lnSpc>
        <a:spcBef>
          <a:spcPts val="0"/>
        </a:spcBef>
        <a:spcAft>
          <a:spcPts val="600"/>
        </a:spcAft>
        <a:buClr>
          <a:srgbClr val="000000"/>
        </a:buClr>
        <a:buSzTx/>
        <a:buFont typeface="Wingdings" pitchFamily="2" charset="2"/>
        <a:buNone/>
        <a:tabLst/>
        <a:defRPr sz="2000" kern="1200">
          <a:solidFill>
            <a:schemeClr val="tx1"/>
          </a:solidFill>
          <a:latin typeface="Georgia" pitchFamily="18" charset="0"/>
          <a:ea typeface="+mn-ea"/>
          <a:cs typeface="+mn-cs"/>
        </a:defRPr>
      </a:lvl1pPr>
      <a:lvl2pPr marL="234950" marR="0" indent="-228600" algn="l" defTabSz="1019175" rtl="0" eaLnBrk="1" fontAlgn="base" latinLnBrk="0" hangingPunct="1">
        <a:lnSpc>
          <a:spcPct val="100000"/>
        </a:lnSpc>
        <a:spcBef>
          <a:spcPts val="0"/>
        </a:spcBef>
        <a:spcAft>
          <a:spcPts val="600"/>
        </a:spcAft>
        <a:buClr>
          <a:srgbClr val="000000"/>
        </a:buClr>
        <a:buSzTx/>
        <a:buFont typeface="Times New Roman" pitchFamily="18" charset="0"/>
        <a:buChar char="•"/>
        <a:tabLst/>
        <a:defRPr sz="2000" kern="1200">
          <a:solidFill>
            <a:schemeClr val="tx1"/>
          </a:solidFill>
          <a:latin typeface="Georgia" pitchFamily="18" charset="0"/>
          <a:ea typeface="+mn-ea"/>
          <a:cs typeface="+mn-cs"/>
        </a:defRPr>
      </a:lvl2pPr>
      <a:lvl3pPr marL="468000" marR="0" indent="-230400" algn="l" defTabSz="1019175" rtl="0" eaLnBrk="1" fontAlgn="base" latinLnBrk="0" hangingPunct="1">
        <a:lnSpc>
          <a:spcPct val="100000"/>
        </a:lnSpc>
        <a:spcBef>
          <a:spcPts val="0"/>
        </a:spcBef>
        <a:spcAft>
          <a:spcPts val="600"/>
        </a:spcAft>
        <a:buClr>
          <a:srgbClr val="000000"/>
        </a:buClr>
        <a:buSzTx/>
        <a:buFont typeface="Arial" pitchFamily="34" charset="0"/>
        <a:buChar char="-"/>
        <a:tabLst/>
        <a:defRPr sz="2000" kern="1200">
          <a:solidFill>
            <a:schemeClr val="tx1"/>
          </a:solidFill>
          <a:latin typeface="Georgia" pitchFamily="18" charset="0"/>
          <a:ea typeface="+mn-ea"/>
          <a:cs typeface="+mn-cs"/>
        </a:defRPr>
      </a:lvl3pPr>
      <a:lvl4pPr marL="694800" marR="0" indent="-230400" algn="l" defTabSz="1019175" rtl="0" eaLnBrk="1" fontAlgn="base" latinLnBrk="0" hangingPunct="1">
        <a:lnSpc>
          <a:spcPct val="100000"/>
        </a:lnSpc>
        <a:spcBef>
          <a:spcPts val="0"/>
        </a:spcBef>
        <a:spcAft>
          <a:spcPts val="600"/>
        </a:spcAft>
        <a:buClr>
          <a:srgbClr val="000000"/>
        </a:buClr>
        <a:buSzTx/>
        <a:buFont typeface="Georgia" pitchFamily="18" charset="0"/>
        <a:buChar char="◦"/>
        <a:tabLst/>
        <a:defRPr sz="2000" kern="1200">
          <a:solidFill>
            <a:schemeClr val="tx1"/>
          </a:solidFill>
          <a:latin typeface="Georgia" pitchFamily="18" charset="0"/>
          <a:ea typeface="+mn-ea"/>
          <a:cs typeface="+mn-cs"/>
        </a:defRPr>
      </a:lvl4pPr>
      <a:lvl5pPr marL="914400" marR="0" indent="-228600" algn="l" defTabSz="1019175" rtl="0" eaLnBrk="1" fontAlgn="base" latinLnBrk="0" hangingPunct="1">
        <a:lnSpc>
          <a:spcPct val="100000"/>
        </a:lnSpc>
        <a:spcBef>
          <a:spcPts val="0"/>
        </a:spcBef>
        <a:spcAft>
          <a:spcPts val="600"/>
        </a:spcAft>
        <a:buClr>
          <a:srgbClr val="000000"/>
        </a:buClr>
        <a:buSzTx/>
        <a:buFont typeface="Georgia" pitchFamily="18" charset="0"/>
        <a:buChar char="›"/>
        <a:tabLst/>
        <a:defRPr sz="2000" kern="1200" baseline="0">
          <a:solidFill>
            <a:schemeClr val="tx1"/>
          </a:solidFill>
          <a:latin typeface="Georgia" pitchFamily="18" charset="0"/>
          <a:ea typeface="+mn-ea"/>
          <a:cs typeface="+mn-cs"/>
        </a:defRPr>
      </a:lvl5pPr>
      <a:lvl6pPr marL="234000" indent="-230400" algn="l" defTabSz="1018824" rtl="0" eaLnBrk="1" latinLnBrk="0" hangingPunct="1">
        <a:lnSpc>
          <a:spcPct val="100000"/>
        </a:lnSpc>
        <a:spcBef>
          <a:spcPts val="0"/>
        </a:spcBef>
        <a:spcAft>
          <a:spcPts val="0"/>
        </a:spcAft>
        <a:buFont typeface="+mj-lt"/>
        <a:buAutoNum type="arabicPeriod"/>
        <a:defRPr lang="en-GB" sz="2000" kern="1200" baseline="0" noProof="0" dirty="0" smtClean="0">
          <a:solidFill>
            <a:schemeClr val="tx1"/>
          </a:solidFill>
          <a:latin typeface="Georgia" pitchFamily="18" charset="0"/>
          <a:ea typeface="+mn-ea"/>
          <a:cs typeface="+mn-cs"/>
        </a:defRPr>
      </a:lvl6pPr>
      <a:lvl7pPr marL="468000" indent="-228600" algn="l" defTabSz="1018824" rtl="0" eaLnBrk="1" latinLnBrk="0" hangingPunct="1">
        <a:lnSpc>
          <a:spcPct val="100000"/>
        </a:lnSpc>
        <a:spcBef>
          <a:spcPts val="0"/>
        </a:spcBef>
        <a:spcAft>
          <a:spcPts val="0"/>
        </a:spcAft>
        <a:buFont typeface="+mj-lt"/>
        <a:buAutoNum type="alphaLcPeriod"/>
        <a:defRPr lang="en-GB" sz="2000" kern="1200" baseline="0" noProof="0" dirty="0" smtClean="0">
          <a:solidFill>
            <a:schemeClr val="tx1"/>
          </a:solidFill>
          <a:latin typeface="Georgia" pitchFamily="18" charset="0"/>
          <a:ea typeface="+mn-ea"/>
          <a:cs typeface="+mn-cs"/>
        </a:defRPr>
      </a:lvl7pPr>
      <a:lvl8pPr marL="694800" indent="-228600" algn="l" defTabSz="1018824" rtl="0" eaLnBrk="1" latinLnBrk="0" hangingPunct="1">
        <a:lnSpc>
          <a:spcPct val="100000"/>
        </a:lnSpc>
        <a:spcBef>
          <a:spcPts val="0"/>
        </a:spcBef>
        <a:spcAft>
          <a:spcPts val="0"/>
        </a:spcAft>
        <a:buFont typeface="+mj-lt"/>
        <a:buAutoNum type="romanLcPeriod"/>
        <a:defRPr lang="en-GB" sz="2000" kern="1200" baseline="0" noProof="0" dirty="0" smtClean="0">
          <a:solidFill>
            <a:schemeClr val="tx1"/>
          </a:solidFill>
          <a:latin typeface="Georgia" pitchFamily="18" charset="0"/>
          <a:ea typeface="+mn-ea"/>
          <a:cs typeface="+mn-cs"/>
        </a:defRPr>
      </a:lvl8pPr>
      <a:lvl9pPr marL="0" indent="0" algn="l" defTabSz="1018824" rtl="0" eaLnBrk="1" latinLnBrk="0" hangingPunct="1">
        <a:lnSpc>
          <a:spcPct val="100000"/>
        </a:lnSpc>
        <a:spcBef>
          <a:spcPts val="0"/>
        </a:spcBef>
        <a:spcAft>
          <a:spcPts val="600"/>
        </a:spcAft>
        <a:buFont typeface="Arial" pitchFamily="34" charset="0"/>
        <a:buNone/>
        <a:defRPr lang="en-GB" sz="2000" b="1" kern="1200" baseline="0" noProof="0" dirty="0" smtClean="0">
          <a:solidFill>
            <a:schemeClr val="tx2"/>
          </a:solidFill>
          <a:latin typeface="Georgia" pitchFamily="18" charset="0"/>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slideLayout" Target="../slideLayouts/slideLayout1.xml"/><Relationship Id="rId3" Type="http://schemas.openxmlformats.org/officeDocument/2006/relationships/tags" Target="../tags/tag120.xml"/><Relationship Id="rId7" Type="http://schemas.openxmlformats.org/officeDocument/2006/relationships/tags" Target="../tags/tag124.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5" Type="http://schemas.openxmlformats.org/officeDocument/2006/relationships/tags" Target="../tags/tag122.xml"/><Relationship Id="rId4" Type="http://schemas.openxmlformats.org/officeDocument/2006/relationships/tags" Target="../tags/tag121.xml"/></Relationships>
</file>

<file path=ppt/slides/_rels/slide10.xml.rels><?xml version="1.0" encoding="UTF-8" standalone="yes"?>
<Relationships xmlns="http://schemas.openxmlformats.org/package/2006/relationships"><Relationship Id="rId8" Type="http://schemas.openxmlformats.org/officeDocument/2006/relationships/tags" Target="../tags/tag233.xml"/><Relationship Id="rId13" Type="http://schemas.openxmlformats.org/officeDocument/2006/relationships/slide" Target="slide9.xml"/><Relationship Id="rId3" Type="http://schemas.openxmlformats.org/officeDocument/2006/relationships/tags" Target="../tags/tag228.xml"/><Relationship Id="rId7" Type="http://schemas.openxmlformats.org/officeDocument/2006/relationships/tags" Target="../tags/tag232.xml"/><Relationship Id="rId12" Type="http://schemas.openxmlformats.org/officeDocument/2006/relationships/slideLayout" Target="../slideLayouts/slideLayout2.xml"/><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tags" Target="../tags/tag231.xml"/><Relationship Id="rId11" Type="http://schemas.openxmlformats.org/officeDocument/2006/relationships/tags" Target="../tags/tag236.xml"/><Relationship Id="rId5" Type="http://schemas.openxmlformats.org/officeDocument/2006/relationships/tags" Target="../tags/tag230.xml"/><Relationship Id="rId15" Type="http://schemas.openxmlformats.org/officeDocument/2006/relationships/slide" Target="slide2.xml"/><Relationship Id="rId10" Type="http://schemas.openxmlformats.org/officeDocument/2006/relationships/tags" Target="../tags/tag235.xml"/><Relationship Id="rId4" Type="http://schemas.openxmlformats.org/officeDocument/2006/relationships/tags" Target="../tags/tag229.xml"/><Relationship Id="rId9" Type="http://schemas.openxmlformats.org/officeDocument/2006/relationships/tags" Target="../tags/tag234.xml"/><Relationship Id="rId14" Type="http://schemas.openxmlformats.org/officeDocument/2006/relationships/slide" Target="slide3.xml"/></Relationships>
</file>

<file path=ppt/slides/_rels/slide11.xml.rels><?xml version="1.0" encoding="UTF-8" standalone="yes"?>
<Relationships xmlns="http://schemas.openxmlformats.org/package/2006/relationships"><Relationship Id="rId8" Type="http://schemas.openxmlformats.org/officeDocument/2006/relationships/tags" Target="../tags/tag244.xml"/><Relationship Id="rId13" Type="http://schemas.openxmlformats.org/officeDocument/2006/relationships/slide" Target="slide9.xml"/><Relationship Id="rId3" Type="http://schemas.openxmlformats.org/officeDocument/2006/relationships/tags" Target="../tags/tag239.xml"/><Relationship Id="rId7" Type="http://schemas.openxmlformats.org/officeDocument/2006/relationships/tags" Target="../tags/tag243.xml"/><Relationship Id="rId12" Type="http://schemas.openxmlformats.org/officeDocument/2006/relationships/slideLayout" Target="../slideLayouts/slideLayout2.xml"/><Relationship Id="rId2" Type="http://schemas.openxmlformats.org/officeDocument/2006/relationships/tags" Target="../tags/tag238.xml"/><Relationship Id="rId1" Type="http://schemas.openxmlformats.org/officeDocument/2006/relationships/tags" Target="../tags/tag237.xml"/><Relationship Id="rId6" Type="http://schemas.openxmlformats.org/officeDocument/2006/relationships/tags" Target="../tags/tag242.xml"/><Relationship Id="rId11" Type="http://schemas.openxmlformats.org/officeDocument/2006/relationships/tags" Target="../tags/tag247.xml"/><Relationship Id="rId5" Type="http://schemas.openxmlformats.org/officeDocument/2006/relationships/tags" Target="../tags/tag241.xml"/><Relationship Id="rId15" Type="http://schemas.openxmlformats.org/officeDocument/2006/relationships/slide" Target="slide2.xml"/><Relationship Id="rId10" Type="http://schemas.openxmlformats.org/officeDocument/2006/relationships/tags" Target="../tags/tag246.xml"/><Relationship Id="rId4" Type="http://schemas.openxmlformats.org/officeDocument/2006/relationships/tags" Target="../tags/tag240.xml"/><Relationship Id="rId9" Type="http://schemas.openxmlformats.org/officeDocument/2006/relationships/tags" Target="../tags/tag245.xml"/><Relationship Id="rId14" Type="http://schemas.openxmlformats.org/officeDocument/2006/relationships/slide" Target="slide3.xml"/></Relationships>
</file>

<file path=ppt/slides/_rels/slide12.xml.rels><?xml version="1.0" encoding="UTF-8" standalone="yes"?>
<Relationships xmlns="http://schemas.openxmlformats.org/package/2006/relationships"><Relationship Id="rId8" Type="http://schemas.openxmlformats.org/officeDocument/2006/relationships/tags" Target="../tags/tag255.xml"/><Relationship Id="rId13" Type="http://schemas.openxmlformats.org/officeDocument/2006/relationships/diagramData" Target="../diagrams/data1.xml"/><Relationship Id="rId18" Type="http://schemas.openxmlformats.org/officeDocument/2006/relationships/slide" Target="slide9.xml"/><Relationship Id="rId3" Type="http://schemas.openxmlformats.org/officeDocument/2006/relationships/tags" Target="../tags/tag250.xml"/><Relationship Id="rId7" Type="http://schemas.openxmlformats.org/officeDocument/2006/relationships/tags" Target="../tags/tag254.xml"/><Relationship Id="rId12" Type="http://schemas.openxmlformats.org/officeDocument/2006/relationships/slideLayout" Target="../slideLayouts/slideLayout2.xml"/><Relationship Id="rId17" Type="http://schemas.microsoft.com/office/2007/relationships/diagramDrawing" Target="../diagrams/drawing1.xml"/><Relationship Id="rId2" Type="http://schemas.openxmlformats.org/officeDocument/2006/relationships/tags" Target="../tags/tag249.xml"/><Relationship Id="rId16" Type="http://schemas.openxmlformats.org/officeDocument/2006/relationships/diagramColors" Target="../diagrams/colors1.xml"/><Relationship Id="rId20" Type="http://schemas.openxmlformats.org/officeDocument/2006/relationships/slide" Target="slide2.xml"/><Relationship Id="rId1" Type="http://schemas.openxmlformats.org/officeDocument/2006/relationships/tags" Target="../tags/tag248.xml"/><Relationship Id="rId6" Type="http://schemas.openxmlformats.org/officeDocument/2006/relationships/tags" Target="../tags/tag253.xml"/><Relationship Id="rId11" Type="http://schemas.openxmlformats.org/officeDocument/2006/relationships/tags" Target="../tags/tag258.xml"/><Relationship Id="rId5" Type="http://schemas.openxmlformats.org/officeDocument/2006/relationships/tags" Target="../tags/tag252.xml"/><Relationship Id="rId15" Type="http://schemas.openxmlformats.org/officeDocument/2006/relationships/diagramQuickStyle" Target="../diagrams/quickStyle1.xml"/><Relationship Id="rId10" Type="http://schemas.openxmlformats.org/officeDocument/2006/relationships/tags" Target="../tags/tag257.xml"/><Relationship Id="rId19" Type="http://schemas.openxmlformats.org/officeDocument/2006/relationships/slide" Target="slide3.xml"/><Relationship Id="rId4" Type="http://schemas.openxmlformats.org/officeDocument/2006/relationships/tags" Target="../tags/tag251.xml"/><Relationship Id="rId9" Type="http://schemas.openxmlformats.org/officeDocument/2006/relationships/tags" Target="../tags/tag256.xml"/><Relationship Id="rId1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8" Type="http://schemas.openxmlformats.org/officeDocument/2006/relationships/tags" Target="../tags/tag266.xml"/><Relationship Id="rId13" Type="http://schemas.openxmlformats.org/officeDocument/2006/relationships/diagramData" Target="../diagrams/data2.xml"/><Relationship Id="rId18" Type="http://schemas.openxmlformats.org/officeDocument/2006/relationships/slide" Target="slide9.xml"/><Relationship Id="rId3" Type="http://schemas.openxmlformats.org/officeDocument/2006/relationships/tags" Target="../tags/tag261.xml"/><Relationship Id="rId7" Type="http://schemas.openxmlformats.org/officeDocument/2006/relationships/tags" Target="../tags/tag265.xml"/><Relationship Id="rId12" Type="http://schemas.openxmlformats.org/officeDocument/2006/relationships/slideLayout" Target="../slideLayouts/slideLayout2.xml"/><Relationship Id="rId17" Type="http://schemas.microsoft.com/office/2007/relationships/diagramDrawing" Target="../diagrams/drawing2.xml"/><Relationship Id="rId2" Type="http://schemas.openxmlformats.org/officeDocument/2006/relationships/tags" Target="../tags/tag260.xml"/><Relationship Id="rId16" Type="http://schemas.openxmlformats.org/officeDocument/2006/relationships/diagramColors" Target="../diagrams/colors2.xml"/><Relationship Id="rId20" Type="http://schemas.openxmlformats.org/officeDocument/2006/relationships/slide" Target="slide2.xml"/><Relationship Id="rId1" Type="http://schemas.openxmlformats.org/officeDocument/2006/relationships/tags" Target="../tags/tag259.xml"/><Relationship Id="rId6" Type="http://schemas.openxmlformats.org/officeDocument/2006/relationships/tags" Target="../tags/tag264.xml"/><Relationship Id="rId11" Type="http://schemas.openxmlformats.org/officeDocument/2006/relationships/tags" Target="../tags/tag269.xml"/><Relationship Id="rId5" Type="http://schemas.openxmlformats.org/officeDocument/2006/relationships/tags" Target="../tags/tag263.xml"/><Relationship Id="rId15" Type="http://schemas.openxmlformats.org/officeDocument/2006/relationships/diagramQuickStyle" Target="../diagrams/quickStyle2.xml"/><Relationship Id="rId10" Type="http://schemas.openxmlformats.org/officeDocument/2006/relationships/tags" Target="../tags/tag268.xml"/><Relationship Id="rId19" Type="http://schemas.openxmlformats.org/officeDocument/2006/relationships/slide" Target="slide3.xml"/><Relationship Id="rId4" Type="http://schemas.openxmlformats.org/officeDocument/2006/relationships/tags" Target="../tags/tag262.xml"/><Relationship Id="rId9" Type="http://schemas.openxmlformats.org/officeDocument/2006/relationships/tags" Target="../tags/tag267.xml"/><Relationship Id="rId1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8" Type="http://schemas.openxmlformats.org/officeDocument/2006/relationships/tags" Target="../tags/tag277.xml"/><Relationship Id="rId13" Type="http://schemas.openxmlformats.org/officeDocument/2006/relationships/slide" Target="slide9.xml"/><Relationship Id="rId3" Type="http://schemas.openxmlformats.org/officeDocument/2006/relationships/tags" Target="../tags/tag272.xml"/><Relationship Id="rId7" Type="http://schemas.openxmlformats.org/officeDocument/2006/relationships/tags" Target="../tags/tag276.xml"/><Relationship Id="rId12" Type="http://schemas.openxmlformats.org/officeDocument/2006/relationships/slideLayout" Target="../slideLayouts/slideLayout2.xml"/><Relationship Id="rId2" Type="http://schemas.openxmlformats.org/officeDocument/2006/relationships/tags" Target="../tags/tag271.xml"/><Relationship Id="rId1" Type="http://schemas.openxmlformats.org/officeDocument/2006/relationships/tags" Target="../tags/tag270.xml"/><Relationship Id="rId6" Type="http://schemas.openxmlformats.org/officeDocument/2006/relationships/tags" Target="../tags/tag275.xml"/><Relationship Id="rId11" Type="http://schemas.openxmlformats.org/officeDocument/2006/relationships/tags" Target="../tags/tag280.xml"/><Relationship Id="rId5" Type="http://schemas.openxmlformats.org/officeDocument/2006/relationships/tags" Target="../tags/tag274.xml"/><Relationship Id="rId15" Type="http://schemas.openxmlformats.org/officeDocument/2006/relationships/slide" Target="slide2.xml"/><Relationship Id="rId10" Type="http://schemas.openxmlformats.org/officeDocument/2006/relationships/tags" Target="../tags/tag279.xml"/><Relationship Id="rId4" Type="http://schemas.openxmlformats.org/officeDocument/2006/relationships/tags" Target="../tags/tag273.xml"/><Relationship Id="rId9" Type="http://schemas.openxmlformats.org/officeDocument/2006/relationships/tags" Target="../tags/tag278.xml"/><Relationship Id="rId14" Type="http://schemas.openxmlformats.org/officeDocument/2006/relationships/slide" Target="slide3.xml"/></Relationships>
</file>

<file path=ppt/slides/_rels/slide15.xml.rels><?xml version="1.0" encoding="UTF-8" standalone="yes"?>
<Relationships xmlns="http://schemas.openxmlformats.org/package/2006/relationships"><Relationship Id="rId8" Type="http://schemas.openxmlformats.org/officeDocument/2006/relationships/tags" Target="../tags/tag288.xml"/><Relationship Id="rId13" Type="http://schemas.openxmlformats.org/officeDocument/2006/relationships/slide" Target="slide9.xml"/><Relationship Id="rId3" Type="http://schemas.openxmlformats.org/officeDocument/2006/relationships/tags" Target="../tags/tag283.xml"/><Relationship Id="rId7" Type="http://schemas.openxmlformats.org/officeDocument/2006/relationships/tags" Target="../tags/tag287.xml"/><Relationship Id="rId12" Type="http://schemas.openxmlformats.org/officeDocument/2006/relationships/slideLayout" Target="../slideLayouts/slideLayout2.xml"/><Relationship Id="rId2" Type="http://schemas.openxmlformats.org/officeDocument/2006/relationships/tags" Target="../tags/tag282.xml"/><Relationship Id="rId1" Type="http://schemas.openxmlformats.org/officeDocument/2006/relationships/tags" Target="../tags/tag281.xml"/><Relationship Id="rId6" Type="http://schemas.openxmlformats.org/officeDocument/2006/relationships/tags" Target="../tags/tag286.xml"/><Relationship Id="rId11" Type="http://schemas.openxmlformats.org/officeDocument/2006/relationships/tags" Target="../tags/tag291.xml"/><Relationship Id="rId5" Type="http://schemas.openxmlformats.org/officeDocument/2006/relationships/tags" Target="../tags/tag285.xml"/><Relationship Id="rId15" Type="http://schemas.openxmlformats.org/officeDocument/2006/relationships/slide" Target="slide2.xml"/><Relationship Id="rId10" Type="http://schemas.openxmlformats.org/officeDocument/2006/relationships/tags" Target="../tags/tag290.xml"/><Relationship Id="rId4" Type="http://schemas.openxmlformats.org/officeDocument/2006/relationships/tags" Target="../tags/tag284.xml"/><Relationship Id="rId9" Type="http://schemas.openxmlformats.org/officeDocument/2006/relationships/tags" Target="../tags/tag289.xml"/><Relationship Id="rId14" Type="http://schemas.openxmlformats.org/officeDocument/2006/relationships/slide" Target="slide3.xml"/></Relationships>
</file>

<file path=ppt/slides/_rels/slide16.xml.rels><?xml version="1.0" encoding="UTF-8" standalone="yes"?>
<Relationships xmlns="http://schemas.openxmlformats.org/package/2006/relationships"><Relationship Id="rId8" Type="http://schemas.openxmlformats.org/officeDocument/2006/relationships/tags" Target="../tags/tag299.xml"/><Relationship Id="rId13" Type="http://schemas.openxmlformats.org/officeDocument/2006/relationships/slide" Target="slide9.xml"/><Relationship Id="rId3" Type="http://schemas.openxmlformats.org/officeDocument/2006/relationships/tags" Target="../tags/tag294.xml"/><Relationship Id="rId7" Type="http://schemas.openxmlformats.org/officeDocument/2006/relationships/tags" Target="../tags/tag298.xml"/><Relationship Id="rId12" Type="http://schemas.openxmlformats.org/officeDocument/2006/relationships/slideLayout" Target="../slideLayouts/slideLayout2.xml"/><Relationship Id="rId2" Type="http://schemas.openxmlformats.org/officeDocument/2006/relationships/tags" Target="../tags/tag293.xml"/><Relationship Id="rId1" Type="http://schemas.openxmlformats.org/officeDocument/2006/relationships/tags" Target="../tags/tag292.xml"/><Relationship Id="rId6" Type="http://schemas.openxmlformats.org/officeDocument/2006/relationships/tags" Target="../tags/tag297.xml"/><Relationship Id="rId11" Type="http://schemas.openxmlformats.org/officeDocument/2006/relationships/tags" Target="../tags/tag302.xml"/><Relationship Id="rId5" Type="http://schemas.openxmlformats.org/officeDocument/2006/relationships/tags" Target="../tags/tag296.xml"/><Relationship Id="rId15" Type="http://schemas.openxmlformats.org/officeDocument/2006/relationships/slide" Target="slide2.xml"/><Relationship Id="rId10" Type="http://schemas.openxmlformats.org/officeDocument/2006/relationships/tags" Target="../tags/tag301.xml"/><Relationship Id="rId4" Type="http://schemas.openxmlformats.org/officeDocument/2006/relationships/tags" Target="../tags/tag295.xml"/><Relationship Id="rId9" Type="http://schemas.openxmlformats.org/officeDocument/2006/relationships/tags" Target="../tags/tag300.xml"/><Relationship Id="rId14" Type="http://schemas.openxmlformats.org/officeDocument/2006/relationships/slide" Target="slide3.xml"/></Relationships>
</file>

<file path=ppt/slides/_rels/slide17.xml.rels><?xml version="1.0" encoding="UTF-8" standalone="yes"?>
<Relationships xmlns="http://schemas.openxmlformats.org/package/2006/relationships"><Relationship Id="rId8" Type="http://schemas.openxmlformats.org/officeDocument/2006/relationships/tags" Target="../tags/tag310.xml"/><Relationship Id="rId13" Type="http://schemas.openxmlformats.org/officeDocument/2006/relationships/slide" Target="slide9.xml"/><Relationship Id="rId3" Type="http://schemas.openxmlformats.org/officeDocument/2006/relationships/tags" Target="../tags/tag305.xml"/><Relationship Id="rId7" Type="http://schemas.openxmlformats.org/officeDocument/2006/relationships/tags" Target="../tags/tag309.xml"/><Relationship Id="rId12" Type="http://schemas.openxmlformats.org/officeDocument/2006/relationships/slideLayout" Target="../slideLayouts/slideLayout2.xml"/><Relationship Id="rId2" Type="http://schemas.openxmlformats.org/officeDocument/2006/relationships/tags" Target="../tags/tag304.xml"/><Relationship Id="rId1" Type="http://schemas.openxmlformats.org/officeDocument/2006/relationships/tags" Target="../tags/tag303.xml"/><Relationship Id="rId6" Type="http://schemas.openxmlformats.org/officeDocument/2006/relationships/tags" Target="../tags/tag308.xml"/><Relationship Id="rId11" Type="http://schemas.openxmlformats.org/officeDocument/2006/relationships/tags" Target="../tags/tag313.xml"/><Relationship Id="rId5" Type="http://schemas.openxmlformats.org/officeDocument/2006/relationships/tags" Target="../tags/tag307.xml"/><Relationship Id="rId15" Type="http://schemas.openxmlformats.org/officeDocument/2006/relationships/slide" Target="slide2.xml"/><Relationship Id="rId10" Type="http://schemas.openxmlformats.org/officeDocument/2006/relationships/tags" Target="../tags/tag312.xml"/><Relationship Id="rId4" Type="http://schemas.openxmlformats.org/officeDocument/2006/relationships/tags" Target="../tags/tag306.xml"/><Relationship Id="rId9" Type="http://schemas.openxmlformats.org/officeDocument/2006/relationships/tags" Target="../tags/tag311.xml"/><Relationship Id="rId14" Type="http://schemas.openxmlformats.org/officeDocument/2006/relationships/slide" Target="slide3.xml"/></Relationships>
</file>

<file path=ppt/slides/_rels/slide18.xml.rels><?xml version="1.0" encoding="UTF-8" standalone="yes"?>
<Relationships xmlns="http://schemas.openxmlformats.org/package/2006/relationships"><Relationship Id="rId8" Type="http://schemas.openxmlformats.org/officeDocument/2006/relationships/tags" Target="../tags/tag321.xml"/><Relationship Id="rId13" Type="http://schemas.openxmlformats.org/officeDocument/2006/relationships/slide" Target="slide9.xml"/><Relationship Id="rId3" Type="http://schemas.openxmlformats.org/officeDocument/2006/relationships/tags" Target="../tags/tag316.xml"/><Relationship Id="rId7" Type="http://schemas.openxmlformats.org/officeDocument/2006/relationships/tags" Target="../tags/tag320.xml"/><Relationship Id="rId12" Type="http://schemas.openxmlformats.org/officeDocument/2006/relationships/slideLayout" Target="../slideLayouts/slideLayout2.xml"/><Relationship Id="rId2" Type="http://schemas.openxmlformats.org/officeDocument/2006/relationships/tags" Target="../tags/tag315.xml"/><Relationship Id="rId1" Type="http://schemas.openxmlformats.org/officeDocument/2006/relationships/tags" Target="../tags/tag314.xml"/><Relationship Id="rId6" Type="http://schemas.openxmlformats.org/officeDocument/2006/relationships/tags" Target="../tags/tag319.xml"/><Relationship Id="rId11" Type="http://schemas.openxmlformats.org/officeDocument/2006/relationships/tags" Target="../tags/tag324.xml"/><Relationship Id="rId5" Type="http://schemas.openxmlformats.org/officeDocument/2006/relationships/tags" Target="../tags/tag318.xml"/><Relationship Id="rId15" Type="http://schemas.openxmlformats.org/officeDocument/2006/relationships/slide" Target="slide2.xml"/><Relationship Id="rId10" Type="http://schemas.openxmlformats.org/officeDocument/2006/relationships/tags" Target="../tags/tag323.xml"/><Relationship Id="rId4" Type="http://schemas.openxmlformats.org/officeDocument/2006/relationships/tags" Target="../tags/tag317.xml"/><Relationship Id="rId9" Type="http://schemas.openxmlformats.org/officeDocument/2006/relationships/tags" Target="../tags/tag322.xml"/><Relationship Id="rId14" Type="http://schemas.openxmlformats.org/officeDocument/2006/relationships/slide" Target="slide3.xml"/></Relationships>
</file>

<file path=ppt/slides/_rels/slide19.xml.rels><?xml version="1.0" encoding="UTF-8" standalone="yes"?>
<Relationships xmlns="http://schemas.openxmlformats.org/package/2006/relationships"><Relationship Id="rId8" Type="http://schemas.openxmlformats.org/officeDocument/2006/relationships/tags" Target="../tags/tag332.xml"/><Relationship Id="rId13" Type="http://schemas.openxmlformats.org/officeDocument/2006/relationships/slide" Target="slide9.xml"/><Relationship Id="rId3" Type="http://schemas.openxmlformats.org/officeDocument/2006/relationships/tags" Target="../tags/tag327.xml"/><Relationship Id="rId7" Type="http://schemas.openxmlformats.org/officeDocument/2006/relationships/tags" Target="../tags/tag331.xml"/><Relationship Id="rId12" Type="http://schemas.openxmlformats.org/officeDocument/2006/relationships/slideLayout" Target="../slideLayouts/slideLayout2.xml"/><Relationship Id="rId2" Type="http://schemas.openxmlformats.org/officeDocument/2006/relationships/tags" Target="../tags/tag326.xml"/><Relationship Id="rId1" Type="http://schemas.openxmlformats.org/officeDocument/2006/relationships/tags" Target="../tags/tag325.xml"/><Relationship Id="rId6" Type="http://schemas.openxmlformats.org/officeDocument/2006/relationships/tags" Target="../tags/tag330.xml"/><Relationship Id="rId11" Type="http://schemas.openxmlformats.org/officeDocument/2006/relationships/tags" Target="../tags/tag335.xml"/><Relationship Id="rId5" Type="http://schemas.openxmlformats.org/officeDocument/2006/relationships/tags" Target="../tags/tag329.xml"/><Relationship Id="rId15" Type="http://schemas.openxmlformats.org/officeDocument/2006/relationships/slide" Target="slide2.xml"/><Relationship Id="rId10" Type="http://schemas.openxmlformats.org/officeDocument/2006/relationships/tags" Target="../tags/tag334.xml"/><Relationship Id="rId4" Type="http://schemas.openxmlformats.org/officeDocument/2006/relationships/tags" Target="../tags/tag328.xml"/><Relationship Id="rId9" Type="http://schemas.openxmlformats.org/officeDocument/2006/relationships/tags" Target="../tags/tag333.xml"/><Relationship Id="rId14" Type="http://schemas.openxmlformats.org/officeDocument/2006/relationships/slide" Target="slide3.xml"/></Relationships>
</file>

<file path=ppt/slides/_rels/slide2.xml.rels><?xml version="1.0" encoding="UTF-8" standalone="yes"?>
<Relationships xmlns="http://schemas.openxmlformats.org/package/2006/relationships"><Relationship Id="rId8" Type="http://schemas.openxmlformats.org/officeDocument/2006/relationships/tags" Target="../tags/tag132.xml"/><Relationship Id="rId13" Type="http://schemas.openxmlformats.org/officeDocument/2006/relationships/tags" Target="../tags/tag137.xml"/><Relationship Id="rId18" Type="http://schemas.openxmlformats.org/officeDocument/2006/relationships/tags" Target="../tags/tag142.xml"/><Relationship Id="rId3" Type="http://schemas.openxmlformats.org/officeDocument/2006/relationships/tags" Target="../tags/tag127.xml"/><Relationship Id="rId21" Type="http://schemas.openxmlformats.org/officeDocument/2006/relationships/slideLayout" Target="../slideLayouts/slideLayout11.xml"/><Relationship Id="rId7" Type="http://schemas.openxmlformats.org/officeDocument/2006/relationships/tags" Target="../tags/tag131.xml"/><Relationship Id="rId12" Type="http://schemas.openxmlformats.org/officeDocument/2006/relationships/tags" Target="../tags/tag136.xml"/><Relationship Id="rId17" Type="http://schemas.openxmlformats.org/officeDocument/2006/relationships/tags" Target="../tags/tag141.xml"/><Relationship Id="rId2" Type="http://schemas.openxmlformats.org/officeDocument/2006/relationships/tags" Target="../tags/tag126.xml"/><Relationship Id="rId16" Type="http://schemas.openxmlformats.org/officeDocument/2006/relationships/tags" Target="../tags/tag140.xml"/><Relationship Id="rId20" Type="http://schemas.openxmlformats.org/officeDocument/2006/relationships/tags" Target="../tags/tag144.xml"/><Relationship Id="rId1" Type="http://schemas.openxmlformats.org/officeDocument/2006/relationships/tags" Target="../tags/tag125.xml"/><Relationship Id="rId6" Type="http://schemas.openxmlformats.org/officeDocument/2006/relationships/tags" Target="../tags/tag130.xml"/><Relationship Id="rId11" Type="http://schemas.openxmlformats.org/officeDocument/2006/relationships/tags" Target="../tags/tag135.xml"/><Relationship Id="rId24" Type="http://schemas.openxmlformats.org/officeDocument/2006/relationships/slide" Target="slide2.xml"/><Relationship Id="rId5" Type="http://schemas.openxmlformats.org/officeDocument/2006/relationships/tags" Target="../tags/tag129.xml"/><Relationship Id="rId15" Type="http://schemas.openxmlformats.org/officeDocument/2006/relationships/tags" Target="../tags/tag139.xml"/><Relationship Id="rId23" Type="http://schemas.openxmlformats.org/officeDocument/2006/relationships/slide" Target="slide9.xml"/><Relationship Id="rId10" Type="http://schemas.openxmlformats.org/officeDocument/2006/relationships/tags" Target="../tags/tag134.xml"/><Relationship Id="rId19" Type="http://schemas.openxmlformats.org/officeDocument/2006/relationships/tags" Target="../tags/tag143.xml"/><Relationship Id="rId4" Type="http://schemas.openxmlformats.org/officeDocument/2006/relationships/tags" Target="../tags/tag128.xml"/><Relationship Id="rId9" Type="http://schemas.openxmlformats.org/officeDocument/2006/relationships/tags" Target="../tags/tag133.xml"/><Relationship Id="rId14" Type="http://schemas.openxmlformats.org/officeDocument/2006/relationships/tags" Target="../tags/tag138.xml"/><Relationship Id="rId22" Type="http://schemas.openxmlformats.org/officeDocument/2006/relationships/slide" Target="slide3.xml"/></Relationships>
</file>

<file path=ppt/slides/_rels/slide20.xml.rels><?xml version="1.0" encoding="UTF-8" standalone="yes"?>
<Relationships xmlns="http://schemas.openxmlformats.org/package/2006/relationships"><Relationship Id="rId8" Type="http://schemas.openxmlformats.org/officeDocument/2006/relationships/tags" Target="../tags/tag343.xml"/><Relationship Id="rId13" Type="http://schemas.openxmlformats.org/officeDocument/2006/relationships/slide" Target="slide9.xml"/><Relationship Id="rId3" Type="http://schemas.openxmlformats.org/officeDocument/2006/relationships/tags" Target="../tags/tag338.xml"/><Relationship Id="rId7" Type="http://schemas.openxmlformats.org/officeDocument/2006/relationships/tags" Target="../tags/tag342.xml"/><Relationship Id="rId12" Type="http://schemas.openxmlformats.org/officeDocument/2006/relationships/slideLayout" Target="../slideLayouts/slideLayout2.xml"/><Relationship Id="rId2" Type="http://schemas.openxmlformats.org/officeDocument/2006/relationships/tags" Target="../tags/tag337.xml"/><Relationship Id="rId1" Type="http://schemas.openxmlformats.org/officeDocument/2006/relationships/tags" Target="../tags/tag336.xml"/><Relationship Id="rId6" Type="http://schemas.openxmlformats.org/officeDocument/2006/relationships/tags" Target="../tags/tag341.xml"/><Relationship Id="rId11" Type="http://schemas.openxmlformats.org/officeDocument/2006/relationships/tags" Target="../tags/tag346.xml"/><Relationship Id="rId5" Type="http://schemas.openxmlformats.org/officeDocument/2006/relationships/tags" Target="../tags/tag340.xml"/><Relationship Id="rId15" Type="http://schemas.openxmlformats.org/officeDocument/2006/relationships/slide" Target="slide2.xml"/><Relationship Id="rId10" Type="http://schemas.openxmlformats.org/officeDocument/2006/relationships/tags" Target="../tags/tag345.xml"/><Relationship Id="rId4" Type="http://schemas.openxmlformats.org/officeDocument/2006/relationships/tags" Target="../tags/tag339.xml"/><Relationship Id="rId9" Type="http://schemas.openxmlformats.org/officeDocument/2006/relationships/tags" Target="../tags/tag344.xml"/><Relationship Id="rId14" Type="http://schemas.openxmlformats.org/officeDocument/2006/relationships/slide" Target="slide3.xml"/></Relationships>
</file>

<file path=ppt/slides/_rels/slide21.xml.rels><?xml version="1.0" encoding="UTF-8" standalone="yes"?>
<Relationships xmlns="http://schemas.openxmlformats.org/package/2006/relationships"><Relationship Id="rId8" Type="http://schemas.openxmlformats.org/officeDocument/2006/relationships/tags" Target="../tags/tag354.xml"/><Relationship Id="rId13" Type="http://schemas.openxmlformats.org/officeDocument/2006/relationships/image" Target="../media/image2.jpeg"/><Relationship Id="rId3" Type="http://schemas.openxmlformats.org/officeDocument/2006/relationships/tags" Target="../tags/tag349.xml"/><Relationship Id="rId7" Type="http://schemas.openxmlformats.org/officeDocument/2006/relationships/tags" Target="../tags/tag353.xml"/><Relationship Id="rId12" Type="http://schemas.openxmlformats.org/officeDocument/2006/relationships/slideLayout" Target="../slideLayouts/slideLayout2.xml"/><Relationship Id="rId2" Type="http://schemas.openxmlformats.org/officeDocument/2006/relationships/tags" Target="../tags/tag348.xml"/><Relationship Id="rId16" Type="http://schemas.openxmlformats.org/officeDocument/2006/relationships/slide" Target="slide2.xml"/><Relationship Id="rId1" Type="http://schemas.openxmlformats.org/officeDocument/2006/relationships/tags" Target="../tags/tag347.xml"/><Relationship Id="rId6" Type="http://schemas.openxmlformats.org/officeDocument/2006/relationships/tags" Target="../tags/tag352.xml"/><Relationship Id="rId11" Type="http://schemas.openxmlformats.org/officeDocument/2006/relationships/tags" Target="../tags/tag357.xml"/><Relationship Id="rId5" Type="http://schemas.openxmlformats.org/officeDocument/2006/relationships/tags" Target="../tags/tag351.xml"/><Relationship Id="rId15" Type="http://schemas.openxmlformats.org/officeDocument/2006/relationships/slide" Target="slide3.xml"/><Relationship Id="rId10" Type="http://schemas.openxmlformats.org/officeDocument/2006/relationships/tags" Target="../tags/tag356.xml"/><Relationship Id="rId4" Type="http://schemas.openxmlformats.org/officeDocument/2006/relationships/tags" Target="../tags/tag350.xml"/><Relationship Id="rId9" Type="http://schemas.openxmlformats.org/officeDocument/2006/relationships/tags" Target="../tags/tag355.xml"/><Relationship Id="rId14" Type="http://schemas.openxmlformats.org/officeDocument/2006/relationships/slide" Target="slide9.xml"/></Relationships>
</file>

<file path=ppt/slides/_rels/slide22.xml.rels><?xml version="1.0" encoding="UTF-8" standalone="yes"?>
<Relationships xmlns="http://schemas.openxmlformats.org/package/2006/relationships"><Relationship Id="rId3" Type="http://schemas.openxmlformats.org/officeDocument/2006/relationships/tags" Target="../tags/tag360.xml"/><Relationship Id="rId2" Type="http://schemas.openxmlformats.org/officeDocument/2006/relationships/tags" Target="../tags/tag359.xml"/><Relationship Id="rId1" Type="http://schemas.openxmlformats.org/officeDocument/2006/relationships/tags" Target="../tags/tag358.xml"/><Relationship Id="rId4"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tags" Target="../tags/tag152.xml"/><Relationship Id="rId13" Type="http://schemas.openxmlformats.org/officeDocument/2006/relationships/slideLayout" Target="../slideLayouts/slideLayout12.xml"/><Relationship Id="rId3" Type="http://schemas.openxmlformats.org/officeDocument/2006/relationships/tags" Target="../tags/tag147.xml"/><Relationship Id="rId7" Type="http://schemas.openxmlformats.org/officeDocument/2006/relationships/tags" Target="../tags/tag151.xml"/><Relationship Id="rId12" Type="http://schemas.openxmlformats.org/officeDocument/2006/relationships/tags" Target="../tags/tag156.xml"/><Relationship Id="rId2" Type="http://schemas.openxmlformats.org/officeDocument/2006/relationships/tags" Target="../tags/tag146.xml"/><Relationship Id="rId16" Type="http://schemas.openxmlformats.org/officeDocument/2006/relationships/slide" Target="slide2.xml"/><Relationship Id="rId1" Type="http://schemas.openxmlformats.org/officeDocument/2006/relationships/tags" Target="../tags/tag145.xml"/><Relationship Id="rId6" Type="http://schemas.openxmlformats.org/officeDocument/2006/relationships/tags" Target="../tags/tag150.xml"/><Relationship Id="rId11" Type="http://schemas.openxmlformats.org/officeDocument/2006/relationships/tags" Target="../tags/tag155.xml"/><Relationship Id="rId5" Type="http://schemas.openxmlformats.org/officeDocument/2006/relationships/tags" Target="../tags/tag149.xml"/><Relationship Id="rId15" Type="http://schemas.openxmlformats.org/officeDocument/2006/relationships/slide" Target="slide3.xml"/><Relationship Id="rId10" Type="http://schemas.openxmlformats.org/officeDocument/2006/relationships/tags" Target="../tags/tag154.xml"/><Relationship Id="rId4" Type="http://schemas.openxmlformats.org/officeDocument/2006/relationships/tags" Target="../tags/tag148.xml"/><Relationship Id="rId9" Type="http://schemas.openxmlformats.org/officeDocument/2006/relationships/tags" Target="../tags/tag153.xml"/><Relationship Id="rId14" Type="http://schemas.openxmlformats.org/officeDocument/2006/relationships/slide" Target="slide9.xml"/></Relationships>
</file>

<file path=ppt/slides/_rels/slide4.xml.rels><?xml version="1.0" encoding="UTF-8" standalone="yes"?>
<Relationships xmlns="http://schemas.openxmlformats.org/package/2006/relationships"><Relationship Id="rId8" Type="http://schemas.openxmlformats.org/officeDocument/2006/relationships/tags" Target="../tags/tag164.xml"/><Relationship Id="rId13" Type="http://schemas.openxmlformats.org/officeDocument/2006/relationships/slide" Target="slide9.xml"/><Relationship Id="rId3" Type="http://schemas.openxmlformats.org/officeDocument/2006/relationships/tags" Target="../tags/tag159.xml"/><Relationship Id="rId7" Type="http://schemas.openxmlformats.org/officeDocument/2006/relationships/tags" Target="../tags/tag163.xml"/><Relationship Id="rId12" Type="http://schemas.openxmlformats.org/officeDocument/2006/relationships/slideLayout" Target="../slideLayouts/slideLayout2.xml"/><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tags" Target="../tags/tag162.xml"/><Relationship Id="rId11" Type="http://schemas.openxmlformats.org/officeDocument/2006/relationships/tags" Target="../tags/tag167.xml"/><Relationship Id="rId5" Type="http://schemas.openxmlformats.org/officeDocument/2006/relationships/tags" Target="../tags/tag161.xml"/><Relationship Id="rId15" Type="http://schemas.openxmlformats.org/officeDocument/2006/relationships/slide" Target="slide2.xml"/><Relationship Id="rId10" Type="http://schemas.openxmlformats.org/officeDocument/2006/relationships/tags" Target="../tags/tag166.xml"/><Relationship Id="rId4" Type="http://schemas.openxmlformats.org/officeDocument/2006/relationships/tags" Target="../tags/tag160.xml"/><Relationship Id="rId9" Type="http://schemas.openxmlformats.org/officeDocument/2006/relationships/tags" Target="../tags/tag165.xml"/><Relationship Id="rId14" Type="http://schemas.openxmlformats.org/officeDocument/2006/relationships/slide" Target="slide3.xml"/></Relationships>
</file>

<file path=ppt/slides/_rels/slide5.xml.rels><?xml version="1.0" encoding="UTF-8" standalone="yes"?>
<Relationships xmlns="http://schemas.openxmlformats.org/package/2006/relationships"><Relationship Id="rId8" Type="http://schemas.openxmlformats.org/officeDocument/2006/relationships/tags" Target="../tags/tag175.xml"/><Relationship Id="rId13" Type="http://schemas.openxmlformats.org/officeDocument/2006/relationships/slide" Target="slide9.xml"/><Relationship Id="rId3" Type="http://schemas.openxmlformats.org/officeDocument/2006/relationships/tags" Target="../tags/tag170.xml"/><Relationship Id="rId7" Type="http://schemas.openxmlformats.org/officeDocument/2006/relationships/tags" Target="../tags/tag174.xml"/><Relationship Id="rId12" Type="http://schemas.openxmlformats.org/officeDocument/2006/relationships/slideLayout" Target="../slideLayouts/slideLayout2.xml"/><Relationship Id="rId2" Type="http://schemas.openxmlformats.org/officeDocument/2006/relationships/tags" Target="../tags/tag169.xml"/><Relationship Id="rId1" Type="http://schemas.openxmlformats.org/officeDocument/2006/relationships/tags" Target="../tags/tag168.xml"/><Relationship Id="rId6" Type="http://schemas.openxmlformats.org/officeDocument/2006/relationships/tags" Target="../tags/tag173.xml"/><Relationship Id="rId11" Type="http://schemas.openxmlformats.org/officeDocument/2006/relationships/tags" Target="../tags/tag178.xml"/><Relationship Id="rId5" Type="http://schemas.openxmlformats.org/officeDocument/2006/relationships/tags" Target="../tags/tag172.xml"/><Relationship Id="rId15" Type="http://schemas.openxmlformats.org/officeDocument/2006/relationships/slide" Target="slide2.xml"/><Relationship Id="rId10" Type="http://schemas.openxmlformats.org/officeDocument/2006/relationships/tags" Target="../tags/tag177.xml"/><Relationship Id="rId4" Type="http://schemas.openxmlformats.org/officeDocument/2006/relationships/tags" Target="../tags/tag171.xml"/><Relationship Id="rId9" Type="http://schemas.openxmlformats.org/officeDocument/2006/relationships/tags" Target="../tags/tag176.xml"/><Relationship Id="rId14" Type="http://schemas.openxmlformats.org/officeDocument/2006/relationships/slide" Target="slide3.xml"/></Relationships>
</file>

<file path=ppt/slides/_rels/slide6.xml.rels><?xml version="1.0" encoding="UTF-8" standalone="yes"?>
<Relationships xmlns="http://schemas.openxmlformats.org/package/2006/relationships"><Relationship Id="rId8" Type="http://schemas.openxmlformats.org/officeDocument/2006/relationships/tags" Target="../tags/tag186.xml"/><Relationship Id="rId13" Type="http://schemas.openxmlformats.org/officeDocument/2006/relationships/slideLayout" Target="../slideLayouts/slideLayout2.xml"/><Relationship Id="rId3" Type="http://schemas.openxmlformats.org/officeDocument/2006/relationships/tags" Target="../tags/tag181.xml"/><Relationship Id="rId7" Type="http://schemas.openxmlformats.org/officeDocument/2006/relationships/tags" Target="../tags/tag185.xml"/><Relationship Id="rId12" Type="http://schemas.openxmlformats.org/officeDocument/2006/relationships/tags" Target="../tags/tag190.xml"/><Relationship Id="rId2" Type="http://schemas.openxmlformats.org/officeDocument/2006/relationships/tags" Target="../tags/tag180.xml"/><Relationship Id="rId16" Type="http://schemas.openxmlformats.org/officeDocument/2006/relationships/slide" Target="slide2.xml"/><Relationship Id="rId1" Type="http://schemas.openxmlformats.org/officeDocument/2006/relationships/tags" Target="../tags/tag179.xml"/><Relationship Id="rId6" Type="http://schemas.openxmlformats.org/officeDocument/2006/relationships/tags" Target="../tags/tag184.xml"/><Relationship Id="rId11" Type="http://schemas.openxmlformats.org/officeDocument/2006/relationships/tags" Target="../tags/tag189.xml"/><Relationship Id="rId5" Type="http://schemas.openxmlformats.org/officeDocument/2006/relationships/tags" Target="../tags/tag183.xml"/><Relationship Id="rId15" Type="http://schemas.openxmlformats.org/officeDocument/2006/relationships/slide" Target="slide3.xml"/><Relationship Id="rId10" Type="http://schemas.openxmlformats.org/officeDocument/2006/relationships/tags" Target="../tags/tag188.xml"/><Relationship Id="rId4" Type="http://schemas.openxmlformats.org/officeDocument/2006/relationships/tags" Target="../tags/tag182.xml"/><Relationship Id="rId9" Type="http://schemas.openxmlformats.org/officeDocument/2006/relationships/tags" Target="../tags/tag187.xml"/><Relationship Id="rId14" Type="http://schemas.openxmlformats.org/officeDocument/2006/relationships/slide" Target="slide9.xml"/></Relationships>
</file>

<file path=ppt/slides/_rels/slide7.xml.rels><?xml version="1.0" encoding="UTF-8" standalone="yes"?>
<Relationships xmlns="http://schemas.openxmlformats.org/package/2006/relationships"><Relationship Id="rId8" Type="http://schemas.openxmlformats.org/officeDocument/2006/relationships/tags" Target="../tags/tag198.xml"/><Relationship Id="rId13" Type="http://schemas.openxmlformats.org/officeDocument/2006/relationships/slideLayout" Target="../slideLayouts/slideLayout2.xml"/><Relationship Id="rId3" Type="http://schemas.openxmlformats.org/officeDocument/2006/relationships/tags" Target="../tags/tag193.xml"/><Relationship Id="rId7" Type="http://schemas.openxmlformats.org/officeDocument/2006/relationships/tags" Target="../tags/tag197.xml"/><Relationship Id="rId12" Type="http://schemas.openxmlformats.org/officeDocument/2006/relationships/tags" Target="../tags/tag202.xml"/><Relationship Id="rId2" Type="http://schemas.openxmlformats.org/officeDocument/2006/relationships/tags" Target="../tags/tag192.xml"/><Relationship Id="rId16" Type="http://schemas.openxmlformats.org/officeDocument/2006/relationships/slide" Target="slide2.xml"/><Relationship Id="rId1" Type="http://schemas.openxmlformats.org/officeDocument/2006/relationships/tags" Target="../tags/tag191.xml"/><Relationship Id="rId6" Type="http://schemas.openxmlformats.org/officeDocument/2006/relationships/tags" Target="../tags/tag196.xml"/><Relationship Id="rId11" Type="http://schemas.openxmlformats.org/officeDocument/2006/relationships/tags" Target="../tags/tag201.xml"/><Relationship Id="rId5" Type="http://schemas.openxmlformats.org/officeDocument/2006/relationships/tags" Target="../tags/tag195.xml"/><Relationship Id="rId15" Type="http://schemas.openxmlformats.org/officeDocument/2006/relationships/slide" Target="slide3.xml"/><Relationship Id="rId10" Type="http://schemas.openxmlformats.org/officeDocument/2006/relationships/tags" Target="../tags/tag200.xml"/><Relationship Id="rId4" Type="http://schemas.openxmlformats.org/officeDocument/2006/relationships/tags" Target="../tags/tag194.xml"/><Relationship Id="rId9" Type="http://schemas.openxmlformats.org/officeDocument/2006/relationships/tags" Target="../tags/tag199.xml"/><Relationship Id="rId14" Type="http://schemas.openxmlformats.org/officeDocument/2006/relationships/slide" Target="slide9.xml"/></Relationships>
</file>

<file path=ppt/slides/_rels/slide8.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slide" Target="slide9.xml"/><Relationship Id="rId3" Type="http://schemas.openxmlformats.org/officeDocument/2006/relationships/tags" Target="../tags/tag205.xml"/><Relationship Id="rId7" Type="http://schemas.openxmlformats.org/officeDocument/2006/relationships/tags" Target="../tags/tag209.xml"/><Relationship Id="rId12" Type="http://schemas.openxmlformats.org/officeDocument/2006/relationships/slideLayout" Target="../slideLayouts/slideLayout2.xml"/><Relationship Id="rId2" Type="http://schemas.openxmlformats.org/officeDocument/2006/relationships/tags" Target="../tags/tag204.xml"/><Relationship Id="rId1" Type="http://schemas.openxmlformats.org/officeDocument/2006/relationships/tags" Target="../tags/tag203.xml"/><Relationship Id="rId6" Type="http://schemas.openxmlformats.org/officeDocument/2006/relationships/tags" Target="../tags/tag208.xml"/><Relationship Id="rId11" Type="http://schemas.openxmlformats.org/officeDocument/2006/relationships/tags" Target="../tags/tag213.xml"/><Relationship Id="rId5" Type="http://schemas.openxmlformats.org/officeDocument/2006/relationships/tags" Target="../tags/tag207.xml"/><Relationship Id="rId15" Type="http://schemas.openxmlformats.org/officeDocument/2006/relationships/slide" Target="slide2.xml"/><Relationship Id="rId10" Type="http://schemas.openxmlformats.org/officeDocument/2006/relationships/tags" Target="../tags/tag212.xml"/><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slide" Target="slide3.xml"/></Relationships>
</file>

<file path=ppt/slides/_rels/slide9.xml.rels><?xml version="1.0" encoding="UTF-8" standalone="yes"?>
<Relationships xmlns="http://schemas.openxmlformats.org/package/2006/relationships"><Relationship Id="rId8" Type="http://schemas.openxmlformats.org/officeDocument/2006/relationships/tags" Target="../tags/tag221.xml"/><Relationship Id="rId13" Type="http://schemas.openxmlformats.org/officeDocument/2006/relationships/slideLayout" Target="../slideLayouts/slideLayout12.xml"/><Relationship Id="rId3" Type="http://schemas.openxmlformats.org/officeDocument/2006/relationships/tags" Target="../tags/tag216.xml"/><Relationship Id="rId7" Type="http://schemas.openxmlformats.org/officeDocument/2006/relationships/tags" Target="../tags/tag220.xml"/><Relationship Id="rId12" Type="http://schemas.openxmlformats.org/officeDocument/2006/relationships/tags" Target="../tags/tag225.xml"/><Relationship Id="rId2" Type="http://schemas.openxmlformats.org/officeDocument/2006/relationships/tags" Target="../tags/tag215.xml"/><Relationship Id="rId16" Type="http://schemas.openxmlformats.org/officeDocument/2006/relationships/slide" Target="slide2.xml"/><Relationship Id="rId1" Type="http://schemas.openxmlformats.org/officeDocument/2006/relationships/tags" Target="../tags/tag214.xml"/><Relationship Id="rId6" Type="http://schemas.openxmlformats.org/officeDocument/2006/relationships/tags" Target="../tags/tag219.xml"/><Relationship Id="rId11" Type="http://schemas.openxmlformats.org/officeDocument/2006/relationships/tags" Target="../tags/tag224.xml"/><Relationship Id="rId5" Type="http://schemas.openxmlformats.org/officeDocument/2006/relationships/tags" Target="../tags/tag218.xml"/><Relationship Id="rId15" Type="http://schemas.openxmlformats.org/officeDocument/2006/relationships/slide" Target="slide3.xml"/><Relationship Id="rId10" Type="http://schemas.openxmlformats.org/officeDocument/2006/relationships/tags" Target="../tags/tag223.xml"/><Relationship Id="rId4" Type="http://schemas.openxmlformats.org/officeDocument/2006/relationships/tags" Target="../tags/tag217.xml"/><Relationship Id="rId9" Type="http://schemas.openxmlformats.org/officeDocument/2006/relationships/tags" Target="../tags/tag222.xml"/><Relationship Id="rId14" Type="http://schemas.openxmlformats.org/officeDocument/2006/relationships/slide" Target="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1" y="612648"/>
            <a:ext cx="8997696" cy="6848856"/>
            <a:chOff x="530352" y="612648"/>
            <a:chExt cx="8997696" cy="6848856"/>
          </a:xfrm>
        </p:grpSpPr>
        <p:grpSp>
          <p:nvGrpSpPr>
            <p:cNvPr id="5" name="Group 107" hidden="1"/>
            <p:cNvGrpSpPr/>
            <p:nvPr/>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grpSp>
        <p:grpSp>
          <p:nvGrpSpPr>
            <p:cNvPr id="6" name="Group 106" hidden="1"/>
            <p:cNvGrpSpPr/>
            <p:nvPr/>
          </p:nvGrpSpPr>
          <p:grpSpPr>
            <a:xfrm>
              <a:off x="530352" y="1066800"/>
              <a:ext cx="8997696" cy="835152"/>
              <a:chOff x="530352" y="1066800"/>
              <a:chExt cx="8997696" cy="835152"/>
            </a:xfrm>
          </p:grpSpPr>
          <p:sp>
            <p:nvSpPr>
              <p:cNvPr id="50" name="Title block" hidden="1"/>
              <p:cNvSpPr>
                <a:spLocks noChangeArrowheads="1"/>
              </p:cNvSpPr>
              <p:nvPr/>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grpSp>
        <p:sp>
          <p:nvSpPr>
            <p:cNvPr id="7" name="Header block" hidden="1"/>
            <p:cNvSpPr>
              <a:spLocks noChangeArrowheads="1"/>
            </p:cNvSpPr>
            <p:nvPr/>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en-GB" sz="1400" dirty="0">
                <a:solidFill>
                  <a:schemeClr val="folHlink"/>
                </a:solidFill>
                <a:cs typeface="Arial" charset="0"/>
              </a:endParaRPr>
            </a:p>
          </p:txBody>
        </p:sp>
        <p:grpSp>
          <p:nvGrpSpPr>
            <p:cNvPr id="8" name="Group 600" hidden="1"/>
            <p:cNvGrpSpPr/>
            <p:nvPr/>
          </p:nvGrpSpPr>
          <p:grpSpPr>
            <a:xfrm>
              <a:off x="533400" y="6245352"/>
              <a:ext cx="8994648" cy="688848"/>
              <a:chOff x="533400" y="6013704"/>
              <a:chExt cx="8994648" cy="688848"/>
            </a:xfrm>
          </p:grpSpPr>
          <p:sp>
            <p:nvSpPr>
              <p:cNvPr id="44" name="Content block 606" hidden="1"/>
              <p:cNvSpPr>
                <a:spLocks noChangeArrowheads="1"/>
              </p:cNvSpPr>
              <p:nvPr/>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5" name="Content block 605" hidden="1"/>
              <p:cNvSpPr>
                <a:spLocks noChangeArrowheads="1"/>
              </p:cNvSpPr>
              <p:nvPr/>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9" name="Group 500" hidden="1"/>
            <p:cNvGrpSpPr/>
            <p:nvPr/>
          </p:nvGrpSpPr>
          <p:grpSpPr>
            <a:xfrm>
              <a:off x="533400" y="5407152"/>
              <a:ext cx="8994648" cy="688848"/>
              <a:chOff x="533400" y="5026152"/>
              <a:chExt cx="8994648" cy="688848"/>
            </a:xfrm>
          </p:grpSpPr>
          <p:sp>
            <p:nvSpPr>
              <p:cNvPr id="38" name="Content block 506" hidden="1"/>
              <p:cNvSpPr>
                <a:spLocks noChangeArrowheads="1"/>
              </p:cNvSpPr>
              <p:nvPr/>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9" name="Content block 505" hidden="1"/>
              <p:cNvSpPr>
                <a:spLocks noChangeArrowheads="1"/>
              </p:cNvSpPr>
              <p:nvPr/>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 name="Group 400" hidden="1"/>
            <p:cNvGrpSpPr/>
            <p:nvPr/>
          </p:nvGrpSpPr>
          <p:grpSpPr>
            <a:xfrm>
              <a:off x="533400" y="4568952"/>
              <a:ext cx="8994648" cy="688848"/>
              <a:chOff x="533400" y="4038600"/>
              <a:chExt cx="8994648" cy="688848"/>
            </a:xfrm>
          </p:grpSpPr>
          <p:sp>
            <p:nvSpPr>
              <p:cNvPr id="32" name="Content block 406" hidden="1"/>
              <p:cNvSpPr>
                <a:spLocks noChangeArrowheads="1"/>
              </p:cNvSpPr>
              <p:nvPr/>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3" name="Content block 405" hidden="1"/>
              <p:cNvSpPr>
                <a:spLocks noChangeArrowheads="1"/>
              </p:cNvSpPr>
              <p:nvPr/>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1" name="Group 300" hidden="1"/>
            <p:cNvGrpSpPr/>
            <p:nvPr/>
          </p:nvGrpSpPr>
          <p:grpSpPr>
            <a:xfrm>
              <a:off x="533400" y="3730752"/>
              <a:ext cx="8994648" cy="688848"/>
              <a:chOff x="533400" y="3041904"/>
              <a:chExt cx="8994648" cy="688848"/>
            </a:xfrm>
          </p:grpSpPr>
          <p:sp>
            <p:nvSpPr>
              <p:cNvPr id="26" name="Content block 306" hidden="1"/>
              <p:cNvSpPr>
                <a:spLocks noChangeArrowheads="1"/>
              </p:cNvSpPr>
              <p:nvPr/>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7" name="Content block 305" hidden="1"/>
              <p:cNvSpPr>
                <a:spLocks noChangeArrowheads="1"/>
              </p:cNvSpPr>
              <p:nvPr/>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2" name="Group 200" hidden="1"/>
            <p:cNvGrpSpPr/>
            <p:nvPr/>
          </p:nvGrpSpPr>
          <p:grpSpPr>
            <a:xfrm>
              <a:off x="533400" y="2892552"/>
              <a:ext cx="8994648" cy="688848"/>
              <a:chOff x="533400" y="1066800"/>
              <a:chExt cx="8994648" cy="688848"/>
            </a:xfrm>
          </p:grpSpPr>
          <p:sp>
            <p:nvSpPr>
              <p:cNvPr id="20" name="Content block 206" hidden="1"/>
              <p:cNvSpPr>
                <a:spLocks noChangeArrowheads="1"/>
              </p:cNvSpPr>
              <p:nvPr/>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1" name="Content block 205" hidden="1"/>
              <p:cNvSpPr>
                <a:spLocks noChangeArrowheads="1"/>
              </p:cNvSpPr>
              <p:nvPr/>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3" name="Group 100" hidden="1"/>
            <p:cNvGrpSpPr/>
            <p:nvPr/>
          </p:nvGrpSpPr>
          <p:grpSpPr>
            <a:xfrm>
              <a:off x="533400" y="2054352"/>
              <a:ext cx="8994648" cy="688848"/>
              <a:chOff x="533400" y="2054352"/>
              <a:chExt cx="8994648" cy="688848"/>
            </a:xfrm>
          </p:grpSpPr>
          <p:sp>
            <p:nvSpPr>
              <p:cNvPr id="14" name="Content block 106" hidden="1"/>
              <p:cNvSpPr>
                <a:spLocks noChangeArrowheads="1"/>
              </p:cNvSpPr>
              <p:nvPr/>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5" name="Content block 105" hidden="1"/>
              <p:cNvSpPr>
                <a:spLocks noChangeArrowheads="1"/>
              </p:cNvSpPr>
              <p:nvPr/>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sp>
        <p:nvSpPr>
          <p:cNvPr id="55" name="Descriptor"/>
          <p:cNvSpPr>
            <a:spLocks noGrp="1"/>
          </p:cNvSpPr>
          <p:nvPr>
            <p:custDataLst>
              <p:tags r:id="rId3"/>
            </p:custDataLst>
          </p:nvPr>
        </p:nvSpPr>
        <p:spPr bwMode="white">
          <a:xfrm>
            <a:off x="2059200" y="611643"/>
            <a:ext cx="410369" cy="215444"/>
          </a:xfrm>
          <a:prstGeom prst="rect">
            <a:avLst/>
          </a:prstGeom>
        </p:spPr>
        <p:txBody>
          <a:bodyPr vert="horz" wrap="none" lIns="0" tIns="0" rIns="0" bIns="0" rtlCol="0" anchor="b" anchorCtr="0">
            <a:spAutoFit/>
          </a:bodyPr>
          <a:lstStyle>
            <a:lvl1pPr marL="0" marR="0" indent="0" algn="l" defTabSz="1019175" rtl="0" eaLnBrk="1" fontAlgn="base" latinLnBrk="0" hangingPunct="1">
              <a:lnSpc>
                <a:spcPct val="100000"/>
              </a:lnSpc>
              <a:spcBef>
                <a:spcPts val="0"/>
              </a:spcBef>
              <a:spcAft>
                <a:spcPts val="0"/>
              </a:spcAft>
              <a:buClr>
                <a:srgbClr val="000000"/>
              </a:buClr>
              <a:buSzTx/>
              <a:buFont typeface="Wingdings" pitchFamily="2" charset="2"/>
              <a:buNone/>
              <a:tabLst/>
              <a:defRPr sz="1100" kern="1200">
                <a:solidFill>
                  <a:schemeClr val="tx1"/>
                </a:solidFill>
                <a:latin typeface="Georgia" pitchFamily="18" charset="0"/>
                <a:ea typeface="+mn-ea"/>
                <a:cs typeface="+mn-cs"/>
              </a:defRPr>
            </a:lvl1pPr>
            <a:lvl2pPr marL="234950" marR="0" indent="-228600" algn="l" defTabSz="1019175" rtl="0" eaLnBrk="1" fontAlgn="base" latinLnBrk="0" hangingPunct="1">
              <a:lnSpc>
                <a:spcPct val="100000"/>
              </a:lnSpc>
              <a:spcBef>
                <a:spcPts val="0"/>
              </a:spcBef>
              <a:spcAft>
                <a:spcPts val="0"/>
              </a:spcAft>
              <a:buClr>
                <a:srgbClr val="000000"/>
              </a:buClr>
              <a:buSzTx/>
              <a:buFont typeface="Times New Roman" pitchFamily="18" charset="0"/>
              <a:buChar char="•"/>
              <a:tabLst/>
              <a:defRPr sz="1100" kern="1200">
                <a:solidFill>
                  <a:schemeClr val="tx1"/>
                </a:solidFill>
                <a:latin typeface="Georgia" pitchFamily="18" charset="0"/>
                <a:ea typeface="+mn-ea"/>
                <a:cs typeface="+mn-cs"/>
              </a:defRPr>
            </a:lvl2pPr>
            <a:lvl3pPr marL="475488" marR="0" indent="-227013" algn="l" defTabSz="1019175" rtl="0" eaLnBrk="1" fontAlgn="base" latinLnBrk="0" hangingPunct="1">
              <a:lnSpc>
                <a:spcPct val="100000"/>
              </a:lnSpc>
              <a:spcBef>
                <a:spcPts val="0"/>
              </a:spcBef>
              <a:spcAft>
                <a:spcPts val="0"/>
              </a:spcAft>
              <a:buClr>
                <a:srgbClr val="000000"/>
              </a:buClr>
              <a:buSzTx/>
              <a:buFont typeface="Arial" pitchFamily="34" charset="0"/>
              <a:buChar char="-"/>
              <a:tabLst/>
              <a:defRPr sz="1100" kern="1200">
                <a:solidFill>
                  <a:schemeClr val="tx1"/>
                </a:solidFill>
                <a:latin typeface="Georgia" pitchFamily="18" charset="0"/>
                <a:ea typeface="+mn-ea"/>
                <a:cs typeface="+mn-cs"/>
              </a:defRPr>
            </a:lvl3pPr>
            <a:lvl4pPr marL="685800" marR="0" indent="-237744" algn="l" defTabSz="1019175" rtl="0" eaLnBrk="1" fontAlgn="base" latinLnBrk="0" hangingPunct="1">
              <a:lnSpc>
                <a:spcPct val="100000"/>
              </a:lnSpc>
              <a:spcBef>
                <a:spcPts val="0"/>
              </a:spcBef>
              <a:spcAft>
                <a:spcPts val="0"/>
              </a:spcAft>
              <a:buClr>
                <a:srgbClr val="000000"/>
              </a:buClr>
              <a:buSzTx/>
              <a:buFont typeface="Georgia" pitchFamily="18" charset="0"/>
              <a:buChar char="◦"/>
              <a:tabLst/>
              <a:defRPr sz="1100" kern="1200">
                <a:solidFill>
                  <a:schemeClr val="tx1"/>
                </a:solidFill>
                <a:latin typeface="Georgia" pitchFamily="18" charset="0"/>
                <a:ea typeface="+mn-ea"/>
                <a:cs typeface="+mn-cs"/>
              </a:defRPr>
            </a:lvl4pPr>
            <a:lvl5pPr marL="914400" marR="0" indent="-228600" algn="l" defTabSz="1019175" rtl="0" eaLnBrk="1" fontAlgn="base" latinLnBrk="0" hangingPunct="1">
              <a:lnSpc>
                <a:spcPct val="100000"/>
              </a:lnSpc>
              <a:spcBef>
                <a:spcPts val="0"/>
              </a:spcBef>
              <a:spcAft>
                <a:spcPts val="0"/>
              </a:spcAft>
              <a:buClr>
                <a:srgbClr val="000000"/>
              </a:buClr>
              <a:buSzTx/>
              <a:buFont typeface="Georgia" pitchFamily="18" charset="0"/>
              <a:buChar char="›"/>
              <a:tabLst/>
              <a:defRPr sz="1100" kern="1200" baseline="0">
                <a:solidFill>
                  <a:schemeClr val="tx1"/>
                </a:solidFill>
                <a:latin typeface="Georgia" pitchFamily="18" charset="0"/>
                <a:ea typeface="+mn-ea"/>
                <a:cs typeface="+mn-cs"/>
              </a:defRPr>
            </a:lvl5pPr>
            <a:lvl6pPr marL="237744" indent="-237744" algn="l" defTabSz="1018824" rtl="0" eaLnBrk="1" latinLnBrk="0" hangingPunct="1">
              <a:lnSpc>
                <a:spcPct val="100000"/>
              </a:lnSpc>
              <a:spcBef>
                <a:spcPts val="0"/>
              </a:spcBef>
              <a:spcAft>
                <a:spcPts val="0"/>
              </a:spcAft>
              <a:buFont typeface="+mj-lt"/>
              <a:buAutoNum type="arabicPeriod"/>
              <a:defRPr lang="en-GB" sz="1100" kern="1200" baseline="0" noProof="0" dirty="0" smtClean="0">
                <a:solidFill>
                  <a:schemeClr val="tx1"/>
                </a:solidFill>
                <a:latin typeface="Georgia" pitchFamily="18" charset="0"/>
                <a:ea typeface="+mn-ea"/>
                <a:cs typeface="+mn-cs"/>
              </a:defRPr>
            </a:lvl6pPr>
            <a:lvl7pPr marL="475488" indent="-228600" algn="l" defTabSz="1018824" rtl="0" eaLnBrk="1" latinLnBrk="0" hangingPunct="1">
              <a:lnSpc>
                <a:spcPct val="100000"/>
              </a:lnSpc>
              <a:spcBef>
                <a:spcPts val="0"/>
              </a:spcBef>
              <a:spcAft>
                <a:spcPts val="0"/>
              </a:spcAft>
              <a:buFont typeface="+mj-lt"/>
              <a:buAutoNum type="alphaLcPeriod"/>
              <a:defRPr lang="en-GB" sz="1100" kern="1200" baseline="0" noProof="0" dirty="0" smtClean="0">
                <a:solidFill>
                  <a:schemeClr val="tx1"/>
                </a:solidFill>
                <a:latin typeface="Georgia" pitchFamily="18" charset="0"/>
                <a:ea typeface="+mn-ea"/>
                <a:cs typeface="+mn-cs"/>
              </a:defRPr>
            </a:lvl7pPr>
            <a:lvl8pPr marL="682625" indent="-228600" algn="l" defTabSz="1018824" rtl="0" eaLnBrk="1" latinLnBrk="0" hangingPunct="1">
              <a:lnSpc>
                <a:spcPct val="100000"/>
              </a:lnSpc>
              <a:spcBef>
                <a:spcPts val="0"/>
              </a:spcBef>
              <a:spcAft>
                <a:spcPts val="0"/>
              </a:spcAft>
              <a:buFont typeface="+mj-lt"/>
              <a:buAutoNum type="romanLcPeriod"/>
              <a:defRPr lang="en-GB" sz="1100" kern="1200" baseline="0" noProof="0" dirty="0" smtClean="0">
                <a:solidFill>
                  <a:schemeClr val="tx1"/>
                </a:solidFill>
                <a:latin typeface="Georgia" pitchFamily="18" charset="0"/>
                <a:ea typeface="+mn-ea"/>
                <a:cs typeface="+mn-cs"/>
              </a:defRPr>
            </a:lvl8pPr>
            <a:lvl9pPr marL="0" indent="0" algn="l" defTabSz="1018824" rtl="0" eaLnBrk="1" latinLnBrk="0" hangingPunct="1">
              <a:lnSpc>
                <a:spcPct val="100000"/>
              </a:lnSpc>
              <a:spcBef>
                <a:spcPts val="0"/>
              </a:spcBef>
              <a:spcAft>
                <a:spcPts val="600"/>
              </a:spcAft>
              <a:buFont typeface="Arial" pitchFamily="34" charset="0"/>
              <a:buNone/>
              <a:defRPr lang="en-GB" sz="1100" b="1" kern="1200" baseline="0" noProof="0" dirty="0" smtClean="0">
                <a:solidFill>
                  <a:schemeClr val="tx2"/>
                </a:solidFill>
                <a:latin typeface="Georgia" pitchFamily="18" charset="0"/>
                <a:ea typeface="+mn-ea"/>
                <a:cs typeface="+mn-cs"/>
              </a:defRPr>
            </a:lvl9pPr>
          </a:lstStyle>
          <a:p>
            <a:pPr lvl="0">
              <a:spcBef>
                <a:spcPct val="0"/>
              </a:spcBef>
              <a:defRPr/>
            </a:pPr>
            <a:r>
              <a:rPr lang="en-GB" altLang="zh-CN" sz="1400" b="1" dirty="0" smtClean="0">
                <a:solidFill>
                  <a:schemeClr val="bg1"/>
                </a:solidFill>
                <a:latin typeface="+mj-lt"/>
                <a:ea typeface="宋体" panose="02010600030101010101" pitchFamily="2" charset="-122"/>
                <a:cs typeface="Arial" pitchFamily="34" charset="0"/>
              </a:rPr>
              <a:t>PwC</a:t>
            </a:r>
            <a:endParaRPr lang="en-GB" sz="1400" b="1" dirty="0">
              <a:solidFill>
                <a:schemeClr val="bg1"/>
              </a:solidFill>
              <a:latin typeface="+mj-lt"/>
              <a:ea typeface="宋体" panose="02010600030101010101" pitchFamily="2" charset="-122"/>
              <a:cs typeface="Arial" pitchFamily="34" charset="0"/>
            </a:endParaRPr>
          </a:p>
        </p:txBody>
      </p:sp>
      <p:sp>
        <p:nvSpPr>
          <p:cNvPr id="2" name="Title 1"/>
          <p:cNvSpPr>
            <a:spLocks noGrp="1"/>
          </p:cNvSpPr>
          <p:nvPr>
            <p:ph type="ctrTitle"/>
            <p:custDataLst>
              <p:tags r:id="rId4"/>
            </p:custDataLst>
          </p:nvPr>
        </p:nvSpPr>
        <p:spPr>
          <a:xfrm>
            <a:off x="1904999" y="1261037"/>
            <a:ext cx="5943600" cy="589477"/>
          </a:xfrm>
        </p:spPr>
        <p:txBody>
          <a:bodyPr/>
          <a:lstStyle/>
          <a:p>
            <a:r>
              <a:rPr lang="en-GB" altLang="zh-CN" sz="3600" dirty="0" smtClean="0"/>
              <a:t>Overview of PRC GAAR</a:t>
            </a:r>
            <a:endParaRPr lang="en-GB" sz="3600" dirty="0"/>
          </a:p>
        </p:txBody>
      </p:sp>
      <p:sp>
        <p:nvSpPr>
          <p:cNvPr id="3" name="Subtitle 2"/>
          <p:cNvSpPr>
            <a:spLocks noGrp="1"/>
          </p:cNvSpPr>
          <p:nvPr>
            <p:ph type="subTitle" idx="1"/>
            <p:custDataLst>
              <p:tags r:id="rId5"/>
            </p:custDataLst>
          </p:nvPr>
        </p:nvSpPr>
        <p:spPr>
          <a:xfrm>
            <a:off x="1914490" y="1850514"/>
            <a:ext cx="6644790" cy="1772793"/>
          </a:xfrm>
        </p:spPr>
        <p:txBody>
          <a:bodyPr/>
          <a:lstStyle/>
          <a:p>
            <a:endParaRPr lang="en-GB" altLang="zh-CN" b="1" i="1" dirty="0" smtClean="0"/>
          </a:p>
          <a:p>
            <a:r>
              <a:rPr lang="en-GB" altLang="zh-CN" b="1" i="1" dirty="0" smtClean="0"/>
              <a:t>Wendy </a:t>
            </a:r>
            <a:r>
              <a:rPr lang="en-GB" altLang="zh-CN" b="1" i="1" dirty="0" smtClean="0"/>
              <a:t>Guo  </a:t>
            </a:r>
            <a:r>
              <a:rPr lang="zh-CN" altLang="en-GB" b="1" i="1" dirty="0" smtClean="0"/>
              <a:t>  </a:t>
            </a:r>
          </a:p>
          <a:p>
            <a:r>
              <a:rPr lang="en-GB" altLang="zh-CN" b="1" i="1" dirty="0" smtClean="0"/>
              <a:t>Partner</a:t>
            </a:r>
          </a:p>
          <a:p>
            <a:r>
              <a:rPr lang="en-GB" altLang="zh-CN" b="1" i="1" dirty="0" smtClean="0"/>
              <a:t>PwC Beijing</a:t>
            </a:r>
            <a:endParaRPr lang="en-GB" b="1" i="1" dirty="0"/>
          </a:p>
        </p:txBody>
      </p:sp>
      <p:sp>
        <p:nvSpPr>
          <p:cNvPr id="57" name="Draft Stamp" hidden="1"/>
          <p:cNvSpPr txBox="1"/>
          <p:nvPr>
            <p:custDataLst>
              <p:tags r:id="rId6"/>
            </p:custDataLst>
          </p:nvPr>
        </p:nvSpPr>
        <p:spPr bwMode="black">
          <a:xfrm>
            <a:off x="530352" y="4191265"/>
            <a:ext cx="1371600" cy="292388"/>
          </a:xfrm>
          <a:prstGeom prst="rect">
            <a:avLst/>
          </a:prstGeom>
          <a:noFill/>
          <a:ln>
            <a:noFill/>
          </a:ln>
        </p:spPr>
        <p:txBody>
          <a:bodyPr wrap="square" lIns="0" tIns="0" rIns="0" bIns="137160" rtlCol="0" anchor="t" anchorCtr="0">
            <a:spAutoFit/>
          </a:bodyPr>
          <a:lstStyle/>
          <a:p>
            <a:pPr algn="l">
              <a:lnSpc>
                <a:spcPct val="100000"/>
              </a:lnSpc>
            </a:pPr>
            <a:r>
              <a:rPr lang="zh-CN" altLang="en-GB" sz="1000" b="1" i="1" dirty="0" smtClean="0">
                <a:solidFill>
                  <a:schemeClr val="tx1"/>
                </a:solidFill>
                <a:latin typeface="Georgia" pitchFamily="18" charset="0"/>
              </a:rPr>
              <a:t>草稿</a:t>
            </a:r>
            <a:endParaRPr lang="en-GB" sz="1000" b="1" i="1" dirty="0">
              <a:solidFill>
                <a:schemeClr val="tx1"/>
              </a:solidFill>
              <a:latin typeface="Georgia" pitchFamily="18" charset="0"/>
            </a:endParaRPr>
          </a:p>
        </p:txBody>
      </p:sp>
      <p:sp>
        <p:nvSpPr>
          <p:cNvPr id="61" name="Report Date"/>
          <p:cNvSpPr txBox="1"/>
          <p:nvPr>
            <p:custDataLst>
              <p:tags r:id="rId7"/>
            </p:custDataLst>
          </p:nvPr>
        </p:nvSpPr>
        <p:spPr bwMode="black">
          <a:xfrm>
            <a:off x="509008" y="4037377"/>
            <a:ext cx="1225296" cy="153888"/>
          </a:xfrm>
          <a:prstGeom prst="rect">
            <a:avLst/>
          </a:prstGeom>
          <a:noFill/>
          <a:ln>
            <a:noFill/>
          </a:ln>
        </p:spPr>
        <p:txBody>
          <a:bodyPr wrap="square" lIns="0" tIns="0" rIns="0" bIns="0" rtlCol="0">
            <a:spAutoFit/>
          </a:bodyPr>
          <a:lstStyle/>
          <a:p>
            <a:pPr algn="l"/>
            <a:r>
              <a:rPr lang="en-GB" sz="1000" i="1" dirty="0" smtClean="0">
                <a:latin typeface="Georgia" pitchFamily="18" charset="0"/>
              </a:rPr>
              <a:t>September</a:t>
            </a:r>
            <a:r>
              <a:rPr lang="en-GB" sz="1000" i="1" dirty="0" smtClean="0">
                <a:latin typeface="Georgia" pitchFamily="18" charset="0"/>
              </a:rPr>
              <a:t> </a:t>
            </a:r>
            <a:r>
              <a:rPr lang="en-GB" sz="1000" i="1" dirty="0" smtClean="0">
                <a:latin typeface="Georgia" pitchFamily="18" charset="0"/>
              </a:rPr>
              <a:t>2018</a:t>
            </a:r>
            <a:endParaRPr lang="en-GB" sz="1000" i="1" dirty="0">
              <a:latin typeface="Georgia" pitchFamily="18" charset="0"/>
            </a:endParaRPr>
          </a:p>
        </p:txBody>
      </p:sp>
    </p:spTree>
    <p:custDataLst>
      <p:tags r:id="rId1"/>
    </p:custData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en-GB"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sp>
        <p:nvSpPr>
          <p:cNvPr id="3" name="Title 2"/>
          <p:cNvSpPr>
            <a:spLocks noGrp="1"/>
          </p:cNvSpPr>
          <p:nvPr>
            <p:ph type="title"/>
          </p:nvPr>
        </p:nvSpPr>
        <p:spPr/>
        <p:txBody>
          <a:bodyPr/>
          <a:lstStyle/>
          <a:p>
            <a:r>
              <a:rPr lang="en-US" dirty="0" smtClean="0">
                <a:ea typeface="宋体" panose="02010600030101010101" pitchFamily="2" charset="-122"/>
              </a:rPr>
              <a:t>Introductions </a:t>
            </a:r>
            <a:r>
              <a:rPr lang="en-US" dirty="0" smtClean="0">
                <a:ea typeface="宋体" panose="02010600030101010101" pitchFamily="2" charset="-122"/>
              </a:rPr>
              <a:t>of PN7</a:t>
            </a:r>
            <a:endParaRPr lang="en-GB" b="0" i="0" dirty="0">
              <a:ea typeface="宋体" panose="02010600030101010101" pitchFamily="2" charset="-122"/>
            </a:endParaRPr>
          </a:p>
        </p:txBody>
      </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en-GB" sz="1100" noProof="1" smtClean="0">
                <a:latin typeface="+mj-lt"/>
              </a:rPr>
              <a:t>10</a:t>
            </a:r>
            <a:endParaRPr lang="en-GB" sz="1100" noProof="1" smtClean="0">
              <a:latin typeface="+mj-lt"/>
            </a:endParaRP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en-GB" altLang="zh-CN" sz="1100" noProof="1" smtClean="0">
                <a:solidFill>
                  <a:schemeClr val="tx1"/>
                </a:solidFill>
                <a:latin typeface="+mj-lt"/>
                <a:ea typeface="宋体" panose="02010600030101010101" pitchFamily="2" charset="-122"/>
              </a:rPr>
              <a:t>Overview of PRC GAAR</a:t>
            </a:r>
            <a:endParaRPr lang="en-GB" sz="1100" noProof="1" smtClean="0">
              <a:solidFill>
                <a:schemeClr val="tx1"/>
              </a:solidFill>
              <a:latin typeface="+mj-lt"/>
              <a:ea typeface="宋体" panose="02010600030101010101" pitchFamily="2" charset="-122"/>
            </a:endParaRP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en-GB" altLang="zh-CN" sz="900" noProof="1" smtClean="0">
                <a:solidFill>
                  <a:schemeClr val="tx1"/>
                </a:solidFill>
              </a:rPr>
              <a:t>-1 Part II  Indirect Equity Transfer </a:t>
            </a:r>
            <a:endParaRPr lang="en-GB" sz="900" noProof="1" smtClean="0">
              <a:solidFill>
                <a:schemeClr val="tx1"/>
              </a:solidFill>
            </a:endParaRPr>
          </a:p>
        </p:txBody>
      </p:sp>
      <p:cxnSp>
        <p:nvCxnSpPr>
          <p:cNvPr id="63" name="Straight Connector 62"/>
          <p:cNvCxnSpPr/>
          <p:nvPr/>
        </p:nvCxnSpPr>
        <p:spPr>
          <a:xfrm>
            <a:off x="852736" y="2588278"/>
            <a:ext cx="8515292" cy="0"/>
          </a:xfrm>
          <a:prstGeom prst="line">
            <a:avLst/>
          </a:prstGeom>
          <a:ln w="12700"/>
        </p:spPr>
        <p:style>
          <a:lnRef idx="1">
            <a:schemeClr val="dk1"/>
          </a:lnRef>
          <a:fillRef idx="0">
            <a:schemeClr val="dk1"/>
          </a:fillRef>
          <a:effectRef idx="0">
            <a:schemeClr val="dk1"/>
          </a:effectRef>
          <a:fontRef idx="minor">
            <a:schemeClr val="tx1"/>
          </a:fontRef>
        </p:style>
      </p:cxnSp>
      <p:sp>
        <p:nvSpPr>
          <p:cNvPr id="64" name="AutoShape 4"/>
          <p:cNvSpPr>
            <a:spLocks noChangeAspect="1" noChangeArrowheads="1" noTextEdit="1"/>
          </p:cNvSpPr>
          <p:nvPr/>
        </p:nvSpPr>
        <p:spPr bwMode="auto">
          <a:xfrm>
            <a:off x="601761" y="2052676"/>
            <a:ext cx="7088090" cy="4680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sz="2100" dirty="0">
              <a:solidFill>
                <a:srgbClr val="000000"/>
              </a:solidFill>
            </a:endParaRPr>
          </a:p>
        </p:txBody>
      </p:sp>
      <p:sp>
        <p:nvSpPr>
          <p:cNvPr id="65" name="Freeform 10"/>
          <p:cNvSpPr>
            <a:spLocks/>
          </p:cNvSpPr>
          <p:nvPr/>
        </p:nvSpPr>
        <p:spPr bwMode="auto">
          <a:xfrm>
            <a:off x="7014674" y="2260307"/>
            <a:ext cx="1866014" cy="4738251"/>
          </a:xfrm>
          <a:custGeom>
            <a:avLst/>
            <a:gdLst>
              <a:gd name="T0" fmla="*/ 322 w 658"/>
              <a:gd name="T1" fmla="*/ 0 h 1862"/>
              <a:gd name="T2" fmla="*/ 264 w 658"/>
              <a:gd name="T3" fmla="*/ 8 h 1862"/>
              <a:gd name="T4" fmla="*/ 206 w 658"/>
              <a:gd name="T5" fmla="*/ 24 h 1862"/>
              <a:gd name="T6" fmla="*/ 162 w 658"/>
              <a:gd name="T7" fmla="*/ 44 h 1862"/>
              <a:gd name="T8" fmla="*/ 120 w 658"/>
              <a:gd name="T9" fmla="*/ 70 h 1862"/>
              <a:gd name="T10" fmla="*/ 80 w 658"/>
              <a:gd name="T11" fmla="*/ 108 h 1862"/>
              <a:gd name="T12" fmla="*/ 294 w 658"/>
              <a:gd name="T13" fmla="*/ 130 h 1862"/>
              <a:gd name="T14" fmla="*/ 322 w 658"/>
              <a:gd name="T15" fmla="*/ 128 h 1862"/>
              <a:gd name="T16" fmla="*/ 344 w 658"/>
              <a:gd name="T17" fmla="*/ 130 h 1862"/>
              <a:gd name="T18" fmla="*/ 386 w 658"/>
              <a:gd name="T19" fmla="*/ 140 h 1862"/>
              <a:gd name="T20" fmla="*/ 424 w 658"/>
              <a:gd name="T21" fmla="*/ 158 h 1862"/>
              <a:gd name="T22" fmla="*/ 458 w 658"/>
              <a:gd name="T23" fmla="*/ 184 h 1862"/>
              <a:gd name="T24" fmla="*/ 486 w 658"/>
              <a:gd name="T25" fmla="*/ 216 h 1862"/>
              <a:gd name="T26" fmla="*/ 508 w 658"/>
              <a:gd name="T27" fmla="*/ 252 h 1862"/>
              <a:gd name="T28" fmla="*/ 520 w 658"/>
              <a:gd name="T29" fmla="*/ 292 h 1862"/>
              <a:gd name="T30" fmla="*/ 524 w 658"/>
              <a:gd name="T31" fmla="*/ 336 h 1862"/>
              <a:gd name="T32" fmla="*/ 522 w 658"/>
              <a:gd name="T33" fmla="*/ 358 h 1862"/>
              <a:gd name="T34" fmla="*/ 506 w 658"/>
              <a:gd name="T35" fmla="*/ 410 h 1862"/>
              <a:gd name="T36" fmla="*/ 482 w 658"/>
              <a:gd name="T37" fmla="*/ 456 h 1862"/>
              <a:gd name="T38" fmla="*/ 452 w 658"/>
              <a:gd name="T39" fmla="*/ 496 h 1862"/>
              <a:gd name="T40" fmla="*/ 414 w 658"/>
              <a:gd name="T41" fmla="*/ 528 h 1862"/>
              <a:gd name="T42" fmla="*/ 372 w 658"/>
              <a:gd name="T43" fmla="*/ 556 h 1862"/>
              <a:gd name="T44" fmla="*/ 328 w 658"/>
              <a:gd name="T45" fmla="*/ 580 h 1862"/>
              <a:gd name="T46" fmla="*/ 238 w 658"/>
              <a:gd name="T47" fmla="*/ 612 h 1862"/>
              <a:gd name="T48" fmla="*/ 216 w 658"/>
              <a:gd name="T49" fmla="*/ 618 h 1862"/>
              <a:gd name="T50" fmla="*/ 174 w 658"/>
              <a:gd name="T51" fmla="*/ 636 h 1862"/>
              <a:gd name="T52" fmla="*/ 132 w 658"/>
              <a:gd name="T53" fmla="*/ 656 h 1862"/>
              <a:gd name="T54" fmla="*/ 94 w 658"/>
              <a:gd name="T55" fmla="*/ 684 h 1862"/>
              <a:gd name="T56" fmla="*/ 60 w 658"/>
              <a:gd name="T57" fmla="*/ 714 h 1862"/>
              <a:gd name="T58" fmla="*/ 32 w 658"/>
              <a:gd name="T59" fmla="*/ 750 h 1862"/>
              <a:gd name="T60" fmla="*/ 12 w 658"/>
              <a:gd name="T61" fmla="*/ 792 h 1862"/>
              <a:gd name="T62" fmla="*/ 2 w 658"/>
              <a:gd name="T63" fmla="*/ 836 h 1862"/>
              <a:gd name="T64" fmla="*/ 0 w 658"/>
              <a:gd name="T65" fmla="*/ 1808 h 1862"/>
              <a:gd name="T66" fmla="*/ 2 w 658"/>
              <a:gd name="T67" fmla="*/ 1820 h 1862"/>
              <a:gd name="T68" fmla="*/ 10 w 658"/>
              <a:gd name="T69" fmla="*/ 1838 h 1862"/>
              <a:gd name="T70" fmla="*/ 24 w 658"/>
              <a:gd name="T71" fmla="*/ 1854 h 1862"/>
              <a:gd name="T72" fmla="*/ 42 w 658"/>
              <a:gd name="T73" fmla="*/ 1862 h 1862"/>
              <a:gd name="T74" fmla="*/ 604 w 658"/>
              <a:gd name="T75" fmla="*/ 1862 h 1862"/>
              <a:gd name="T76" fmla="*/ 616 w 658"/>
              <a:gd name="T77" fmla="*/ 1862 h 1862"/>
              <a:gd name="T78" fmla="*/ 634 w 658"/>
              <a:gd name="T79" fmla="*/ 1854 h 1862"/>
              <a:gd name="T80" fmla="*/ 650 w 658"/>
              <a:gd name="T81" fmla="*/ 1838 h 1862"/>
              <a:gd name="T82" fmla="*/ 658 w 658"/>
              <a:gd name="T83" fmla="*/ 1820 h 1862"/>
              <a:gd name="T84" fmla="*/ 658 w 658"/>
              <a:gd name="T85" fmla="*/ 860 h 1862"/>
              <a:gd name="T86" fmla="*/ 658 w 658"/>
              <a:gd name="T87" fmla="*/ 326 h 1862"/>
              <a:gd name="T88" fmla="*/ 650 w 658"/>
              <a:gd name="T89" fmla="*/ 276 h 1862"/>
              <a:gd name="T90" fmla="*/ 636 w 658"/>
              <a:gd name="T91" fmla="*/ 226 h 1862"/>
              <a:gd name="T92" fmla="*/ 610 w 658"/>
              <a:gd name="T93" fmla="*/ 168 h 1862"/>
              <a:gd name="T94" fmla="*/ 568 w 658"/>
              <a:gd name="T95" fmla="*/ 108 h 1862"/>
              <a:gd name="T96" fmla="*/ 540 w 658"/>
              <a:gd name="T97" fmla="*/ 82 h 1862"/>
              <a:gd name="T98" fmla="*/ 508 w 658"/>
              <a:gd name="T99" fmla="*/ 56 h 1862"/>
              <a:gd name="T100" fmla="*/ 472 w 658"/>
              <a:gd name="T101" fmla="*/ 34 h 1862"/>
              <a:gd name="T102" fmla="*/ 428 w 658"/>
              <a:gd name="T103" fmla="*/ 18 h 1862"/>
              <a:gd name="T104" fmla="*/ 378 w 658"/>
              <a:gd name="T105" fmla="*/ 6 h 1862"/>
              <a:gd name="T106" fmla="*/ 322 w 658"/>
              <a:gd name="T107" fmla="*/ 0 h 1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1862">
                <a:moveTo>
                  <a:pt x="322" y="0"/>
                </a:moveTo>
                <a:lnTo>
                  <a:pt x="322" y="0"/>
                </a:lnTo>
                <a:lnTo>
                  <a:pt x="294" y="2"/>
                </a:lnTo>
                <a:lnTo>
                  <a:pt x="264" y="8"/>
                </a:lnTo>
                <a:lnTo>
                  <a:pt x="226" y="18"/>
                </a:lnTo>
                <a:lnTo>
                  <a:pt x="206" y="24"/>
                </a:lnTo>
                <a:lnTo>
                  <a:pt x="184" y="32"/>
                </a:lnTo>
                <a:lnTo>
                  <a:pt x="162" y="44"/>
                </a:lnTo>
                <a:lnTo>
                  <a:pt x="140" y="56"/>
                </a:lnTo>
                <a:lnTo>
                  <a:pt x="120" y="70"/>
                </a:lnTo>
                <a:lnTo>
                  <a:pt x="100" y="88"/>
                </a:lnTo>
                <a:lnTo>
                  <a:pt x="80" y="108"/>
                </a:lnTo>
                <a:lnTo>
                  <a:pt x="62" y="130"/>
                </a:lnTo>
                <a:lnTo>
                  <a:pt x="294" y="130"/>
                </a:lnTo>
                <a:lnTo>
                  <a:pt x="294" y="130"/>
                </a:lnTo>
                <a:lnTo>
                  <a:pt x="322" y="128"/>
                </a:lnTo>
                <a:lnTo>
                  <a:pt x="322" y="128"/>
                </a:lnTo>
                <a:lnTo>
                  <a:pt x="344" y="130"/>
                </a:lnTo>
                <a:lnTo>
                  <a:pt x="366" y="134"/>
                </a:lnTo>
                <a:lnTo>
                  <a:pt x="386" y="140"/>
                </a:lnTo>
                <a:lnTo>
                  <a:pt x="406" y="148"/>
                </a:lnTo>
                <a:lnTo>
                  <a:pt x="424" y="158"/>
                </a:lnTo>
                <a:lnTo>
                  <a:pt x="442" y="170"/>
                </a:lnTo>
                <a:lnTo>
                  <a:pt x="458" y="184"/>
                </a:lnTo>
                <a:lnTo>
                  <a:pt x="474" y="200"/>
                </a:lnTo>
                <a:lnTo>
                  <a:pt x="486" y="216"/>
                </a:lnTo>
                <a:lnTo>
                  <a:pt x="498" y="234"/>
                </a:lnTo>
                <a:lnTo>
                  <a:pt x="508" y="252"/>
                </a:lnTo>
                <a:lnTo>
                  <a:pt x="516" y="272"/>
                </a:lnTo>
                <a:lnTo>
                  <a:pt x="520" y="292"/>
                </a:lnTo>
                <a:lnTo>
                  <a:pt x="524" y="314"/>
                </a:lnTo>
                <a:lnTo>
                  <a:pt x="524" y="336"/>
                </a:lnTo>
                <a:lnTo>
                  <a:pt x="522" y="358"/>
                </a:lnTo>
                <a:lnTo>
                  <a:pt x="522" y="358"/>
                </a:lnTo>
                <a:lnTo>
                  <a:pt x="516" y="384"/>
                </a:lnTo>
                <a:lnTo>
                  <a:pt x="506" y="410"/>
                </a:lnTo>
                <a:lnTo>
                  <a:pt x="496" y="434"/>
                </a:lnTo>
                <a:lnTo>
                  <a:pt x="482" y="456"/>
                </a:lnTo>
                <a:lnTo>
                  <a:pt x="468" y="476"/>
                </a:lnTo>
                <a:lnTo>
                  <a:pt x="452" y="496"/>
                </a:lnTo>
                <a:lnTo>
                  <a:pt x="434" y="512"/>
                </a:lnTo>
                <a:lnTo>
                  <a:pt x="414" y="528"/>
                </a:lnTo>
                <a:lnTo>
                  <a:pt x="394" y="544"/>
                </a:lnTo>
                <a:lnTo>
                  <a:pt x="372" y="556"/>
                </a:lnTo>
                <a:lnTo>
                  <a:pt x="350" y="568"/>
                </a:lnTo>
                <a:lnTo>
                  <a:pt x="328" y="580"/>
                </a:lnTo>
                <a:lnTo>
                  <a:pt x="284" y="598"/>
                </a:lnTo>
                <a:lnTo>
                  <a:pt x="238" y="612"/>
                </a:lnTo>
                <a:lnTo>
                  <a:pt x="238" y="612"/>
                </a:lnTo>
                <a:lnTo>
                  <a:pt x="216" y="618"/>
                </a:lnTo>
                <a:lnTo>
                  <a:pt x="194" y="626"/>
                </a:lnTo>
                <a:lnTo>
                  <a:pt x="174" y="636"/>
                </a:lnTo>
                <a:lnTo>
                  <a:pt x="152" y="646"/>
                </a:lnTo>
                <a:lnTo>
                  <a:pt x="132" y="656"/>
                </a:lnTo>
                <a:lnTo>
                  <a:pt x="112" y="670"/>
                </a:lnTo>
                <a:lnTo>
                  <a:pt x="94" y="684"/>
                </a:lnTo>
                <a:lnTo>
                  <a:pt x="76" y="698"/>
                </a:lnTo>
                <a:lnTo>
                  <a:pt x="60" y="714"/>
                </a:lnTo>
                <a:lnTo>
                  <a:pt x="46" y="732"/>
                </a:lnTo>
                <a:lnTo>
                  <a:pt x="32" y="750"/>
                </a:lnTo>
                <a:lnTo>
                  <a:pt x="22" y="770"/>
                </a:lnTo>
                <a:lnTo>
                  <a:pt x="12" y="792"/>
                </a:lnTo>
                <a:lnTo>
                  <a:pt x="6" y="812"/>
                </a:lnTo>
                <a:lnTo>
                  <a:pt x="2" y="836"/>
                </a:lnTo>
                <a:lnTo>
                  <a:pt x="0" y="860"/>
                </a:lnTo>
                <a:lnTo>
                  <a:pt x="0" y="1808"/>
                </a:lnTo>
                <a:lnTo>
                  <a:pt x="0" y="1808"/>
                </a:lnTo>
                <a:lnTo>
                  <a:pt x="2" y="1820"/>
                </a:lnTo>
                <a:lnTo>
                  <a:pt x="4" y="1830"/>
                </a:lnTo>
                <a:lnTo>
                  <a:pt x="10" y="1838"/>
                </a:lnTo>
                <a:lnTo>
                  <a:pt x="16" y="1846"/>
                </a:lnTo>
                <a:lnTo>
                  <a:pt x="24" y="1854"/>
                </a:lnTo>
                <a:lnTo>
                  <a:pt x="32" y="1858"/>
                </a:lnTo>
                <a:lnTo>
                  <a:pt x="42" y="1862"/>
                </a:lnTo>
                <a:lnTo>
                  <a:pt x="54" y="1862"/>
                </a:lnTo>
                <a:lnTo>
                  <a:pt x="604" y="1862"/>
                </a:lnTo>
                <a:lnTo>
                  <a:pt x="604" y="1862"/>
                </a:lnTo>
                <a:lnTo>
                  <a:pt x="616" y="1862"/>
                </a:lnTo>
                <a:lnTo>
                  <a:pt x="626" y="1858"/>
                </a:lnTo>
                <a:lnTo>
                  <a:pt x="634" y="1854"/>
                </a:lnTo>
                <a:lnTo>
                  <a:pt x="642" y="1846"/>
                </a:lnTo>
                <a:lnTo>
                  <a:pt x="650" y="1838"/>
                </a:lnTo>
                <a:lnTo>
                  <a:pt x="654" y="1830"/>
                </a:lnTo>
                <a:lnTo>
                  <a:pt x="658" y="1820"/>
                </a:lnTo>
                <a:lnTo>
                  <a:pt x="658" y="1808"/>
                </a:lnTo>
                <a:lnTo>
                  <a:pt x="658" y="860"/>
                </a:lnTo>
                <a:lnTo>
                  <a:pt x="658" y="326"/>
                </a:lnTo>
                <a:lnTo>
                  <a:pt x="658" y="326"/>
                </a:lnTo>
                <a:lnTo>
                  <a:pt x="658" y="312"/>
                </a:lnTo>
                <a:lnTo>
                  <a:pt x="650" y="276"/>
                </a:lnTo>
                <a:lnTo>
                  <a:pt x="644" y="252"/>
                </a:lnTo>
                <a:lnTo>
                  <a:pt x="636" y="226"/>
                </a:lnTo>
                <a:lnTo>
                  <a:pt x="624" y="198"/>
                </a:lnTo>
                <a:lnTo>
                  <a:pt x="610" y="168"/>
                </a:lnTo>
                <a:lnTo>
                  <a:pt x="590" y="138"/>
                </a:lnTo>
                <a:lnTo>
                  <a:pt x="568" y="108"/>
                </a:lnTo>
                <a:lnTo>
                  <a:pt x="554" y="94"/>
                </a:lnTo>
                <a:lnTo>
                  <a:pt x="540" y="82"/>
                </a:lnTo>
                <a:lnTo>
                  <a:pt x="526" y="68"/>
                </a:lnTo>
                <a:lnTo>
                  <a:pt x="508" y="56"/>
                </a:lnTo>
                <a:lnTo>
                  <a:pt x="490" y="46"/>
                </a:lnTo>
                <a:lnTo>
                  <a:pt x="472" y="34"/>
                </a:lnTo>
                <a:lnTo>
                  <a:pt x="450" y="26"/>
                </a:lnTo>
                <a:lnTo>
                  <a:pt x="428" y="18"/>
                </a:lnTo>
                <a:lnTo>
                  <a:pt x="404" y="12"/>
                </a:lnTo>
                <a:lnTo>
                  <a:pt x="378" y="6"/>
                </a:lnTo>
                <a:lnTo>
                  <a:pt x="352" y="2"/>
                </a:lnTo>
                <a:lnTo>
                  <a:pt x="322" y="0"/>
                </a:lnTo>
                <a:close/>
              </a:path>
            </a:pathLst>
          </a:custGeom>
          <a:gradFill flip="none" rotWithShape="1">
            <a:gsLst>
              <a:gs pos="0">
                <a:schemeClr val="accent4">
                  <a:lumMod val="60000"/>
                  <a:lumOff val="40000"/>
                  <a:shade val="30000"/>
                  <a:satMod val="115000"/>
                </a:schemeClr>
              </a:gs>
              <a:gs pos="50000">
                <a:schemeClr val="accent4">
                  <a:lumMod val="60000"/>
                  <a:lumOff val="40000"/>
                  <a:shade val="67500"/>
                  <a:satMod val="115000"/>
                </a:schemeClr>
              </a:gs>
              <a:gs pos="100000">
                <a:schemeClr val="accent4">
                  <a:lumMod val="60000"/>
                  <a:lumOff val="40000"/>
                  <a:shade val="100000"/>
                  <a:satMod val="115000"/>
                </a:schemeClr>
              </a:gs>
            </a:gsLst>
            <a:lin ang="8100000" scaled="1"/>
            <a:tileRect/>
          </a:gradFill>
          <a:ln/>
        </p:spPr>
        <p:style>
          <a:lnRef idx="1">
            <a:schemeClr val="accent4"/>
          </a:lnRef>
          <a:fillRef idx="3">
            <a:schemeClr val="accent4"/>
          </a:fillRef>
          <a:effectRef idx="2">
            <a:schemeClr val="accent4"/>
          </a:effectRef>
          <a:fontRef idx="minor">
            <a:schemeClr val="lt1"/>
          </a:fontRef>
        </p:style>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66" name="Freeform 11"/>
          <p:cNvSpPr>
            <a:spLocks/>
          </p:cNvSpPr>
          <p:nvPr/>
        </p:nvSpPr>
        <p:spPr bwMode="auto">
          <a:xfrm>
            <a:off x="6952725" y="2280421"/>
            <a:ext cx="1539858" cy="4108202"/>
          </a:xfrm>
          <a:custGeom>
            <a:avLst/>
            <a:gdLst>
              <a:gd name="T0" fmla="*/ 322 w 658"/>
              <a:gd name="T1" fmla="*/ 0 h 1862"/>
              <a:gd name="T2" fmla="*/ 264 w 658"/>
              <a:gd name="T3" fmla="*/ 8 h 1862"/>
              <a:gd name="T4" fmla="*/ 206 w 658"/>
              <a:gd name="T5" fmla="*/ 24 h 1862"/>
              <a:gd name="T6" fmla="*/ 162 w 658"/>
              <a:gd name="T7" fmla="*/ 44 h 1862"/>
              <a:gd name="T8" fmla="*/ 120 w 658"/>
              <a:gd name="T9" fmla="*/ 70 h 1862"/>
              <a:gd name="T10" fmla="*/ 80 w 658"/>
              <a:gd name="T11" fmla="*/ 108 h 1862"/>
              <a:gd name="T12" fmla="*/ 294 w 658"/>
              <a:gd name="T13" fmla="*/ 130 h 1862"/>
              <a:gd name="T14" fmla="*/ 322 w 658"/>
              <a:gd name="T15" fmla="*/ 128 h 1862"/>
              <a:gd name="T16" fmla="*/ 344 w 658"/>
              <a:gd name="T17" fmla="*/ 130 h 1862"/>
              <a:gd name="T18" fmla="*/ 386 w 658"/>
              <a:gd name="T19" fmla="*/ 140 h 1862"/>
              <a:gd name="T20" fmla="*/ 424 w 658"/>
              <a:gd name="T21" fmla="*/ 158 h 1862"/>
              <a:gd name="T22" fmla="*/ 458 w 658"/>
              <a:gd name="T23" fmla="*/ 184 h 1862"/>
              <a:gd name="T24" fmla="*/ 486 w 658"/>
              <a:gd name="T25" fmla="*/ 216 h 1862"/>
              <a:gd name="T26" fmla="*/ 508 w 658"/>
              <a:gd name="T27" fmla="*/ 252 h 1862"/>
              <a:gd name="T28" fmla="*/ 520 w 658"/>
              <a:gd name="T29" fmla="*/ 292 h 1862"/>
              <a:gd name="T30" fmla="*/ 524 w 658"/>
              <a:gd name="T31" fmla="*/ 336 h 1862"/>
              <a:gd name="T32" fmla="*/ 522 w 658"/>
              <a:gd name="T33" fmla="*/ 358 h 1862"/>
              <a:gd name="T34" fmla="*/ 506 w 658"/>
              <a:gd name="T35" fmla="*/ 410 h 1862"/>
              <a:gd name="T36" fmla="*/ 482 w 658"/>
              <a:gd name="T37" fmla="*/ 456 h 1862"/>
              <a:gd name="T38" fmla="*/ 452 w 658"/>
              <a:gd name="T39" fmla="*/ 496 h 1862"/>
              <a:gd name="T40" fmla="*/ 414 w 658"/>
              <a:gd name="T41" fmla="*/ 528 h 1862"/>
              <a:gd name="T42" fmla="*/ 372 w 658"/>
              <a:gd name="T43" fmla="*/ 556 h 1862"/>
              <a:gd name="T44" fmla="*/ 328 w 658"/>
              <a:gd name="T45" fmla="*/ 580 h 1862"/>
              <a:gd name="T46" fmla="*/ 238 w 658"/>
              <a:gd name="T47" fmla="*/ 612 h 1862"/>
              <a:gd name="T48" fmla="*/ 216 w 658"/>
              <a:gd name="T49" fmla="*/ 618 h 1862"/>
              <a:gd name="T50" fmla="*/ 174 w 658"/>
              <a:gd name="T51" fmla="*/ 636 h 1862"/>
              <a:gd name="T52" fmla="*/ 132 w 658"/>
              <a:gd name="T53" fmla="*/ 656 h 1862"/>
              <a:gd name="T54" fmla="*/ 94 w 658"/>
              <a:gd name="T55" fmla="*/ 684 h 1862"/>
              <a:gd name="T56" fmla="*/ 60 w 658"/>
              <a:gd name="T57" fmla="*/ 714 h 1862"/>
              <a:gd name="T58" fmla="*/ 32 w 658"/>
              <a:gd name="T59" fmla="*/ 750 h 1862"/>
              <a:gd name="T60" fmla="*/ 12 w 658"/>
              <a:gd name="T61" fmla="*/ 792 h 1862"/>
              <a:gd name="T62" fmla="*/ 2 w 658"/>
              <a:gd name="T63" fmla="*/ 836 h 1862"/>
              <a:gd name="T64" fmla="*/ 0 w 658"/>
              <a:gd name="T65" fmla="*/ 1808 h 1862"/>
              <a:gd name="T66" fmla="*/ 2 w 658"/>
              <a:gd name="T67" fmla="*/ 1820 h 1862"/>
              <a:gd name="T68" fmla="*/ 10 w 658"/>
              <a:gd name="T69" fmla="*/ 1838 h 1862"/>
              <a:gd name="T70" fmla="*/ 24 w 658"/>
              <a:gd name="T71" fmla="*/ 1854 h 1862"/>
              <a:gd name="T72" fmla="*/ 42 w 658"/>
              <a:gd name="T73" fmla="*/ 1862 h 1862"/>
              <a:gd name="T74" fmla="*/ 604 w 658"/>
              <a:gd name="T75" fmla="*/ 1862 h 1862"/>
              <a:gd name="T76" fmla="*/ 616 w 658"/>
              <a:gd name="T77" fmla="*/ 1862 h 1862"/>
              <a:gd name="T78" fmla="*/ 634 w 658"/>
              <a:gd name="T79" fmla="*/ 1854 h 1862"/>
              <a:gd name="T80" fmla="*/ 650 w 658"/>
              <a:gd name="T81" fmla="*/ 1838 h 1862"/>
              <a:gd name="T82" fmla="*/ 658 w 658"/>
              <a:gd name="T83" fmla="*/ 1820 h 1862"/>
              <a:gd name="T84" fmla="*/ 658 w 658"/>
              <a:gd name="T85" fmla="*/ 860 h 1862"/>
              <a:gd name="T86" fmla="*/ 658 w 658"/>
              <a:gd name="T87" fmla="*/ 326 h 1862"/>
              <a:gd name="T88" fmla="*/ 650 w 658"/>
              <a:gd name="T89" fmla="*/ 276 h 1862"/>
              <a:gd name="T90" fmla="*/ 636 w 658"/>
              <a:gd name="T91" fmla="*/ 226 h 1862"/>
              <a:gd name="T92" fmla="*/ 610 w 658"/>
              <a:gd name="T93" fmla="*/ 168 h 1862"/>
              <a:gd name="T94" fmla="*/ 568 w 658"/>
              <a:gd name="T95" fmla="*/ 108 h 1862"/>
              <a:gd name="T96" fmla="*/ 540 w 658"/>
              <a:gd name="T97" fmla="*/ 82 h 1862"/>
              <a:gd name="T98" fmla="*/ 508 w 658"/>
              <a:gd name="T99" fmla="*/ 56 h 1862"/>
              <a:gd name="T100" fmla="*/ 472 w 658"/>
              <a:gd name="T101" fmla="*/ 34 h 1862"/>
              <a:gd name="T102" fmla="*/ 428 w 658"/>
              <a:gd name="T103" fmla="*/ 18 h 1862"/>
              <a:gd name="T104" fmla="*/ 378 w 658"/>
              <a:gd name="T105" fmla="*/ 6 h 1862"/>
              <a:gd name="T106" fmla="*/ 322 w 658"/>
              <a:gd name="T107" fmla="*/ 0 h 1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1862">
                <a:moveTo>
                  <a:pt x="322" y="0"/>
                </a:moveTo>
                <a:lnTo>
                  <a:pt x="322" y="0"/>
                </a:lnTo>
                <a:lnTo>
                  <a:pt x="294" y="2"/>
                </a:lnTo>
                <a:lnTo>
                  <a:pt x="264" y="8"/>
                </a:lnTo>
                <a:lnTo>
                  <a:pt x="226" y="18"/>
                </a:lnTo>
                <a:lnTo>
                  <a:pt x="206" y="24"/>
                </a:lnTo>
                <a:lnTo>
                  <a:pt x="184" y="32"/>
                </a:lnTo>
                <a:lnTo>
                  <a:pt x="162" y="44"/>
                </a:lnTo>
                <a:lnTo>
                  <a:pt x="140" y="56"/>
                </a:lnTo>
                <a:lnTo>
                  <a:pt x="120" y="70"/>
                </a:lnTo>
                <a:lnTo>
                  <a:pt x="100" y="88"/>
                </a:lnTo>
                <a:lnTo>
                  <a:pt x="80" y="108"/>
                </a:lnTo>
                <a:lnTo>
                  <a:pt x="62" y="130"/>
                </a:lnTo>
                <a:lnTo>
                  <a:pt x="294" y="130"/>
                </a:lnTo>
                <a:lnTo>
                  <a:pt x="294" y="130"/>
                </a:lnTo>
                <a:lnTo>
                  <a:pt x="322" y="128"/>
                </a:lnTo>
                <a:lnTo>
                  <a:pt x="322" y="128"/>
                </a:lnTo>
                <a:lnTo>
                  <a:pt x="344" y="130"/>
                </a:lnTo>
                <a:lnTo>
                  <a:pt x="366" y="134"/>
                </a:lnTo>
                <a:lnTo>
                  <a:pt x="386" y="140"/>
                </a:lnTo>
                <a:lnTo>
                  <a:pt x="406" y="148"/>
                </a:lnTo>
                <a:lnTo>
                  <a:pt x="424" y="158"/>
                </a:lnTo>
                <a:lnTo>
                  <a:pt x="442" y="170"/>
                </a:lnTo>
                <a:lnTo>
                  <a:pt x="458" y="184"/>
                </a:lnTo>
                <a:lnTo>
                  <a:pt x="474" y="200"/>
                </a:lnTo>
                <a:lnTo>
                  <a:pt x="486" y="216"/>
                </a:lnTo>
                <a:lnTo>
                  <a:pt x="498" y="234"/>
                </a:lnTo>
                <a:lnTo>
                  <a:pt x="508" y="252"/>
                </a:lnTo>
                <a:lnTo>
                  <a:pt x="516" y="272"/>
                </a:lnTo>
                <a:lnTo>
                  <a:pt x="520" y="292"/>
                </a:lnTo>
                <a:lnTo>
                  <a:pt x="524" y="314"/>
                </a:lnTo>
                <a:lnTo>
                  <a:pt x="524" y="336"/>
                </a:lnTo>
                <a:lnTo>
                  <a:pt x="522" y="358"/>
                </a:lnTo>
                <a:lnTo>
                  <a:pt x="522" y="358"/>
                </a:lnTo>
                <a:lnTo>
                  <a:pt x="516" y="384"/>
                </a:lnTo>
                <a:lnTo>
                  <a:pt x="506" y="410"/>
                </a:lnTo>
                <a:lnTo>
                  <a:pt x="496" y="434"/>
                </a:lnTo>
                <a:lnTo>
                  <a:pt x="482" y="456"/>
                </a:lnTo>
                <a:lnTo>
                  <a:pt x="468" y="476"/>
                </a:lnTo>
                <a:lnTo>
                  <a:pt x="452" y="496"/>
                </a:lnTo>
                <a:lnTo>
                  <a:pt x="434" y="512"/>
                </a:lnTo>
                <a:lnTo>
                  <a:pt x="414" y="528"/>
                </a:lnTo>
                <a:lnTo>
                  <a:pt x="394" y="544"/>
                </a:lnTo>
                <a:lnTo>
                  <a:pt x="372" y="556"/>
                </a:lnTo>
                <a:lnTo>
                  <a:pt x="350" y="568"/>
                </a:lnTo>
                <a:lnTo>
                  <a:pt x="328" y="580"/>
                </a:lnTo>
                <a:lnTo>
                  <a:pt x="284" y="598"/>
                </a:lnTo>
                <a:lnTo>
                  <a:pt x="238" y="612"/>
                </a:lnTo>
                <a:lnTo>
                  <a:pt x="238" y="612"/>
                </a:lnTo>
                <a:lnTo>
                  <a:pt x="216" y="618"/>
                </a:lnTo>
                <a:lnTo>
                  <a:pt x="194" y="626"/>
                </a:lnTo>
                <a:lnTo>
                  <a:pt x="174" y="636"/>
                </a:lnTo>
                <a:lnTo>
                  <a:pt x="152" y="646"/>
                </a:lnTo>
                <a:lnTo>
                  <a:pt x="132" y="656"/>
                </a:lnTo>
                <a:lnTo>
                  <a:pt x="112" y="670"/>
                </a:lnTo>
                <a:lnTo>
                  <a:pt x="94" y="684"/>
                </a:lnTo>
                <a:lnTo>
                  <a:pt x="76" y="698"/>
                </a:lnTo>
                <a:lnTo>
                  <a:pt x="60" y="714"/>
                </a:lnTo>
                <a:lnTo>
                  <a:pt x="46" y="732"/>
                </a:lnTo>
                <a:lnTo>
                  <a:pt x="32" y="750"/>
                </a:lnTo>
                <a:lnTo>
                  <a:pt x="22" y="770"/>
                </a:lnTo>
                <a:lnTo>
                  <a:pt x="12" y="792"/>
                </a:lnTo>
                <a:lnTo>
                  <a:pt x="6" y="812"/>
                </a:lnTo>
                <a:lnTo>
                  <a:pt x="2" y="836"/>
                </a:lnTo>
                <a:lnTo>
                  <a:pt x="0" y="860"/>
                </a:lnTo>
                <a:lnTo>
                  <a:pt x="0" y="1808"/>
                </a:lnTo>
                <a:lnTo>
                  <a:pt x="0" y="1808"/>
                </a:lnTo>
                <a:lnTo>
                  <a:pt x="2" y="1820"/>
                </a:lnTo>
                <a:lnTo>
                  <a:pt x="4" y="1830"/>
                </a:lnTo>
                <a:lnTo>
                  <a:pt x="10" y="1838"/>
                </a:lnTo>
                <a:lnTo>
                  <a:pt x="16" y="1846"/>
                </a:lnTo>
                <a:lnTo>
                  <a:pt x="24" y="1854"/>
                </a:lnTo>
                <a:lnTo>
                  <a:pt x="32" y="1858"/>
                </a:lnTo>
                <a:lnTo>
                  <a:pt x="42" y="1862"/>
                </a:lnTo>
                <a:lnTo>
                  <a:pt x="54" y="1862"/>
                </a:lnTo>
                <a:lnTo>
                  <a:pt x="604" y="1862"/>
                </a:lnTo>
                <a:lnTo>
                  <a:pt x="604" y="1862"/>
                </a:lnTo>
                <a:lnTo>
                  <a:pt x="616" y="1862"/>
                </a:lnTo>
                <a:lnTo>
                  <a:pt x="626" y="1858"/>
                </a:lnTo>
                <a:lnTo>
                  <a:pt x="634" y="1854"/>
                </a:lnTo>
                <a:lnTo>
                  <a:pt x="642" y="1846"/>
                </a:lnTo>
                <a:lnTo>
                  <a:pt x="650" y="1838"/>
                </a:lnTo>
                <a:lnTo>
                  <a:pt x="654" y="1830"/>
                </a:lnTo>
                <a:lnTo>
                  <a:pt x="658" y="1820"/>
                </a:lnTo>
                <a:lnTo>
                  <a:pt x="658" y="1808"/>
                </a:lnTo>
                <a:lnTo>
                  <a:pt x="658" y="860"/>
                </a:lnTo>
                <a:lnTo>
                  <a:pt x="658" y="326"/>
                </a:lnTo>
                <a:lnTo>
                  <a:pt x="658" y="326"/>
                </a:lnTo>
                <a:lnTo>
                  <a:pt x="658" y="312"/>
                </a:lnTo>
                <a:lnTo>
                  <a:pt x="650" y="276"/>
                </a:lnTo>
                <a:lnTo>
                  <a:pt x="644" y="252"/>
                </a:lnTo>
                <a:lnTo>
                  <a:pt x="636" y="226"/>
                </a:lnTo>
                <a:lnTo>
                  <a:pt x="624" y="198"/>
                </a:lnTo>
                <a:lnTo>
                  <a:pt x="610" y="168"/>
                </a:lnTo>
                <a:lnTo>
                  <a:pt x="590" y="138"/>
                </a:lnTo>
                <a:lnTo>
                  <a:pt x="568" y="108"/>
                </a:lnTo>
                <a:lnTo>
                  <a:pt x="554" y="94"/>
                </a:lnTo>
                <a:lnTo>
                  <a:pt x="540" y="82"/>
                </a:lnTo>
                <a:lnTo>
                  <a:pt x="526" y="68"/>
                </a:lnTo>
                <a:lnTo>
                  <a:pt x="508" y="56"/>
                </a:lnTo>
                <a:lnTo>
                  <a:pt x="490" y="46"/>
                </a:lnTo>
                <a:lnTo>
                  <a:pt x="472" y="34"/>
                </a:lnTo>
                <a:lnTo>
                  <a:pt x="450" y="26"/>
                </a:lnTo>
                <a:lnTo>
                  <a:pt x="428" y="18"/>
                </a:lnTo>
                <a:lnTo>
                  <a:pt x="404" y="12"/>
                </a:lnTo>
                <a:lnTo>
                  <a:pt x="378" y="6"/>
                </a:lnTo>
                <a:lnTo>
                  <a:pt x="352" y="2"/>
                </a:lnTo>
                <a:lnTo>
                  <a:pt x="3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67" name="Freeform 12"/>
          <p:cNvSpPr>
            <a:spLocks noEditPoints="1"/>
          </p:cNvSpPr>
          <p:nvPr/>
        </p:nvSpPr>
        <p:spPr bwMode="auto">
          <a:xfrm>
            <a:off x="7097818" y="2302486"/>
            <a:ext cx="552289" cy="264761"/>
          </a:xfrm>
          <a:custGeom>
            <a:avLst/>
            <a:gdLst>
              <a:gd name="T0" fmla="*/ 0 w 236"/>
              <a:gd name="T1" fmla="*/ 120 h 120"/>
              <a:gd name="T2" fmla="*/ 0 w 236"/>
              <a:gd name="T3" fmla="*/ 120 h 120"/>
              <a:gd name="T4" fmla="*/ 0 w 236"/>
              <a:gd name="T5" fmla="*/ 120 h 120"/>
              <a:gd name="T6" fmla="*/ 236 w 236"/>
              <a:gd name="T7" fmla="*/ 120 h 120"/>
              <a:gd name="T8" fmla="*/ 232 w 236"/>
              <a:gd name="T9" fmla="*/ 120 h 120"/>
              <a:gd name="T10" fmla="*/ 236 w 236"/>
              <a:gd name="T11" fmla="*/ 120 h 120"/>
              <a:gd name="T12" fmla="*/ 0 w 236"/>
              <a:gd name="T13" fmla="*/ 120 h 120"/>
              <a:gd name="T14" fmla="*/ 0 w 236"/>
              <a:gd name="T15" fmla="*/ 120 h 120"/>
              <a:gd name="T16" fmla="*/ 0 w 236"/>
              <a:gd name="T17" fmla="*/ 118 h 120"/>
              <a:gd name="T18" fmla="*/ 0 w 236"/>
              <a:gd name="T19" fmla="*/ 118 h 120"/>
              <a:gd name="T20" fmla="*/ 0 w 236"/>
              <a:gd name="T21" fmla="*/ 118 h 120"/>
              <a:gd name="T22" fmla="*/ 0 w 236"/>
              <a:gd name="T23" fmla="*/ 118 h 120"/>
              <a:gd name="T24" fmla="*/ 0 w 236"/>
              <a:gd name="T25" fmla="*/ 118 h 120"/>
              <a:gd name="T26" fmla="*/ 0 w 236"/>
              <a:gd name="T27" fmla="*/ 118 h 120"/>
              <a:gd name="T28" fmla="*/ 0 w 236"/>
              <a:gd name="T29" fmla="*/ 118 h 120"/>
              <a:gd name="T30" fmla="*/ 0 w 236"/>
              <a:gd name="T31" fmla="*/ 118 h 120"/>
              <a:gd name="T32" fmla="*/ 2 w 236"/>
              <a:gd name="T33" fmla="*/ 118 h 120"/>
              <a:gd name="T34" fmla="*/ 2 w 236"/>
              <a:gd name="T35" fmla="*/ 118 h 120"/>
              <a:gd name="T36" fmla="*/ 2 w 236"/>
              <a:gd name="T37" fmla="*/ 116 h 120"/>
              <a:gd name="T38" fmla="*/ 2 w 236"/>
              <a:gd name="T39" fmla="*/ 116 h 120"/>
              <a:gd name="T40" fmla="*/ 16 w 236"/>
              <a:gd name="T41" fmla="*/ 98 h 120"/>
              <a:gd name="T42" fmla="*/ 16 w 236"/>
              <a:gd name="T43" fmla="*/ 98 h 120"/>
              <a:gd name="T44" fmla="*/ 16 w 236"/>
              <a:gd name="T45" fmla="*/ 98 h 120"/>
              <a:gd name="T46" fmla="*/ 16 w 236"/>
              <a:gd name="T47" fmla="*/ 98 h 120"/>
              <a:gd name="T48" fmla="*/ 16 w 236"/>
              <a:gd name="T49" fmla="*/ 98 h 120"/>
              <a:gd name="T50" fmla="*/ 16 w 236"/>
              <a:gd name="T51" fmla="*/ 98 h 120"/>
              <a:gd name="T52" fmla="*/ 16 w 236"/>
              <a:gd name="T53" fmla="*/ 98 h 120"/>
              <a:gd name="T54" fmla="*/ 18 w 236"/>
              <a:gd name="T55" fmla="*/ 98 h 120"/>
              <a:gd name="T56" fmla="*/ 18 w 236"/>
              <a:gd name="T57" fmla="*/ 98 h 120"/>
              <a:gd name="T58" fmla="*/ 18 w 236"/>
              <a:gd name="T59" fmla="*/ 98 h 120"/>
              <a:gd name="T60" fmla="*/ 18 w 236"/>
              <a:gd name="T61" fmla="*/ 98 h 120"/>
              <a:gd name="T62" fmla="*/ 18 w 236"/>
              <a:gd name="T63" fmla="*/ 98 h 120"/>
              <a:gd name="T64" fmla="*/ 18 w 236"/>
              <a:gd name="T65" fmla="*/ 96 h 120"/>
              <a:gd name="T66" fmla="*/ 18 w 236"/>
              <a:gd name="T67" fmla="*/ 98 h 120"/>
              <a:gd name="T68" fmla="*/ 18 w 236"/>
              <a:gd name="T69" fmla="*/ 96 h 120"/>
              <a:gd name="T70" fmla="*/ 18 w 236"/>
              <a:gd name="T71" fmla="*/ 96 h 120"/>
              <a:gd name="T72" fmla="*/ 18 w 236"/>
              <a:gd name="T73" fmla="*/ 96 h 120"/>
              <a:gd name="T74" fmla="*/ 18 w 236"/>
              <a:gd name="T75" fmla="*/ 96 h 120"/>
              <a:gd name="T76" fmla="*/ 18 w 236"/>
              <a:gd name="T77" fmla="*/ 96 h 120"/>
              <a:gd name="T78" fmla="*/ 18 w 236"/>
              <a:gd name="T79" fmla="*/ 96 h 120"/>
              <a:gd name="T80" fmla="*/ 20 w 236"/>
              <a:gd name="T81" fmla="*/ 96 h 120"/>
              <a:gd name="T82" fmla="*/ 18 w 236"/>
              <a:gd name="T83" fmla="*/ 96 h 120"/>
              <a:gd name="T84" fmla="*/ 192 w 236"/>
              <a:gd name="T85" fmla="*/ 0 h 120"/>
              <a:gd name="T86" fmla="*/ 172 w 236"/>
              <a:gd name="T87" fmla="*/ 4 h 120"/>
              <a:gd name="T88" fmla="*/ 128 w 236"/>
              <a:gd name="T89" fmla="*/ 20 h 120"/>
              <a:gd name="T90" fmla="*/ 84 w 236"/>
              <a:gd name="T91" fmla="*/ 42 h 120"/>
              <a:gd name="T92" fmla="*/ 40 w 236"/>
              <a:gd name="T93" fmla="*/ 76 h 120"/>
              <a:gd name="T94" fmla="*/ 20 w 236"/>
              <a:gd name="T95" fmla="*/ 96 h 120"/>
              <a:gd name="T96" fmla="*/ 62 w 236"/>
              <a:gd name="T97" fmla="*/ 58 h 120"/>
              <a:gd name="T98" fmla="*/ 106 w 236"/>
              <a:gd name="T99" fmla="*/ 30 h 120"/>
              <a:gd name="T100" fmla="*/ 152 w 236"/>
              <a:gd name="T101" fmla="*/ 12 h 120"/>
              <a:gd name="T102" fmla="*/ 192 w 236"/>
              <a:gd name="T103"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6" h="120">
                <a:moveTo>
                  <a:pt x="0" y="120"/>
                </a:moveTo>
                <a:lnTo>
                  <a:pt x="0" y="120"/>
                </a:lnTo>
                <a:lnTo>
                  <a:pt x="0" y="120"/>
                </a:lnTo>
                <a:lnTo>
                  <a:pt x="0" y="120"/>
                </a:lnTo>
                <a:lnTo>
                  <a:pt x="0" y="120"/>
                </a:lnTo>
                <a:lnTo>
                  <a:pt x="0" y="120"/>
                </a:lnTo>
                <a:close/>
                <a:moveTo>
                  <a:pt x="236" y="120"/>
                </a:moveTo>
                <a:lnTo>
                  <a:pt x="236" y="120"/>
                </a:lnTo>
                <a:lnTo>
                  <a:pt x="232" y="120"/>
                </a:lnTo>
                <a:lnTo>
                  <a:pt x="232" y="120"/>
                </a:lnTo>
                <a:lnTo>
                  <a:pt x="236" y="120"/>
                </a:lnTo>
                <a:lnTo>
                  <a:pt x="236" y="120"/>
                </a:lnTo>
                <a:close/>
                <a:moveTo>
                  <a:pt x="0" y="120"/>
                </a:moveTo>
                <a:lnTo>
                  <a:pt x="0" y="120"/>
                </a:lnTo>
                <a:lnTo>
                  <a:pt x="0" y="120"/>
                </a:lnTo>
                <a:lnTo>
                  <a:pt x="0" y="120"/>
                </a:lnTo>
                <a:lnTo>
                  <a:pt x="0" y="120"/>
                </a:lnTo>
                <a:close/>
                <a:moveTo>
                  <a:pt x="0" y="118"/>
                </a:moveTo>
                <a:lnTo>
                  <a:pt x="0" y="118"/>
                </a:lnTo>
                <a:lnTo>
                  <a:pt x="0" y="118"/>
                </a:lnTo>
                <a:lnTo>
                  <a:pt x="0" y="118"/>
                </a:lnTo>
                <a:lnTo>
                  <a:pt x="0" y="118"/>
                </a:lnTo>
                <a:close/>
                <a:moveTo>
                  <a:pt x="0" y="118"/>
                </a:moveTo>
                <a:lnTo>
                  <a:pt x="0" y="118"/>
                </a:lnTo>
                <a:lnTo>
                  <a:pt x="0" y="118"/>
                </a:lnTo>
                <a:lnTo>
                  <a:pt x="0" y="118"/>
                </a:lnTo>
                <a:lnTo>
                  <a:pt x="0" y="118"/>
                </a:lnTo>
                <a:close/>
                <a:moveTo>
                  <a:pt x="0" y="118"/>
                </a:moveTo>
                <a:lnTo>
                  <a:pt x="0" y="118"/>
                </a:lnTo>
                <a:lnTo>
                  <a:pt x="0" y="118"/>
                </a:lnTo>
                <a:lnTo>
                  <a:pt x="0" y="118"/>
                </a:lnTo>
                <a:lnTo>
                  <a:pt x="0" y="118"/>
                </a:lnTo>
                <a:close/>
                <a:moveTo>
                  <a:pt x="2" y="118"/>
                </a:moveTo>
                <a:lnTo>
                  <a:pt x="2" y="118"/>
                </a:lnTo>
                <a:lnTo>
                  <a:pt x="2" y="118"/>
                </a:lnTo>
                <a:lnTo>
                  <a:pt x="2" y="118"/>
                </a:lnTo>
                <a:lnTo>
                  <a:pt x="2" y="118"/>
                </a:lnTo>
                <a:close/>
                <a:moveTo>
                  <a:pt x="2" y="116"/>
                </a:moveTo>
                <a:lnTo>
                  <a:pt x="2" y="116"/>
                </a:lnTo>
                <a:lnTo>
                  <a:pt x="2" y="116"/>
                </a:lnTo>
                <a:close/>
                <a:moveTo>
                  <a:pt x="16" y="98"/>
                </a:moveTo>
                <a:lnTo>
                  <a:pt x="16" y="98"/>
                </a:lnTo>
                <a:lnTo>
                  <a:pt x="16" y="98"/>
                </a:lnTo>
                <a:lnTo>
                  <a:pt x="16" y="98"/>
                </a:lnTo>
                <a:lnTo>
                  <a:pt x="16" y="98"/>
                </a:lnTo>
                <a:close/>
                <a:moveTo>
                  <a:pt x="16" y="98"/>
                </a:moveTo>
                <a:lnTo>
                  <a:pt x="16" y="98"/>
                </a:lnTo>
                <a:lnTo>
                  <a:pt x="16" y="98"/>
                </a:lnTo>
                <a:lnTo>
                  <a:pt x="16" y="98"/>
                </a:lnTo>
                <a:lnTo>
                  <a:pt x="16" y="98"/>
                </a:lnTo>
                <a:close/>
                <a:moveTo>
                  <a:pt x="16" y="98"/>
                </a:moveTo>
                <a:lnTo>
                  <a:pt x="16" y="98"/>
                </a:lnTo>
                <a:lnTo>
                  <a:pt x="16" y="98"/>
                </a:lnTo>
                <a:lnTo>
                  <a:pt x="16" y="98"/>
                </a:lnTo>
                <a:lnTo>
                  <a:pt x="16" y="98"/>
                </a:lnTo>
                <a:close/>
                <a:moveTo>
                  <a:pt x="18" y="98"/>
                </a:moveTo>
                <a:lnTo>
                  <a:pt x="18" y="98"/>
                </a:lnTo>
                <a:lnTo>
                  <a:pt x="18" y="98"/>
                </a:lnTo>
                <a:lnTo>
                  <a:pt x="18" y="98"/>
                </a:lnTo>
                <a:lnTo>
                  <a:pt x="18" y="98"/>
                </a:lnTo>
                <a:close/>
                <a:moveTo>
                  <a:pt x="18" y="98"/>
                </a:moveTo>
                <a:lnTo>
                  <a:pt x="18" y="98"/>
                </a:lnTo>
                <a:lnTo>
                  <a:pt x="18" y="98"/>
                </a:lnTo>
                <a:lnTo>
                  <a:pt x="18" y="98"/>
                </a:lnTo>
                <a:lnTo>
                  <a:pt x="18" y="98"/>
                </a:lnTo>
                <a:close/>
                <a:moveTo>
                  <a:pt x="18" y="96"/>
                </a:moveTo>
                <a:lnTo>
                  <a:pt x="18" y="96"/>
                </a:lnTo>
                <a:lnTo>
                  <a:pt x="18" y="98"/>
                </a:lnTo>
                <a:lnTo>
                  <a:pt x="18" y="98"/>
                </a:lnTo>
                <a:lnTo>
                  <a:pt x="18" y="96"/>
                </a:lnTo>
                <a:close/>
                <a:moveTo>
                  <a:pt x="18" y="96"/>
                </a:moveTo>
                <a:lnTo>
                  <a:pt x="18" y="96"/>
                </a:lnTo>
                <a:lnTo>
                  <a:pt x="18" y="96"/>
                </a:lnTo>
                <a:lnTo>
                  <a:pt x="18" y="96"/>
                </a:lnTo>
                <a:lnTo>
                  <a:pt x="18" y="96"/>
                </a:lnTo>
                <a:close/>
                <a:moveTo>
                  <a:pt x="18" y="96"/>
                </a:moveTo>
                <a:lnTo>
                  <a:pt x="18" y="96"/>
                </a:lnTo>
                <a:lnTo>
                  <a:pt x="18" y="96"/>
                </a:lnTo>
                <a:lnTo>
                  <a:pt x="18" y="96"/>
                </a:lnTo>
                <a:lnTo>
                  <a:pt x="18" y="96"/>
                </a:lnTo>
                <a:close/>
                <a:moveTo>
                  <a:pt x="20" y="96"/>
                </a:moveTo>
                <a:lnTo>
                  <a:pt x="20" y="96"/>
                </a:lnTo>
                <a:lnTo>
                  <a:pt x="18" y="96"/>
                </a:lnTo>
                <a:lnTo>
                  <a:pt x="18" y="96"/>
                </a:lnTo>
                <a:lnTo>
                  <a:pt x="20" y="96"/>
                </a:lnTo>
                <a:close/>
                <a:moveTo>
                  <a:pt x="192" y="0"/>
                </a:moveTo>
                <a:lnTo>
                  <a:pt x="192" y="0"/>
                </a:lnTo>
                <a:lnTo>
                  <a:pt x="172" y="4"/>
                </a:lnTo>
                <a:lnTo>
                  <a:pt x="152" y="12"/>
                </a:lnTo>
                <a:lnTo>
                  <a:pt x="128" y="20"/>
                </a:lnTo>
                <a:lnTo>
                  <a:pt x="106" y="30"/>
                </a:lnTo>
                <a:lnTo>
                  <a:pt x="84" y="42"/>
                </a:lnTo>
                <a:lnTo>
                  <a:pt x="62" y="58"/>
                </a:lnTo>
                <a:lnTo>
                  <a:pt x="40" y="76"/>
                </a:lnTo>
                <a:lnTo>
                  <a:pt x="20" y="96"/>
                </a:lnTo>
                <a:lnTo>
                  <a:pt x="20" y="96"/>
                </a:lnTo>
                <a:lnTo>
                  <a:pt x="40" y="76"/>
                </a:lnTo>
                <a:lnTo>
                  <a:pt x="62" y="58"/>
                </a:lnTo>
                <a:lnTo>
                  <a:pt x="84" y="42"/>
                </a:lnTo>
                <a:lnTo>
                  <a:pt x="106" y="30"/>
                </a:lnTo>
                <a:lnTo>
                  <a:pt x="128" y="20"/>
                </a:lnTo>
                <a:lnTo>
                  <a:pt x="152" y="12"/>
                </a:lnTo>
                <a:lnTo>
                  <a:pt x="172" y="4"/>
                </a:lnTo>
                <a:lnTo>
                  <a:pt x="192" y="0"/>
                </a:lnTo>
                <a:close/>
              </a:path>
            </a:pathLst>
          </a:custGeom>
          <a:solidFill>
            <a:srgbClr val="FBC78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68" name="Freeform 13"/>
          <p:cNvSpPr>
            <a:spLocks/>
          </p:cNvSpPr>
          <p:nvPr/>
        </p:nvSpPr>
        <p:spPr bwMode="auto">
          <a:xfrm>
            <a:off x="7097818" y="256724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69" name="Freeform 14"/>
          <p:cNvSpPr>
            <a:spLocks/>
          </p:cNvSpPr>
          <p:nvPr/>
        </p:nvSpPr>
        <p:spPr bwMode="auto">
          <a:xfrm>
            <a:off x="7640747" y="2567245"/>
            <a:ext cx="9361" cy="0"/>
          </a:xfrm>
          <a:custGeom>
            <a:avLst/>
            <a:gdLst>
              <a:gd name="T0" fmla="*/ 4 w 4"/>
              <a:gd name="T1" fmla="*/ 4 w 4"/>
              <a:gd name="T2" fmla="*/ 0 w 4"/>
              <a:gd name="T3" fmla="*/ 0 w 4"/>
              <a:gd name="T4" fmla="*/ 4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4" y="0"/>
                </a:lnTo>
                <a:lnTo>
                  <a:pt x="0" y="0"/>
                </a:lnTo>
                <a:lnTo>
                  <a:pt x="0"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76" name="Rectangle 15"/>
          <p:cNvSpPr>
            <a:spLocks noChangeArrowheads="1"/>
          </p:cNvSpPr>
          <p:nvPr/>
        </p:nvSpPr>
        <p:spPr bwMode="auto">
          <a:xfrm>
            <a:off x="7097818" y="2567246"/>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77" name="Rectangle 16"/>
          <p:cNvSpPr>
            <a:spLocks noChangeArrowheads="1"/>
          </p:cNvSpPr>
          <p:nvPr/>
        </p:nvSpPr>
        <p:spPr bwMode="auto">
          <a:xfrm>
            <a:off x="7097818" y="2562833"/>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78" name="Rectangle 17"/>
          <p:cNvSpPr>
            <a:spLocks noChangeArrowheads="1"/>
          </p:cNvSpPr>
          <p:nvPr/>
        </p:nvSpPr>
        <p:spPr bwMode="auto">
          <a:xfrm>
            <a:off x="7097818" y="2562833"/>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79" name="Rectangle 18"/>
          <p:cNvSpPr>
            <a:spLocks noChangeArrowheads="1"/>
          </p:cNvSpPr>
          <p:nvPr/>
        </p:nvSpPr>
        <p:spPr bwMode="auto">
          <a:xfrm>
            <a:off x="7097818" y="2562833"/>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80" name="Rectangle 19"/>
          <p:cNvSpPr>
            <a:spLocks noChangeArrowheads="1"/>
          </p:cNvSpPr>
          <p:nvPr/>
        </p:nvSpPr>
        <p:spPr bwMode="auto">
          <a:xfrm>
            <a:off x="7102498" y="2562833"/>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81" name="Freeform 20"/>
          <p:cNvSpPr>
            <a:spLocks/>
          </p:cNvSpPr>
          <p:nvPr/>
        </p:nvSpPr>
        <p:spPr bwMode="auto">
          <a:xfrm>
            <a:off x="7102498" y="255841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82" name="Rectangle 21"/>
          <p:cNvSpPr>
            <a:spLocks noChangeArrowheads="1"/>
          </p:cNvSpPr>
          <p:nvPr/>
        </p:nvSpPr>
        <p:spPr bwMode="auto">
          <a:xfrm>
            <a:off x="7135261" y="2518705"/>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83" name="Rectangle 22"/>
          <p:cNvSpPr>
            <a:spLocks noChangeArrowheads="1"/>
          </p:cNvSpPr>
          <p:nvPr/>
        </p:nvSpPr>
        <p:spPr bwMode="auto">
          <a:xfrm>
            <a:off x="7135261" y="2518705"/>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84" name="Rectangle 23"/>
          <p:cNvSpPr>
            <a:spLocks noChangeArrowheads="1"/>
          </p:cNvSpPr>
          <p:nvPr/>
        </p:nvSpPr>
        <p:spPr bwMode="auto">
          <a:xfrm>
            <a:off x="7135261" y="2518705"/>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85" name="Rectangle 24"/>
          <p:cNvSpPr>
            <a:spLocks noChangeArrowheads="1"/>
          </p:cNvSpPr>
          <p:nvPr/>
        </p:nvSpPr>
        <p:spPr bwMode="auto">
          <a:xfrm>
            <a:off x="7139942" y="2518705"/>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86" name="Rectangle 25"/>
          <p:cNvSpPr>
            <a:spLocks noChangeArrowheads="1"/>
          </p:cNvSpPr>
          <p:nvPr/>
        </p:nvSpPr>
        <p:spPr bwMode="auto">
          <a:xfrm>
            <a:off x="7139942" y="2518705"/>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87" name="Rectangle 26"/>
          <p:cNvSpPr>
            <a:spLocks noChangeArrowheads="1"/>
          </p:cNvSpPr>
          <p:nvPr/>
        </p:nvSpPr>
        <p:spPr bwMode="auto">
          <a:xfrm>
            <a:off x="7139942" y="2514294"/>
            <a:ext cx="2341" cy="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88" name="Rectangle 27"/>
          <p:cNvSpPr>
            <a:spLocks noChangeArrowheads="1"/>
          </p:cNvSpPr>
          <p:nvPr/>
        </p:nvSpPr>
        <p:spPr bwMode="auto">
          <a:xfrm>
            <a:off x="7139942" y="2514294"/>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89" name="Rectangle 28"/>
          <p:cNvSpPr>
            <a:spLocks noChangeArrowheads="1"/>
          </p:cNvSpPr>
          <p:nvPr/>
        </p:nvSpPr>
        <p:spPr bwMode="auto">
          <a:xfrm>
            <a:off x="7139942" y="2514294"/>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90" name="Rectangle 29"/>
          <p:cNvSpPr>
            <a:spLocks noChangeArrowheads="1"/>
          </p:cNvSpPr>
          <p:nvPr/>
        </p:nvSpPr>
        <p:spPr bwMode="auto">
          <a:xfrm>
            <a:off x="7139944" y="2514294"/>
            <a:ext cx="4680"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91" name="Freeform 30"/>
          <p:cNvSpPr>
            <a:spLocks/>
          </p:cNvSpPr>
          <p:nvPr/>
        </p:nvSpPr>
        <p:spPr bwMode="auto">
          <a:xfrm>
            <a:off x="7144622" y="2302485"/>
            <a:ext cx="402516" cy="211808"/>
          </a:xfrm>
          <a:custGeom>
            <a:avLst/>
            <a:gdLst>
              <a:gd name="T0" fmla="*/ 172 w 172"/>
              <a:gd name="T1" fmla="*/ 0 h 96"/>
              <a:gd name="T2" fmla="*/ 172 w 172"/>
              <a:gd name="T3" fmla="*/ 0 h 96"/>
              <a:gd name="T4" fmla="*/ 152 w 172"/>
              <a:gd name="T5" fmla="*/ 4 h 96"/>
              <a:gd name="T6" fmla="*/ 132 w 172"/>
              <a:gd name="T7" fmla="*/ 12 h 96"/>
              <a:gd name="T8" fmla="*/ 108 w 172"/>
              <a:gd name="T9" fmla="*/ 20 h 96"/>
              <a:gd name="T10" fmla="*/ 86 w 172"/>
              <a:gd name="T11" fmla="*/ 30 h 96"/>
              <a:gd name="T12" fmla="*/ 64 w 172"/>
              <a:gd name="T13" fmla="*/ 42 h 96"/>
              <a:gd name="T14" fmla="*/ 42 w 172"/>
              <a:gd name="T15" fmla="*/ 58 h 96"/>
              <a:gd name="T16" fmla="*/ 20 w 172"/>
              <a:gd name="T17" fmla="*/ 76 h 96"/>
              <a:gd name="T18" fmla="*/ 0 w 172"/>
              <a:gd name="T19" fmla="*/ 96 h 96"/>
              <a:gd name="T20" fmla="*/ 0 w 172"/>
              <a:gd name="T21" fmla="*/ 96 h 96"/>
              <a:gd name="T22" fmla="*/ 20 w 172"/>
              <a:gd name="T23" fmla="*/ 76 h 96"/>
              <a:gd name="T24" fmla="*/ 42 w 172"/>
              <a:gd name="T25" fmla="*/ 58 h 96"/>
              <a:gd name="T26" fmla="*/ 64 w 172"/>
              <a:gd name="T27" fmla="*/ 42 h 96"/>
              <a:gd name="T28" fmla="*/ 86 w 172"/>
              <a:gd name="T29" fmla="*/ 30 h 96"/>
              <a:gd name="T30" fmla="*/ 108 w 172"/>
              <a:gd name="T31" fmla="*/ 20 h 96"/>
              <a:gd name="T32" fmla="*/ 132 w 172"/>
              <a:gd name="T33" fmla="*/ 12 h 96"/>
              <a:gd name="T34" fmla="*/ 152 w 172"/>
              <a:gd name="T35" fmla="*/ 4 h 96"/>
              <a:gd name="T36" fmla="*/ 172 w 172"/>
              <a:gd name="T37" fmla="*/ 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2" h="96">
                <a:moveTo>
                  <a:pt x="172" y="0"/>
                </a:moveTo>
                <a:lnTo>
                  <a:pt x="172" y="0"/>
                </a:lnTo>
                <a:lnTo>
                  <a:pt x="152" y="4"/>
                </a:lnTo>
                <a:lnTo>
                  <a:pt x="132" y="12"/>
                </a:lnTo>
                <a:lnTo>
                  <a:pt x="108" y="20"/>
                </a:lnTo>
                <a:lnTo>
                  <a:pt x="86" y="30"/>
                </a:lnTo>
                <a:lnTo>
                  <a:pt x="64" y="42"/>
                </a:lnTo>
                <a:lnTo>
                  <a:pt x="42" y="58"/>
                </a:lnTo>
                <a:lnTo>
                  <a:pt x="20" y="76"/>
                </a:lnTo>
                <a:lnTo>
                  <a:pt x="0" y="96"/>
                </a:lnTo>
                <a:lnTo>
                  <a:pt x="0" y="96"/>
                </a:lnTo>
                <a:lnTo>
                  <a:pt x="20" y="76"/>
                </a:lnTo>
                <a:lnTo>
                  <a:pt x="42" y="58"/>
                </a:lnTo>
                <a:lnTo>
                  <a:pt x="64" y="42"/>
                </a:lnTo>
                <a:lnTo>
                  <a:pt x="86" y="30"/>
                </a:lnTo>
                <a:lnTo>
                  <a:pt x="108" y="20"/>
                </a:lnTo>
                <a:lnTo>
                  <a:pt x="132" y="12"/>
                </a:lnTo>
                <a:lnTo>
                  <a:pt x="152" y="4"/>
                </a:lnTo>
                <a:lnTo>
                  <a:pt x="17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92" name="Freeform 32"/>
          <p:cNvSpPr>
            <a:spLocks/>
          </p:cNvSpPr>
          <p:nvPr/>
        </p:nvSpPr>
        <p:spPr bwMode="auto">
          <a:xfrm>
            <a:off x="7097818" y="2284833"/>
            <a:ext cx="552289" cy="282411"/>
          </a:xfrm>
          <a:custGeom>
            <a:avLst/>
            <a:gdLst>
              <a:gd name="T0" fmla="*/ 236 w 236"/>
              <a:gd name="T1" fmla="*/ 0 h 128"/>
              <a:gd name="T2" fmla="*/ 192 w 236"/>
              <a:gd name="T3" fmla="*/ 8 h 128"/>
              <a:gd name="T4" fmla="*/ 172 w 236"/>
              <a:gd name="T5" fmla="*/ 12 h 128"/>
              <a:gd name="T6" fmla="*/ 128 w 236"/>
              <a:gd name="T7" fmla="*/ 28 h 128"/>
              <a:gd name="T8" fmla="*/ 84 w 236"/>
              <a:gd name="T9" fmla="*/ 50 h 128"/>
              <a:gd name="T10" fmla="*/ 40 w 236"/>
              <a:gd name="T11" fmla="*/ 84 h 128"/>
              <a:gd name="T12" fmla="*/ 20 w 236"/>
              <a:gd name="T13" fmla="*/ 104 h 128"/>
              <a:gd name="T14" fmla="*/ 20 w 236"/>
              <a:gd name="T15" fmla="*/ 104 h 128"/>
              <a:gd name="T16" fmla="*/ 18 w 236"/>
              <a:gd name="T17" fmla="*/ 104 h 128"/>
              <a:gd name="T18" fmla="*/ 18 w 236"/>
              <a:gd name="T19" fmla="*/ 104 h 128"/>
              <a:gd name="T20" fmla="*/ 18 w 236"/>
              <a:gd name="T21" fmla="*/ 104 h 128"/>
              <a:gd name="T22" fmla="*/ 18 w 236"/>
              <a:gd name="T23" fmla="*/ 104 h 128"/>
              <a:gd name="T24" fmla="*/ 18 w 236"/>
              <a:gd name="T25" fmla="*/ 104 h 128"/>
              <a:gd name="T26" fmla="*/ 18 w 236"/>
              <a:gd name="T27" fmla="*/ 104 h 128"/>
              <a:gd name="T28" fmla="*/ 18 w 236"/>
              <a:gd name="T29" fmla="*/ 106 h 128"/>
              <a:gd name="T30" fmla="*/ 18 w 236"/>
              <a:gd name="T31" fmla="*/ 106 h 128"/>
              <a:gd name="T32" fmla="*/ 18 w 236"/>
              <a:gd name="T33" fmla="*/ 106 h 128"/>
              <a:gd name="T34" fmla="*/ 18 w 236"/>
              <a:gd name="T35" fmla="*/ 106 h 128"/>
              <a:gd name="T36" fmla="*/ 18 w 236"/>
              <a:gd name="T37" fmla="*/ 106 h 128"/>
              <a:gd name="T38" fmla="*/ 16 w 236"/>
              <a:gd name="T39" fmla="*/ 106 h 128"/>
              <a:gd name="T40" fmla="*/ 16 w 236"/>
              <a:gd name="T41" fmla="*/ 106 h 128"/>
              <a:gd name="T42" fmla="*/ 16 w 236"/>
              <a:gd name="T43" fmla="*/ 106 h 128"/>
              <a:gd name="T44" fmla="*/ 16 w 236"/>
              <a:gd name="T45" fmla="*/ 106 h 128"/>
              <a:gd name="T46" fmla="*/ 16 w 236"/>
              <a:gd name="T47" fmla="*/ 106 h 128"/>
              <a:gd name="T48" fmla="*/ 16 w 236"/>
              <a:gd name="T49" fmla="*/ 106 h 128"/>
              <a:gd name="T50" fmla="*/ 2 w 236"/>
              <a:gd name="T51" fmla="*/ 124 h 128"/>
              <a:gd name="T52" fmla="*/ 2 w 236"/>
              <a:gd name="T53" fmla="*/ 126 h 128"/>
              <a:gd name="T54" fmla="*/ 2 w 236"/>
              <a:gd name="T55" fmla="*/ 126 h 128"/>
              <a:gd name="T56" fmla="*/ 0 w 236"/>
              <a:gd name="T57" fmla="*/ 126 h 128"/>
              <a:gd name="T58" fmla="*/ 0 w 236"/>
              <a:gd name="T59" fmla="*/ 126 h 128"/>
              <a:gd name="T60" fmla="*/ 0 w 236"/>
              <a:gd name="T61" fmla="*/ 126 h 128"/>
              <a:gd name="T62" fmla="*/ 0 w 236"/>
              <a:gd name="T63" fmla="*/ 126 h 128"/>
              <a:gd name="T64" fmla="*/ 0 w 236"/>
              <a:gd name="T65" fmla="*/ 126 h 128"/>
              <a:gd name="T66" fmla="*/ 0 w 236"/>
              <a:gd name="T67" fmla="*/ 126 h 128"/>
              <a:gd name="T68" fmla="*/ 0 w 236"/>
              <a:gd name="T69" fmla="*/ 128 h 128"/>
              <a:gd name="T70" fmla="*/ 0 w 236"/>
              <a:gd name="T71" fmla="*/ 128 h 128"/>
              <a:gd name="T72" fmla="*/ 0 w 236"/>
              <a:gd name="T73" fmla="*/ 128 h 128"/>
              <a:gd name="T74" fmla="*/ 0 w 236"/>
              <a:gd name="T75" fmla="*/ 128 h 128"/>
              <a:gd name="T76" fmla="*/ 232 w 236"/>
              <a:gd name="T77" fmla="*/ 128 h 128"/>
              <a:gd name="T78" fmla="*/ 236 w 236"/>
              <a:gd name="T79"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6" h="128">
                <a:moveTo>
                  <a:pt x="236" y="0"/>
                </a:moveTo>
                <a:lnTo>
                  <a:pt x="236" y="0"/>
                </a:lnTo>
                <a:lnTo>
                  <a:pt x="216" y="2"/>
                </a:lnTo>
                <a:lnTo>
                  <a:pt x="192" y="8"/>
                </a:lnTo>
                <a:lnTo>
                  <a:pt x="192" y="8"/>
                </a:lnTo>
                <a:lnTo>
                  <a:pt x="172" y="12"/>
                </a:lnTo>
                <a:lnTo>
                  <a:pt x="152" y="20"/>
                </a:lnTo>
                <a:lnTo>
                  <a:pt x="128" y="28"/>
                </a:lnTo>
                <a:lnTo>
                  <a:pt x="106" y="38"/>
                </a:lnTo>
                <a:lnTo>
                  <a:pt x="84" y="50"/>
                </a:lnTo>
                <a:lnTo>
                  <a:pt x="62" y="66"/>
                </a:lnTo>
                <a:lnTo>
                  <a:pt x="40" y="84"/>
                </a:lnTo>
                <a:lnTo>
                  <a:pt x="20" y="104"/>
                </a:lnTo>
                <a:lnTo>
                  <a:pt x="20" y="104"/>
                </a:lnTo>
                <a:lnTo>
                  <a:pt x="20" y="104"/>
                </a:lnTo>
                <a:lnTo>
                  <a:pt x="20" y="104"/>
                </a:lnTo>
                <a:lnTo>
                  <a:pt x="18" y="104"/>
                </a:lnTo>
                <a:lnTo>
                  <a:pt x="18" y="104"/>
                </a:lnTo>
                <a:lnTo>
                  <a:pt x="18" y="104"/>
                </a:lnTo>
                <a:lnTo>
                  <a:pt x="18" y="104"/>
                </a:lnTo>
                <a:lnTo>
                  <a:pt x="18" y="104"/>
                </a:lnTo>
                <a:lnTo>
                  <a:pt x="18" y="104"/>
                </a:lnTo>
                <a:lnTo>
                  <a:pt x="18" y="104"/>
                </a:lnTo>
                <a:lnTo>
                  <a:pt x="18" y="104"/>
                </a:lnTo>
                <a:lnTo>
                  <a:pt x="18" y="104"/>
                </a:lnTo>
                <a:lnTo>
                  <a:pt x="18" y="104"/>
                </a:lnTo>
                <a:lnTo>
                  <a:pt x="18" y="104"/>
                </a:lnTo>
                <a:lnTo>
                  <a:pt x="18" y="104"/>
                </a:lnTo>
                <a:lnTo>
                  <a:pt x="18" y="106"/>
                </a:lnTo>
                <a:lnTo>
                  <a:pt x="18" y="106"/>
                </a:lnTo>
                <a:lnTo>
                  <a:pt x="18" y="106"/>
                </a:lnTo>
                <a:lnTo>
                  <a:pt x="18" y="106"/>
                </a:lnTo>
                <a:lnTo>
                  <a:pt x="18" y="106"/>
                </a:lnTo>
                <a:lnTo>
                  <a:pt x="18" y="106"/>
                </a:lnTo>
                <a:lnTo>
                  <a:pt x="18" y="106"/>
                </a:lnTo>
                <a:lnTo>
                  <a:pt x="18" y="106"/>
                </a:lnTo>
                <a:lnTo>
                  <a:pt x="18" y="106"/>
                </a:lnTo>
                <a:lnTo>
                  <a:pt x="18" y="106"/>
                </a:lnTo>
                <a:lnTo>
                  <a:pt x="16" y="106"/>
                </a:lnTo>
                <a:lnTo>
                  <a:pt x="16" y="106"/>
                </a:lnTo>
                <a:lnTo>
                  <a:pt x="16" y="106"/>
                </a:lnTo>
                <a:lnTo>
                  <a:pt x="16" y="106"/>
                </a:lnTo>
                <a:lnTo>
                  <a:pt x="16" y="106"/>
                </a:lnTo>
                <a:lnTo>
                  <a:pt x="16" y="106"/>
                </a:lnTo>
                <a:lnTo>
                  <a:pt x="16" y="106"/>
                </a:lnTo>
                <a:lnTo>
                  <a:pt x="16" y="106"/>
                </a:lnTo>
                <a:lnTo>
                  <a:pt x="16" y="106"/>
                </a:lnTo>
                <a:lnTo>
                  <a:pt x="16" y="106"/>
                </a:lnTo>
                <a:lnTo>
                  <a:pt x="16" y="106"/>
                </a:lnTo>
                <a:lnTo>
                  <a:pt x="16" y="106"/>
                </a:lnTo>
                <a:lnTo>
                  <a:pt x="2" y="124"/>
                </a:lnTo>
                <a:lnTo>
                  <a:pt x="2" y="124"/>
                </a:lnTo>
                <a:lnTo>
                  <a:pt x="2" y="124"/>
                </a:lnTo>
                <a:lnTo>
                  <a:pt x="2" y="126"/>
                </a:lnTo>
                <a:lnTo>
                  <a:pt x="2" y="126"/>
                </a:lnTo>
                <a:lnTo>
                  <a:pt x="2" y="126"/>
                </a:lnTo>
                <a:lnTo>
                  <a:pt x="2" y="126"/>
                </a:lnTo>
                <a:lnTo>
                  <a:pt x="0" y="126"/>
                </a:lnTo>
                <a:lnTo>
                  <a:pt x="0" y="126"/>
                </a:lnTo>
                <a:lnTo>
                  <a:pt x="0" y="126"/>
                </a:lnTo>
                <a:lnTo>
                  <a:pt x="0" y="126"/>
                </a:lnTo>
                <a:lnTo>
                  <a:pt x="0" y="126"/>
                </a:lnTo>
                <a:lnTo>
                  <a:pt x="0" y="126"/>
                </a:lnTo>
                <a:lnTo>
                  <a:pt x="0" y="126"/>
                </a:lnTo>
                <a:lnTo>
                  <a:pt x="0" y="126"/>
                </a:lnTo>
                <a:lnTo>
                  <a:pt x="0" y="126"/>
                </a:lnTo>
                <a:lnTo>
                  <a:pt x="0" y="126"/>
                </a:lnTo>
                <a:lnTo>
                  <a:pt x="0" y="126"/>
                </a:lnTo>
                <a:lnTo>
                  <a:pt x="0" y="126"/>
                </a:lnTo>
                <a:lnTo>
                  <a:pt x="0" y="128"/>
                </a:lnTo>
                <a:lnTo>
                  <a:pt x="0" y="128"/>
                </a:lnTo>
                <a:lnTo>
                  <a:pt x="0" y="128"/>
                </a:lnTo>
                <a:lnTo>
                  <a:pt x="0" y="128"/>
                </a:lnTo>
                <a:lnTo>
                  <a:pt x="0" y="128"/>
                </a:lnTo>
                <a:lnTo>
                  <a:pt x="0" y="128"/>
                </a:lnTo>
                <a:lnTo>
                  <a:pt x="0" y="128"/>
                </a:lnTo>
                <a:lnTo>
                  <a:pt x="232" y="128"/>
                </a:lnTo>
                <a:lnTo>
                  <a:pt x="232" y="128"/>
                </a:lnTo>
                <a:lnTo>
                  <a:pt x="232" y="128"/>
                </a:lnTo>
                <a:lnTo>
                  <a:pt x="236" y="128"/>
                </a:lnTo>
                <a:lnTo>
                  <a:pt x="2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93" name="Freeform 35"/>
          <p:cNvSpPr>
            <a:spLocks/>
          </p:cNvSpPr>
          <p:nvPr/>
        </p:nvSpPr>
        <p:spPr bwMode="auto">
          <a:xfrm>
            <a:off x="5102352" y="2267304"/>
            <a:ext cx="1787730" cy="4737682"/>
          </a:xfrm>
          <a:custGeom>
            <a:avLst/>
            <a:gdLst>
              <a:gd name="T0" fmla="*/ 322 w 658"/>
              <a:gd name="T1" fmla="*/ 0 h 1862"/>
              <a:gd name="T2" fmla="*/ 264 w 658"/>
              <a:gd name="T3" fmla="*/ 8 h 1862"/>
              <a:gd name="T4" fmla="*/ 206 w 658"/>
              <a:gd name="T5" fmla="*/ 24 h 1862"/>
              <a:gd name="T6" fmla="*/ 162 w 658"/>
              <a:gd name="T7" fmla="*/ 44 h 1862"/>
              <a:gd name="T8" fmla="*/ 120 w 658"/>
              <a:gd name="T9" fmla="*/ 70 h 1862"/>
              <a:gd name="T10" fmla="*/ 80 w 658"/>
              <a:gd name="T11" fmla="*/ 108 h 1862"/>
              <a:gd name="T12" fmla="*/ 294 w 658"/>
              <a:gd name="T13" fmla="*/ 130 h 1862"/>
              <a:gd name="T14" fmla="*/ 322 w 658"/>
              <a:gd name="T15" fmla="*/ 128 h 1862"/>
              <a:gd name="T16" fmla="*/ 344 w 658"/>
              <a:gd name="T17" fmla="*/ 130 h 1862"/>
              <a:gd name="T18" fmla="*/ 386 w 658"/>
              <a:gd name="T19" fmla="*/ 140 h 1862"/>
              <a:gd name="T20" fmla="*/ 424 w 658"/>
              <a:gd name="T21" fmla="*/ 158 h 1862"/>
              <a:gd name="T22" fmla="*/ 458 w 658"/>
              <a:gd name="T23" fmla="*/ 184 h 1862"/>
              <a:gd name="T24" fmla="*/ 486 w 658"/>
              <a:gd name="T25" fmla="*/ 216 h 1862"/>
              <a:gd name="T26" fmla="*/ 508 w 658"/>
              <a:gd name="T27" fmla="*/ 252 h 1862"/>
              <a:gd name="T28" fmla="*/ 520 w 658"/>
              <a:gd name="T29" fmla="*/ 292 h 1862"/>
              <a:gd name="T30" fmla="*/ 524 w 658"/>
              <a:gd name="T31" fmla="*/ 336 h 1862"/>
              <a:gd name="T32" fmla="*/ 522 w 658"/>
              <a:gd name="T33" fmla="*/ 358 h 1862"/>
              <a:gd name="T34" fmla="*/ 506 w 658"/>
              <a:gd name="T35" fmla="*/ 410 h 1862"/>
              <a:gd name="T36" fmla="*/ 482 w 658"/>
              <a:gd name="T37" fmla="*/ 456 h 1862"/>
              <a:gd name="T38" fmla="*/ 452 w 658"/>
              <a:gd name="T39" fmla="*/ 496 h 1862"/>
              <a:gd name="T40" fmla="*/ 414 w 658"/>
              <a:gd name="T41" fmla="*/ 528 h 1862"/>
              <a:gd name="T42" fmla="*/ 372 w 658"/>
              <a:gd name="T43" fmla="*/ 556 h 1862"/>
              <a:gd name="T44" fmla="*/ 328 w 658"/>
              <a:gd name="T45" fmla="*/ 580 h 1862"/>
              <a:gd name="T46" fmla="*/ 238 w 658"/>
              <a:gd name="T47" fmla="*/ 612 h 1862"/>
              <a:gd name="T48" fmla="*/ 216 w 658"/>
              <a:gd name="T49" fmla="*/ 618 h 1862"/>
              <a:gd name="T50" fmla="*/ 174 w 658"/>
              <a:gd name="T51" fmla="*/ 636 h 1862"/>
              <a:gd name="T52" fmla="*/ 132 w 658"/>
              <a:gd name="T53" fmla="*/ 656 h 1862"/>
              <a:gd name="T54" fmla="*/ 94 w 658"/>
              <a:gd name="T55" fmla="*/ 684 h 1862"/>
              <a:gd name="T56" fmla="*/ 60 w 658"/>
              <a:gd name="T57" fmla="*/ 714 h 1862"/>
              <a:gd name="T58" fmla="*/ 32 w 658"/>
              <a:gd name="T59" fmla="*/ 750 h 1862"/>
              <a:gd name="T60" fmla="*/ 12 w 658"/>
              <a:gd name="T61" fmla="*/ 792 h 1862"/>
              <a:gd name="T62" fmla="*/ 2 w 658"/>
              <a:gd name="T63" fmla="*/ 836 h 1862"/>
              <a:gd name="T64" fmla="*/ 0 w 658"/>
              <a:gd name="T65" fmla="*/ 1808 h 1862"/>
              <a:gd name="T66" fmla="*/ 2 w 658"/>
              <a:gd name="T67" fmla="*/ 1820 h 1862"/>
              <a:gd name="T68" fmla="*/ 10 w 658"/>
              <a:gd name="T69" fmla="*/ 1838 h 1862"/>
              <a:gd name="T70" fmla="*/ 24 w 658"/>
              <a:gd name="T71" fmla="*/ 1854 h 1862"/>
              <a:gd name="T72" fmla="*/ 44 w 658"/>
              <a:gd name="T73" fmla="*/ 1862 h 1862"/>
              <a:gd name="T74" fmla="*/ 604 w 658"/>
              <a:gd name="T75" fmla="*/ 1862 h 1862"/>
              <a:gd name="T76" fmla="*/ 616 w 658"/>
              <a:gd name="T77" fmla="*/ 1862 h 1862"/>
              <a:gd name="T78" fmla="*/ 634 w 658"/>
              <a:gd name="T79" fmla="*/ 1854 h 1862"/>
              <a:gd name="T80" fmla="*/ 650 w 658"/>
              <a:gd name="T81" fmla="*/ 1838 h 1862"/>
              <a:gd name="T82" fmla="*/ 658 w 658"/>
              <a:gd name="T83" fmla="*/ 1820 h 1862"/>
              <a:gd name="T84" fmla="*/ 658 w 658"/>
              <a:gd name="T85" fmla="*/ 860 h 1862"/>
              <a:gd name="T86" fmla="*/ 658 w 658"/>
              <a:gd name="T87" fmla="*/ 326 h 1862"/>
              <a:gd name="T88" fmla="*/ 650 w 658"/>
              <a:gd name="T89" fmla="*/ 276 h 1862"/>
              <a:gd name="T90" fmla="*/ 636 w 658"/>
              <a:gd name="T91" fmla="*/ 226 h 1862"/>
              <a:gd name="T92" fmla="*/ 610 w 658"/>
              <a:gd name="T93" fmla="*/ 168 h 1862"/>
              <a:gd name="T94" fmla="*/ 568 w 658"/>
              <a:gd name="T95" fmla="*/ 108 h 1862"/>
              <a:gd name="T96" fmla="*/ 540 w 658"/>
              <a:gd name="T97" fmla="*/ 82 h 1862"/>
              <a:gd name="T98" fmla="*/ 508 w 658"/>
              <a:gd name="T99" fmla="*/ 56 h 1862"/>
              <a:gd name="T100" fmla="*/ 472 w 658"/>
              <a:gd name="T101" fmla="*/ 34 h 1862"/>
              <a:gd name="T102" fmla="*/ 428 w 658"/>
              <a:gd name="T103" fmla="*/ 18 h 1862"/>
              <a:gd name="T104" fmla="*/ 378 w 658"/>
              <a:gd name="T105" fmla="*/ 6 h 1862"/>
              <a:gd name="T106" fmla="*/ 322 w 658"/>
              <a:gd name="T107" fmla="*/ 0 h 1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1862">
                <a:moveTo>
                  <a:pt x="322" y="0"/>
                </a:moveTo>
                <a:lnTo>
                  <a:pt x="322" y="0"/>
                </a:lnTo>
                <a:lnTo>
                  <a:pt x="294" y="2"/>
                </a:lnTo>
                <a:lnTo>
                  <a:pt x="264" y="8"/>
                </a:lnTo>
                <a:lnTo>
                  <a:pt x="226" y="18"/>
                </a:lnTo>
                <a:lnTo>
                  <a:pt x="206" y="24"/>
                </a:lnTo>
                <a:lnTo>
                  <a:pt x="184" y="32"/>
                </a:lnTo>
                <a:lnTo>
                  <a:pt x="162" y="44"/>
                </a:lnTo>
                <a:lnTo>
                  <a:pt x="140" y="56"/>
                </a:lnTo>
                <a:lnTo>
                  <a:pt x="120" y="70"/>
                </a:lnTo>
                <a:lnTo>
                  <a:pt x="100" y="88"/>
                </a:lnTo>
                <a:lnTo>
                  <a:pt x="80" y="108"/>
                </a:lnTo>
                <a:lnTo>
                  <a:pt x="62" y="130"/>
                </a:lnTo>
                <a:lnTo>
                  <a:pt x="294" y="130"/>
                </a:lnTo>
                <a:lnTo>
                  <a:pt x="294" y="130"/>
                </a:lnTo>
                <a:lnTo>
                  <a:pt x="322" y="128"/>
                </a:lnTo>
                <a:lnTo>
                  <a:pt x="322" y="128"/>
                </a:lnTo>
                <a:lnTo>
                  <a:pt x="344" y="130"/>
                </a:lnTo>
                <a:lnTo>
                  <a:pt x="366" y="134"/>
                </a:lnTo>
                <a:lnTo>
                  <a:pt x="386" y="140"/>
                </a:lnTo>
                <a:lnTo>
                  <a:pt x="406" y="148"/>
                </a:lnTo>
                <a:lnTo>
                  <a:pt x="424" y="158"/>
                </a:lnTo>
                <a:lnTo>
                  <a:pt x="442" y="170"/>
                </a:lnTo>
                <a:lnTo>
                  <a:pt x="458" y="184"/>
                </a:lnTo>
                <a:lnTo>
                  <a:pt x="474" y="200"/>
                </a:lnTo>
                <a:lnTo>
                  <a:pt x="486" y="216"/>
                </a:lnTo>
                <a:lnTo>
                  <a:pt x="498" y="234"/>
                </a:lnTo>
                <a:lnTo>
                  <a:pt x="508" y="252"/>
                </a:lnTo>
                <a:lnTo>
                  <a:pt x="516" y="272"/>
                </a:lnTo>
                <a:lnTo>
                  <a:pt x="520" y="292"/>
                </a:lnTo>
                <a:lnTo>
                  <a:pt x="524" y="314"/>
                </a:lnTo>
                <a:lnTo>
                  <a:pt x="524" y="336"/>
                </a:lnTo>
                <a:lnTo>
                  <a:pt x="522" y="358"/>
                </a:lnTo>
                <a:lnTo>
                  <a:pt x="522" y="358"/>
                </a:lnTo>
                <a:lnTo>
                  <a:pt x="516" y="384"/>
                </a:lnTo>
                <a:lnTo>
                  <a:pt x="506" y="410"/>
                </a:lnTo>
                <a:lnTo>
                  <a:pt x="496" y="434"/>
                </a:lnTo>
                <a:lnTo>
                  <a:pt x="482" y="456"/>
                </a:lnTo>
                <a:lnTo>
                  <a:pt x="468" y="476"/>
                </a:lnTo>
                <a:lnTo>
                  <a:pt x="452" y="496"/>
                </a:lnTo>
                <a:lnTo>
                  <a:pt x="434" y="512"/>
                </a:lnTo>
                <a:lnTo>
                  <a:pt x="414" y="528"/>
                </a:lnTo>
                <a:lnTo>
                  <a:pt x="394" y="544"/>
                </a:lnTo>
                <a:lnTo>
                  <a:pt x="372" y="556"/>
                </a:lnTo>
                <a:lnTo>
                  <a:pt x="350" y="568"/>
                </a:lnTo>
                <a:lnTo>
                  <a:pt x="328" y="580"/>
                </a:lnTo>
                <a:lnTo>
                  <a:pt x="284" y="598"/>
                </a:lnTo>
                <a:lnTo>
                  <a:pt x="238" y="612"/>
                </a:lnTo>
                <a:lnTo>
                  <a:pt x="238" y="612"/>
                </a:lnTo>
                <a:lnTo>
                  <a:pt x="216" y="618"/>
                </a:lnTo>
                <a:lnTo>
                  <a:pt x="194" y="626"/>
                </a:lnTo>
                <a:lnTo>
                  <a:pt x="174" y="636"/>
                </a:lnTo>
                <a:lnTo>
                  <a:pt x="152" y="646"/>
                </a:lnTo>
                <a:lnTo>
                  <a:pt x="132" y="656"/>
                </a:lnTo>
                <a:lnTo>
                  <a:pt x="112" y="670"/>
                </a:lnTo>
                <a:lnTo>
                  <a:pt x="94" y="684"/>
                </a:lnTo>
                <a:lnTo>
                  <a:pt x="76" y="698"/>
                </a:lnTo>
                <a:lnTo>
                  <a:pt x="60" y="714"/>
                </a:lnTo>
                <a:lnTo>
                  <a:pt x="46" y="732"/>
                </a:lnTo>
                <a:lnTo>
                  <a:pt x="32" y="750"/>
                </a:lnTo>
                <a:lnTo>
                  <a:pt x="22" y="770"/>
                </a:lnTo>
                <a:lnTo>
                  <a:pt x="12" y="792"/>
                </a:lnTo>
                <a:lnTo>
                  <a:pt x="6" y="812"/>
                </a:lnTo>
                <a:lnTo>
                  <a:pt x="2" y="836"/>
                </a:lnTo>
                <a:lnTo>
                  <a:pt x="0" y="860"/>
                </a:lnTo>
                <a:lnTo>
                  <a:pt x="0" y="1808"/>
                </a:lnTo>
                <a:lnTo>
                  <a:pt x="0" y="1808"/>
                </a:lnTo>
                <a:lnTo>
                  <a:pt x="2" y="1820"/>
                </a:lnTo>
                <a:lnTo>
                  <a:pt x="4" y="1830"/>
                </a:lnTo>
                <a:lnTo>
                  <a:pt x="10" y="1838"/>
                </a:lnTo>
                <a:lnTo>
                  <a:pt x="16" y="1846"/>
                </a:lnTo>
                <a:lnTo>
                  <a:pt x="24" y="1854"/>
                </a:lnTo>
                <a:lnTo>
                  <a:pt x="32" y="1858"/>
                </a:lnTo>
                <a:lnTo>
                  <a:pt x="44" y="1862"/>
                </a:lnTo>
                <a:lnTo>
                  <a:pt x="54" y="1862"/>
                </a:lnTo>
                <a:lnTo>
                  <a:pt x="604" y="1862"/>
                </a:lnTo>
                <a:lnTo>
                  <a:pt x="604" y="1862"/>
                </a:lnTo>
                <a:lnTo>
                  <a:pt x="616" y="1862"/>
                </a:lnTo>
                <a:lnTo>
                  <a:pt x="626" y="1858"/>
                </a:lnTo>
                <a:lnTo>
                  <a:pt x="634" y="1854"/>
                </a:lnTo>
                <a:lnTo>
                  <a:pt x="642" y="1846"/>
                </a:lnTo>
                <a:lnTo>
                  <a:pt x="650" y="1838"/>
                </a:lnTo>
                <a:lnTo>
                  <a:pt x="654" y="1830"/>
                </a:lnTo>
                <a:lnTo>
                  <a:pt x="658" y="1820"/>
                </a:lnTo>
                <a:lnTo>
                  <a:pt x="658" y="1808"/>
                </a:lnTo>
                <a:lnTo>
                  <a:pt x="658" y="860"/>
                </a:lnTo>
                <a:lnTo>
                  <a:pt x="658" y="326"/>
                </a:lnTo>
                <a:lnTo>
                  <a:pt x="658" y="326"/>
                </a:lnTo>
                <a:lnTo>
                  <a:pt x="658" y="312"/>
                </a:lnTo>
                <a:lnTo>
                  <a:pt x="650" y="276"/>
                </a:lnTo>
                <a:lnTo>
                  <a:pt x="644" y="252"/>
                </a:lnTo>
                <a:lnTo>
                  <a:pt x="636" y="226"/>
                </a:lnTo>
                <a:lnTo>
                  <a:pt x="624" y="198"/>
                </a:lnTo>
                <a:lnTo>
                  <a:pt x="610" y="168"/>
                </a:lnTo>
                <a:lnTo>
                  <a:pt x="590" y="138"/>
                </a:lnTo>
                <a:lnTo>
                  <a:pt x="568" y="108"/>
                </a:lnTo>
                <a:lnTo>
                  <a:pt x="554" y="94"/>
                </a:lnTo>
                <a:lnTo>
                  <a:pt x="540" y="82"/>
                </a:lnTo>
                <a:lnTo>
                  <a:pt x="526" y="68"/>
                </a:lnTo>
                <a:lnTo>
                  <a:pt x="508" y="56"/>
                </a:lnTo>
                <a:lnTo>
                  <a:pt x="490" y="46"/>
                </a:lnTo>
                <a:lnTo>
                  <a:pt x="472" y="34"/>
                </a:lnTo>
                <a:lnTo>
                  <a:pt x="450" y="26"/>
                </a:lnTo>
                <a:lnTo>
                  <a:pt x="428" y="18"/>
                </a:lnTo>
                <a:lnTo>
                  <a:pt x="404" y="12"/>
                </a:lnTo>
                <a:lnTo>
                  <a:pt x="378" y="6"/>
                </a:lnTo>
                <a:lnTo>
                  <a:pt x="352" y="2"/>
                </a:lnTo>
                <a:lnTo>
                  <a:pt x="322" y="0"/>
                </a:lnTo>
                <a:close/>
              </a:path>
            </a:pathLst>
          </a:cu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5400000" scaled="1"/>
            <a:tileRect/>
          </a:gradFill>
          <a:ln/>
        </p:spPr>
        <p:style>
          <a:lnRef idx="1">
            <a:schemeClr val="accent1"/>
          </a:lnRef>
          <a:fillRef idx="3">
            <a:schemeClr val="accent1"/>
          </a:fillRef>
          <a:effectRef idx="2">
            <a:schemeClr val="accent1"/>
          </a:effectRef>
          <a:fontRef idx="minor">
            <a:schemeClr val="lt1"/>
          </a:fontRef>
        </p:style>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94" name="Freeform 36"/>
          <p:cNvSpPr>
            <a:spLocks/>
          </p:cNvSpPr>
          <p:nvPr/>
        </p:nvSpPr>
        <p:spPr bwMode="auto">
          <a:xfrm>
            <a:off x="5150765" y="2280421"/>
            <a:ext cx="1539858" cy="4108202"/>
          </a:xfrm>
          <a:custGeom>
            <a:avLst/>
            <a:gdLst>
              <a:gd name="T0" fmla="*/ 322 w 658"/>
              <a:gd name="T1" fmla="*/ 0 h 1862"/>
              <a:gd name="T2" fmla="*/ 264 w 658"/>
              <a:gd name="T3" fmla="*/ 8 h 1862"/>
              <a:gd name="T4" fmla="*/ 206 w 658"/>
              <a:gd name="T5" fmla="*/ 24 h 1862"/>
              <a:gd name="T6" fmla="*/ 162 w 658"/>
              <a:gd name="T7" fmla="*/ 44 h 1862"/>
              <a:gd name="T8" fmla="*/ 120 w 658"/>
              <a:gd name="T9" fmla="*/ 70 h 1862"/>
              <a:gd name="T10" fmla="*/ 80 w 658"/>
              <a:gd name="T11" fmla="*/ 108 h 1862"/>
              <a:gd name="T12" fmla="*/ 294 w 658"/>
              <a:gd name="T13" fmla="*/ 130 h 1862"/>
              <a:gd name="T14" fmla="*/ 322 w 658"/>
              <a:gd name="T15" fmla="*/ 128 h 1862"/>
              <a:gd name="T16" fmla="*/ 344 w 658"/>
              <a:gd name="T17" fmla="*/ 130 h 1862"/>
              <a:gd name="T18" fmla="*/ 386 w 658"/>
              <a:gd name="T19" fmla="*/ 140 h 1862"/>
              <a:gd name="T20" fmla="*/ 424 w 658"/>
              <a:gd name="T21" fmla="*/ 158 h 1862"/>
              <a:gd name="T22" fmla="*/ 458 w 658"/>
              <a:gd name="T23" fmla="*/ 184 h 1862"/>
              <a:gd name="T24" fmla="*/ 486 w 658"/>
              <a:gd name="T25" fmla="*/ 216 h 1862"/>
              <a:gd name="T26" fmla="*/ 508 w 658"/>
              <a:gd name="T27" fmla="*/ 252 h 1862"/>
              <a:gd name="T28" fmla="*/ 520 w 658"/>
              <a:gd name="T29" fmla="*/ 292 h 1862"/>
              <a:gd name="T30" fmla="*/ 524 w 658"/>
              <a:gd name="T31" fmla="*/ 336 h 1862"/>
              <a:gd name="T32" fmla="*/ 522 w 658"/>
              <a:gd name="T33" fmla="*/ 358 h 1862"/>
              <a:gd name="T34" fmla="*/ 506 w 658"/>
              <a:gd name="T35" fmla="*/ 410 h 1862"/>
              <a:gd name="T36" fmla="*/ 482 w 658"/>
              <a:gd name="T37" fmla="*/ 456 h 1862"/>
              <a:gd name="T38" fmla="*/ 452 w 658"/>
              <a:gd name="T39" fmla="*/ 496 h 1862"/>
              <a:gd name="T40" fmla="*/ 414 w 658"/>
              <a:gd name="T41" fmla="*/ 528 h 1862"/>
              <a:gd name="T42" fmla="*/ 372 w 658"/>
              <a:gd name="T43" fmla="*/ 556 h 1862"/>
              <a:gd name="T44" fmla="*/ 328 w 658"/>
              <a:gd name="T45" fmla="*/ 580 h 1862"/>
              <a:gd name="T46" fmla="*/ 238 w 658"/>
              <a:gd name="T47" fmla="*/ 612 h 1862"/>
              <a:gd name="T48" fmla="*/ 216 w 658"/>
              <a:gd name="T49" fmla="*/ 618 h 1862"/>
              <a:gd name="T50" fmla="*/ 174 w 658"/>
              <a:gd name="T51" fmla="*/ 636 h 1862"/>
              <a:gd name="T52" fmla="*/ 132 w 658"/>
              <a:gd name="T53" fmla="*/ 656 h 1862"/>
              <a:gd name="T54" fmla="*/ 94 w 658"/>
              <a:gd name="T55" fmla="*/ 684 h 1862"/>
              <a:gd name="T56" fmla="*/ 60 w 658"/>
              <a:gd name="T57" fmla="*/ 714 h 1862"/>
              <a:gd name="T58" fmla="*/ 32 w 658"/>
              <a:gd name="T59" fmla="*/ 750 h 1862"/>
              <a:gd name="T60" fmla="*/ 12 w 658"/>
              <a:gd name="T61" fmla="*/ 792 h 1862"/>
              <a:gd name="T62" fmla="*/ 2 w 658"/>
              <a:gd name="T63" fmla="*/ 836 h 1862"/>
              <a:gd name="T64" fmla="*/ 0 w 658"/>
              <a:gd name="T65" fmla="*/ 1808 h 1862"/>
              <a:gd name="T66" fmla="*/ 2 w 658"/>
              <a:gd name="T67" fmla="*/ 1820 h 1862"/>
              <a:gd name="T68" fmla="*/ 10 w 658"/>
              <a:gd name="T69" fmla="*/ 1838 h 1862"/>
              <a:gd name="T70" fmla="*/ 24 w 658"/>
              <a:gd name="T71" fmla="*/ 1854 h 1862"/>
              <a:gd name="T72" fmla="*/ 44 w 658"/>
              <a:gd name="T73" fmla="*/ 1862 h 1862"/>
              <a:gd name="T74" fmla="*/ 604 w 658"/>
              <a:gd name="T75" fmla="*/ 1862 h 1862"/>
              <a:gd name="T76" fmla="*/ 616 w 658"/>
              <a:gd name="T77" fmla="*/ 1862 h 1862"/>
              <a:gd name="T78" fmla="*/ 634 w 658"/>
              <a:gd name="T79" fmla="*/ 1854 h 1862"/>
              <a:gd name="T80" fmla="*/ 650 w 658"/>
              <a:gd name="T81" fmla="*/ 1838 h 1862"/>
              <a:gd name="T82" fmla="*/ 658 w 658"/>
              <a:gd name="T83" fmla="*/ 1820 h 1862"/>
              <a:gd name="T84" fmla="*/ 658 w 658"/>
              <a:gd name="T85" fmla="*/ 860 h 1862"/>
              <a:gd name="T86" fmla="*/ 658 w 658"/>
              <a:gd name="T87" fmla="*/ 326 h 1862"/>
              <a:gd name="T88" fmla="*/ 650 w 658"/>
              <a:gd name="T89" fmla="*/ 276 h 1862"/>
              <a:gd name="T90" fmla="*/ 636 w 658"/>
              <a:gd name="T91" fmla="*/ 226 h 1862"/>
              <a:gd name="T92" fmla="*/ 610 w 658"/>
              <a:gd name="T93" fmla="*/ 168 h 1862"/>
              <a:gd name="T94" fmla="*/ 568 w 658"/>
              <a:gd name="T95" fmla="*/ 108 h 1862"/>
              <a:gd name="T96" fmla="*/ 540 w 658"/>
              <a:gd name="T97" fmla="*/ 82 h 1862"/>
              <a:gd name="T98" fmla="*/ 508 w 658"/>
              <a:gd name="T99" fmla="*/ 56 h 1862"/>
              <a:gd name="T100" fmla="*/ 472 w 658"/>
              <a:gd name="T101" fmla="*/ 34 h 1862"/>
              <a:gd name="T102" fmla="*/ 428 w 658"/>
              <a:gd name="T103" fmla="*/ 18 h 1862"/>
              <a:gd name="T104" fmla="*/ 378 w 658"/>
              <a:gd name="T105" fmla="*/ 6 h 1862"/>
              <a:gd name="T106" fmla="*/ 322 w 658"/>
              <a:gd name="T107" fmla="*/ 0 h 1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1862">
                <a:moveTo>
                  <a:pt x="322" y="0"/>
                </a:moveTo>
                <a:lnTo>
                  <a:pt x="322" y="0"/>
                </a:lnTo>
                <a:lnTo>
                  <a:pt x="294" y="2"/>
                </a:lnTo>
                <a:lnTo>
                  <a:pt x="264" y="8"/>
                </a:lnTo>
                <a:lnTo>
                  <a:pt x="226" y="18"/>
                </a:lnTo>
                <a:lnTo>
                  <a:pt x="206" y="24"/>
                </a:lnTo>
                <a:lnTo>
                  <a:pt x="184" y="32"/>
                </a:lnTo>
                <a:lnTo>
                  <a:pt x="162" y="44"/>
                </a:lnTo>
                <a:lnTo>
                  <a:pt x="140" y="56"/>
                </a:lnTo>
                <a:lnTo>
                  <a:pt x="120" y="70"/>
                </a:lnTo>
                <a:lnTo>
                  <a:pt x="100" y="88"/>
                </a:lnTo>
                <a:lnTo>
                  <a:pt x="80" y="108"/>
                </a:lnTo>
                <a:lnTo>
                  <a:pt x="62" y="130"/>
                </a:lnTo>
                <a:lnTo>
                  <a:pt x="294" y="130"/>
                </a:lnTo>
                <a:lnTo>
                  <a:pt x="294" y="130"/>
                </a:lnTo>
                <a:lnTo>
                  <a:pt x="322" y="128"/>
                </a:lnTo>
                <a:lnTo>
                  <a:pt x="322" y="128"/>
                </a:lnTo>
                <a:lnTo>
                  <a:pt x="344" y="130"/>
                </a:lnTo>
                <a:lnTo>
                  <a:pt x="366" y="134"/>
                </a:lnTo>
                <a:lnTo>
                  <a:pt x="386" y="140"/>
                </a:lnTo>
                <a:lnTo>
                  <a:pt x="406" y="148"/>
                </a:lnTo>
                <a:lnTo>
                  <a:pt x="424" y="158"/>
                </a:lnTo>
                <a:lnTo>
                  <a:pt x="442" y="170"/>
                </a:lnTo>
                <a:lnTo>
                  <a:pt x="458" y="184"/>
                </a:lnTo>
                <a:lnTo>
                  <a:pt x="474" y="200"/>
                </a:lnTo>
                <a:lnTo>
                  <a:pt x="486" y="216"/>
                </a:lnTo>
                <a:lnTo>
                  <a:pt x="498" y="234"/>
                </a:lnTo>
                <a:lnTo>
                  <a:pt x="508" y="252"/>
                </a:lnTo>
                <a:lnTo>
                  <a:pt x="516" y="272"/>
                </a:lnTo>
                <a:lnTo>
                  <a:pt x="520" y="292"/>
                </a:lnTo>
                <a:lnTo>
                  <a:pt x="524" y="314"/>
                </a:lnTo>
                <a:lnTo>
                  <a:pt x="524" y="336"/>
                </a:lnTo>
                <a:lnTo>
                  <a:pt x="522" y="358"/>
                </a:lnTo>
                <a:lnTo>
                  <a:pt x="522" y="358"/>
                </a:lnTo>
                <a:lnTo>
                  <a:pt x="516" y="384"/>
                </a:lnTo>
                <a:lnTo>
                  <a:pt x="506" y="410"/>
                </a:lnTo>
                <a:lnTo>
                  <a:pt x="496" y="434"/>
                </a:lnTo>
                <a:lnTo>
                  <a:pt x="482" y="456"/>
                </a:lnTo>
                <a:lnTo>
                  <a:pt x="468" y="476"/>
                </a:lnTo>
                <a:lnTo>
                  <a:pt x="452" y="496"/>
                </a:lnTo>
                <a:lnTo>
                  <a:pt x="434" y="512"/>
                </a:lnTo>
                <a:lnTo>
                  <a:pt x="414" y="528"/>
                </a:lnTo>
                <a:lnTo>
                  <a:pt x="394" y="544"/>
                </a:lnTo>
                <a:lnTo>
                  <a:pt x="372" y="556"/>
                </a:lnTo>
                <a:lnTo>
                  <a:pt x="350" y="568"/>
                </a:lnTo>
                <a:lnTo>
                  <a:pt x="328" y="580"/>
                </a:lnTo>
                <a:lnTo>
                  <a:pt x="284" y="598"/>
                </a:lnTo>
                <a:lnTo>
                  <a:pt x="238" y="612"/>
                </a:lnTo>
                <a:lnTo>
                  <a:pt x="238" y="612"/>
                </a:lnTo>
                <a:lnTo>
                  <a:pt x="216" y="618"/>
                </a:lnTo>
                <a:lnTo>
                  <a:pt x="194" y="626"/>
                </a:lnTo>
                <a:lnTo>
                  <a:pt x="174" y="636"/>
                </a:lnTo>
                <a:lnTo>
                  <a:pt x="152" y="646"/>
                </a:lnTo>
                <a:lnTo>
                  <a:pt x="132" y="656"/>
                </a:lnTo>
                <a:lnTo>
                  <a:pt x="112" y="670"/>
                </a:lnTo>
                <a:lnTo>
                  <a:pt x="94" y="684"/>
                </a:lnTo>
                <a:lnTo>
                  <a:pt x="76" y="698"/>
                </a:lnTo>
                <a:lnTo>
                  <a:pt x="60" y="714"/>
                </a:lnTo>
                <a:lnTo>
                  <a:pt x="46" y="732"/>
                </a:lnTo>
                <a:lnTo>
                  <a:pt x="32" y="750"/>
                </a:lnTo>
                <a:lnTo>
                  <a:pt x="22" y="770"/>
                </a:lnTo>
                <a:lnTo>
                  <a:pt x="12" y="792"/>
                </a:lnTo>
                <a:lnTo>
                  <a:pt x="6" y="812"/>
                </a:lnTo>
                <a:lnTo>
                  <a:pt x="2" y="836"/>
                </a:lnTo>
                <a:lnTo>
                  <a:pt x="0" y="860"/>
                </a:lnTo>
                <a:lnTo>
                  <a:pt x="0" y="1808"/>
                </a:lnTo>
                <a:lnTo>
                  <a:pt x="0" y="1808"/>
                </a:lnTo>
                <a:lnTo>
                  <a:pt x="2" y="1820"/>
                </a:lnTo>
                <a:lnTo>
                  <a:pt x="4" y="1830"/>
                </a:lnTo>
                <a:lnTo>
                  <a:pt x="10" y="1838"/>
                </a:lnTo>
                <a:lnTo>
                  <a:pt x="16" y="1846"/>
                </a:lnTo>
                <a:lnTo>
                  <a:pt x="24" y="1854"/>
                </a:lnTo>
                <a:lnTo>
                  <a:pt x="32" y="1858"/>
                </a:lnTo>
                <a:lnTo>
                  <a:pt x="44" y="1862"/>
                </a:lnTo>
                <a:lnTo>
                  <a:pt x="54" y="1862"/>
                </a:lnTo>
                <a:lnTo>
                  <a:pt x="604" y="1862"/>
                </a:lnTo>
                <a:lnTo>
                  <a:pt x="604" y="1862"/>
                </a:lnTo>
                <a:lnTo>
                  <a:pt x="616" y="1862"/>
                </a:lnTo>
                <a:lnTo>
                  <a:pt x="626" y="1858"/>
                </a:lnTo>
                <a:lnTo>
                  <a:pt x="634" y="1854"/>
                </a:lnTo>
                <a:lnTo>
                  <a:pt x="642" y="1846"/>
                </a:lnTo>
                <a:lnTo>
                  <a:pt x="650" y="1838"/>
                </a:lnTo>
                <a:lnTo>
                  <a:pt x="654" y="1830"/>
                </a:lnTo>
                <a:lnTo>
                  <a:pt x="658" y="1820"/>
                </a:lnTo>
                <a:lnTo>
                  <a:pt x="658" y="1808"/>
                </a:lnTo>
                <a:lnTo>
                  <a:pt x="658" y="860"/>
                </a:lnTo>
                <a:lnTo>
                  <a:pt x="658" y="326"/>
                </a:lnTo>
                <a:lnTo>
                  <a:pt x="658" y="326"/>
                </a:lnTo>
                <a:lnTo>
                  <a:pt x="658" y="312"/>
                </a:lnTo>
                <a:lnTo>
                  <a:pt x="650" y="276"/>
                </a:lnTo>
                <a:lnTo>
                  <a:pt x="644" y="252"/>
                </a:lnTo>
                <a:lnTo>
                  <a:pt x="636" y="226"/>
                </a:lnTo>
                <a:lnTo>
                  <a:pt x="624" y="198"/>
                </a:lnTo>
                <a:lnTo>
                  <a:pt x="610" y="168"/>
                </a:lnTo>
                <a:lnTo>
                  <a:pt x="590" y="138"/>
                </a:lnTo>
                <a:lnTo>
                  <a:pt x="568" y="108"/>
                </a:lnTo>
                <a:lnTo>
                  <a:pt x="554" y="94"/>
                </a:lnTo>
                <a:lnTo>
                  <a:pt x="540" y="82"/>
                </a:lnTo>
                <a:lnTo>
                  <a:pt x="526" y="68"/>
                </a:lnTo>
                <a:lnTo>
                  <a:pt x="508" y="56"/>
                </a:lnTo>
                <a:lnTo>
                  <a:pt x="490" y="46"/>
                </a:lnTo>
                <a:lnTo>
                  <a:pt x="472" y="34"/>
                </a:lnTo>
                <a:lnTo>
                  <a:pt x="450" y="26"/>
                </a:lnTo>
                <a:lnTo>
                  <a:pt x="428" y="18"/>
                </a:lnTo>
                <a:lnTo>
                  <a:pt x="404" y="12"/>
                </a:lnTo>
                <a:lnTo>
                  <a:pt x="378" y="6"/>
                </a:lnTo>
                <a:lnTo>
                  <a:pt x="352" y="2"/>
                </a:lnTo>
                <a:lnTo>
                  <a:pt x="3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95" name="Freeform 37"/>
          <p:cNvSpPr>
            <a:spLocks noEditPoints="1"/>
          </p:cNvSpPr>
          <p:nvPr/>
        </p:nvSpPr>
        <p:spPr bwMode="auto">
          <a:xfrm>
            <a:off x="5295856" y="2306899"/>
            <a:ext cx="552289" cy="260347"/>
          </a:xfrm>
          <a:custGeom>
            <a:avLst/>
            <a:gdLst>
              <a:gd name="T0" fmla="*/ 0 w 236"/>
              <a:gd name="T1" fmla="*/ 118 h 118"/>
              <a:gd name="T2" fmla="*/ 0 w 236"/>
              <a:gd name="T3" fmla="*/ 118 h 118"/>
              <a:gd name="T4" fmla="*/ 232 w 236"/>
              <a:gd name="T5" fmla="*/ 118 h 118"/>
              <a:gd name="T6" fmla="*/ 236 w 236"/>
              <a:gd name="T7" fmla="*/ 118 h 118"/>
              <a:gd name="T8" fmla="*/ 0 w 236"/>
              <a:gd name="T9" fmla="*/ 118 h 118"/>
              <a:gd name="T10" fmla="*/ 0 w 236"/>
              <a:gd name="T11" fmla="*/ 116 h 118"/>
              <a:gd name="T12" fmla="*/ 0 w 236"/>
              <a:gd name="T13" fmla="*/ 116 h 118"/>
              <a:gd name="T14" fmla="*/ 0 w 236"/>
              <a:gd name="T15" fmla="*/ 116 h 118"/>
              <a:gd name="T16" fmla="*/ 0 w 236"/>
              <a:gd name="T17" fmla="*/ 116 h 118"/>
              <a:gd name="T18" fmla="*/ 0 w 236"/>
              <a:gd name="T19" fmla="*/ 116 h 118"/>
              <a:gd name="T20" fmla="*/ 2 w 236"/>
              <a:gd name="T21" fmla="*/ 116 h 118"/>
              <a:gd name="T22" fmla="*/ 2 w 236"/>
              <a:gd name="T23" fmla="*/ 116 h 118"/>
              <a:gd name="T24" fmla="*/ 2 w 236"/>
              <a:gd name="T25" fmla="*/ 116 h 118"/>
              <a:gd name="T26" fmla="*/ 2 w 236"/>
              <a:gd name="T27" fmla="*/ 116 h 118"/>
              <a:gd name="T28" fmla="*/ 2 w 236"/>
              <a:gd name="T29" fmla="*/ 114 h 118"/>
              <a:gd name="T30" fmla="*/ 2 w 236"/>
              <a:gd name="T31" fmla="*/ 114 h 118"/>
              <a:gd name="T32" fmla="*/ 2 w 236"/>
              <a:gd name="T33" fmla="*/ 114 h 118"/>
              <a:gd name="T34" fmla="*/ 2 w 236"/>
              <a:gd name="T35" fmla="*/ 114 h 118"/>
              <a:gd name="T36" fmla="*/ 2 w 236"/>
              <a:gd name="T37" fmla="*/ 114 h 118"/>
              <a:gd name="T38" fmla="*/ 2 w 236"/>
              <a:gd name="T39" fmla="*/ 114 h 118"/>
              <a:gd name="T40" fmla="*/ 8 w 236"/>
              <a:gd name="T41" fmla="*/ 106 h 118"/>
              <a:gd name="T42" fmla="*/ 10 w 236"/>
              <a:gd name="T43" fmla="*/ 104 h 118"/>
              <a:gd name="T44" fmla="*/ 10 w 236"/>
              <a:gd name="T45" fmla="*/ 104 h 118"/>
              <a:gd name="T46" fmla="*/ 10 w 236"/>
              <a:gd name="T47" fmla="*/ 104 h 118"/>
              <a:gd name="T48" fmla="*/ 12 w 236"/>
              <a:gd name="T49" fmla="*/ 102 h 118"/>
              <a:gd name="T50" fmla="*/ 12 w 236"/>
              <a:gd name="T51" fmla="*/ 102 h 118"/>
              <a:gd name="T52" fmla="*/ 12 w 236"/>
              <a:gd name="T53" fmla="*/ 102 h 118"/>
              <a:gd name="T54" fmla="*/ 12 w 236"/>
              <a:gd name="T55" fmla="*/ 102 h 118"/>
              <a:gd name="T56" fmla="*/ 12 w 236"/>
              <a:gd name="T57" fmla="*/ 102 h 118"/>
              <a:gd name="T58" fmla="*/ 12 w 236"/>
              <a:gd name="T59" fmla="*/ 102 h 118"/>
              <a:gd name="T60" fmla="*/ 12 w 236"/>
              <a:gd name="T61" fmla="*/ 102 h 118"/>
              <a:gd name="T62" fmla="*/ 12 w 236"/>
              <a:gd name="T63" fmla="*/ 102 h 118"/>
              <a:gd name="T64" fmla="*/ 12 w 236"/>
              <a:gd name="T65" fmla="*/ 102 h 118"/>
              <a:gd name="T66" fmla="*/ 12 w 236"/>
              <a:gd name="T67" fmla="*/ 102 h 118"/>
              <a:gd name="T68" fmla="*/ 12 w 236"/>
              <a:gd name="T69" fmla="*/ 100 h 118"/>
              <a:gd name="T70" fmla="*/ 12 w 236"/>
              <a:gd name="T71" fmla="*/ 100 h 118"/>
              <a:gd name="T72" fmla="*/ 14 w 236"/>
              <a:gd name="T73" fmla="*/ 100 h 118"/>
              <a:gd name="T74" fmla="*/ 14 w 236"/>
              <a:gd name="T75" fmla="*/ 100 h 118"/>
              <a:gd name="T76" fmla="*/ 14 w 236"/>
              <a:gd name="T77" fmla="*/ 100 h 118"/>
              <a:gd name="T78" fmla="*/ 14 w 236"/>
              <a:gd name="T79" fmla="*/ 100 h 118"/>
              <a:gd name="T80" fmla="*/ 14 w 236"/>
              <a:gd name="T81" fmla="*/ 100 h 118"/>
              <a:gd name="T82" fmla="*/ 14 w 236"/>
              <a:gd name="T83" fmla="*/ 100 h 118"/>
              <a:gd name="T84" fmla="*/ 182 w 236"/>
              <a:gd name="T85" fmla="*/ 0 h 118"/>
              <a:gd name="T86" fmla="*/ 140 w 236"/>
              <a:gd name="T87" fmla="*/ 14 h 118"/>
              <a:gd name="T88" fmla="*/ 76 w 236"/>
              <a:gd name="T89" fmla="*/ 46 h 118"/>
              <a:gd name="T90" fmla="*/ 14 w 236"/>
              <a:gd name="T91" fmla="*/ 98 h 118"/>
              <a:gd name="T92" fmla="*/ 54 w 236"/>
              <a:gd name="T93" fmla="*/ 62 h 118"/>
              <a:gd name="T94" fmla="*/ 118 w 236"/>
              <a:gd name="T95" fmla="*/ 22 h 118"/>
              <a:gd name="T96" fmla="*/ 182 w 236"/>
              <a:gd name="T97" fmla="*/ 0 h 118"/>
              <a:gd name="T98" fmla="*/ 182 w 236"/>
              <a:gd name="T99"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6" h="118">
                <a:moveTo>
                  <a:pt x="0" y="118"/>
                </a:moveTo>
                <a:lnTo>
                  <a:pt x="0" y="118"/>
                </a:lnTo>
                <a:lnTo>
                  <a:pt x="0" y="118"/>
                </a:lnTo>
                <a:lnTo>
                  <a:pt x="0" y="118"/>
                </a:lnTo>
                <a:lnTo>
                  <a:pt x="0" y="118"/>
                </a:lnTo>
                <a:lnTo>
                  <a:pt x="0" y="118"/>
                </a:lnTo>
                <a:close/>
                <a:moveTo>
                  <a:pt x="236" y="118"/>
                </a:moveTo>
                <a:lnTo>
                  <a:pt x="236" y="118"/>
                </a:lnTo>
                <a:lnTo>
                  <a:pt x="232" y="118"/>
                </a:lnTo>
                <a:lnTo>
                  <a:pt x="232" y="118"/>
                </a:lnTo>
                <a:lnTo>
                  <a:pt x="236" y="118"/>
                </a:lnTo>
                <a:lnTo>
                  <a:pt x="236" y="118"/>
                </a:lnTo>
                <a:close/>
                <a:moveTo>
                  <a:pt x="0" y="118"/>
                </a:moveTo>
                <a:lnTo>
                  <a:pt x="0" y="118"/>
                </a:lnTo>
                <a:lnTo>
                  <a:pt x="0" y="118"/>
                </a:lnTo>
                <a:lnTo>
                  <a:pt x="0" y="118"/>
                </a:lnTo>
                <a:lnTo>
                  <a:pt x="0" y="118"/>
                </a:lnTo>
                <a:close/>
                <a:moveTo>
                  <a:pt x="0" y="116"/>
                </a:moveTo>
                <a:lnTo>
                  <a:pt x="0" y="116"/>
                </a:lnTo>
                <a:lnTo>
                  <a:pt x="0" y="116"/>
                </a:lnTo>
                <a:lnTo>
                  <a:pt x="0" y="116"/>
                </a:lnTo>
                <a:lnTo>
                  <a:pt x="0" y="116"/>
                </a:lnTo>
                <a:close/>
                <a:moveTo>
                  <a:pt x="0" y="116"/>
                </a:moveTo>
                <a:lnTo>
                  <a:pt x="0" y="116"/>
                </a:lnTo>
                <a:lnTo>
                  <a:pt x="0" y="116"/>
                </a:lnTo>
                <a:lnTo>
                  <a:pt x="0" y="116"/>
                </a:lnTo>
                <a:lnTo>
                  <a:pt x="0" y="116"/>
                </a:lnTo>
                <a:close/>
                <a:moveTo>
                  <a:pt x="2" y="116"/>
                </a:moveTo>
                <a:lnTo>
                  <a:pt x="2" y="116"/>
                </a:lnTo>
                <a:lnTo>
                  <a:pt x="0" y="116"/>
                </a:lnTo>
                <a:lnTo>
                  <a:pt x="0" y="116"/>
                </a:lnTo>
                <a:lnTo>
                  <a:pt x="2" y="116"/>
                </a:lnTo>
                <a:close/>
                <a:moveTo>
                  <a:pt x="2" y="116"/>
                </a:moveTo>
                <a:lnTo>
                  <a:pt x="2" y="116"/>
                </a:lnTo>
                <a:lnTo>
                  <a:pt x="2" y="116"/>
                </a:lnTo>
                <a:lnTo>
                  <a:pt x="2" y="116"/>
                </a:lnTo>
                <a:lnTo>
                  <a:pt x="2" y="116"/>
                </a:lnTo>
                <a:close/>
                <a:moveTo>
                  <a:pt x="2" y="116"/>
                </a:moveTo>
                <a:lnTo>
                  <a:pt x="2" y="116"/>
                </a:lnTo>
                <a:lnTo>
                  <a:pt x="2" y="116"/>
                </a:lnTo>
                <a:lnTo>
                  <a:pt x="2" y="116"/>
                </a:lnTo>
                <a:lnTo>
                  <a:pt x="2" y="116"/>
                </a:lnTo>
                <a:close/>
                <a:moveTo>
                  <a:pt x="2" y="114"/>
                </a:moveTo>
                <a:lnTo>
                  <a:pt x="2" y="114"/>
                </a:lnTo>
                <a:lnTo>
                  <a:pt x="2" y="114"/>
                </a:lnTo>
                <a:lnTo>
                  <a:pt x="2" y="114"/>
                </a:lnTo>
                <a:lnTo>
                  <a:pt x="2" y="114"/>
                </a:lnTo>
                <a:close/>
                <a:moveTo>
                  <a:pt x="2" y="114"/>
                </a:moveTo>
                <a:lnTo>
                  <a:pt x="2" y="114"/>
                </a:lnTo>
                <a:lnTo>
                  <a:pt x="2" y="114"/>
                </a:lnTo>
                <a:lnTo>
                  <a:pt x="2" y="114"/>
                </a:lnTo>
                <a:lnTo>
                  <a:pt x="2" y="114"/>
                </a:lnTo>
                <a:close/>
                <a:moveTo>
                  <a:pt x="2" y="114"/>
                </a:moveTo>
                <a:lnTo>
                  <a:pt x="2" y="114"/>
                </a:lnTo>
                <a:lnTo>
                  <a:pt x="2" y="114"/>
                </a:lnTo>
                <a:close/>
                <a:moveTo>
                  <a:pt x="2" y="114"/>
                </a:moveTo>
                <a:lnTo>
                  <a:pt x="2" y="114"/>
                </a:lnTo>
                <a:lnTo>
                  <a:pt x="2" y="114"/>
                </a:lnTo>
                <a:lnTo>
                  <a:pt x="2" y="114"/>
                </a:lnTo>
                <a:lnTo>
                  <a:pt x="2" y="114"/>
                </a:lnTo>
                <a:close/>
                <a:moveTo>
                  <a:pt x="8" y="106"/>
                </a:moveTo>
                <a:lnTo>
                  <a:pt x="8" y="106"/>
                </a:lnTo>
                <a:lnTo>
                  <a:pt x="8" y="106"/>
                </a:lnTo>
                <a:close/>
                <a:moveTo>
                  <a:pt x="10" y="104"/>
                </a:moveTo>
                <a:lnTo>
                  <a:pt x="10" y="104"/>
                </a:lnTo>
                <a:lnTo>
                  <a:pt x="10" y="104"/>
                </a:lnTo>
                <a:lnTo>
                  <a:pt x="10" y="104"/>
                </a:lnTo>
                <a:lnTo>
                  <a:pt x="10" y="104"/>
                </a:lnTo>
                <a:close/>
                <a:moveTo>
                  <a:pt x="10" y="104"/>
                </a:moveTo>
                <a:lnTo>
                  <a:pt x="10" y="104"/>
                </a:lnTo>
                <a:lnTo>
                  <a:pt x="10" y="104"/>
                </a:lnTo>
                <a:lnTo>
                  <a:pt x="10" y="104"/>
                </a:lnTo>
                <a:lnTo>
                  <a:pt x="10" y="104"/>
                </a:lnTo>
                <a:close/>
                <a:moveTo>
                  <a:pt x="12" y="102"/>
                </a:moveTo>
                <a:lnTo>
                  <a:pt x="12" y="102"/>
                </a:lnTo>
                <a:lnTo>
                  <a:pt x="12" y="102"/>
                </a:lnTo>
                <a:lnTo>
                  <a:pt x="12" y="102"/>
                </a:lnTo>
                <a:lnTo>
                  <a:pt x="12" y="102"/>
                </a:lnTo>
                <a:close/>
                <a:moveTo>
                  <a:pt x="12" y="102"/>
                </a:moveTo>
                <a:lnTo>
                  <a:pt x="12" y="102"/>
                </a:lnTo>
                <a:lnTo>
                  <a:pt x="12" y="102"/>
                </a:lnTo>
                <a:lnTo>
                  <a:pt x="12" y="102"/>
                </a:lnTo>
                <a:lnTo>
                  <a:pt x="12" y="102"/>
                </a:lnTo>
                <a:close/>
                <a:moveTo>
                  <a:pt x="12" y="102"/>
                </a:moveTo>
                <a:lnTo>
                  <a:pt x="12" y="102"/>
                </a:lnTo>
                <a:lnTo>
                  <a:pt x="12" y="102"/>
                </a:lnTo>
                <a:lnTo>
                  <a:pt x="12" y="102"/>
                </a:lnTo>
                <a:lnTo>
                  <a:pt x="12" y="102"/>
                </a:lnTo>
                <a:close/>
                <a:moveTo>
                  <a:pt x="12" y="102"/>
                </a:moveTo>
                <a:lnTo>
                  <a:pt x="12" y="102"/>
                </a:lnTo>
                <a:lnTo>
                  <a:pt x="12" y="102"/>
                </a:lnTo>
                <a:lnTo>
                  <a:pt x="12" y="102"/>
                </a:lnTo>
                <a:lnTo>
                  <a:pt x="12" y="102"/>
                </a:lnTo>
                <a:close/>
                <a:moveTo>
                  <a:pt x="12" y="102"/>
                </a:moveTo>
                <a:lnTo>
                  <a:pt x="12" y="102"/>
                </a:lnTo>
                <a:lnTo>
                  <a:pt x="12" y="102"/>
                </a:lnTo>
                <a:lnTo>
                  <a:pt x="12" y="102"/>
                </a:lnTo>
                <a:lnTo>
                  <a:pt x="12" y="102"/>
                </a:lnTo>
                <a:close/>
                <a:moveTo>
                  <a:pt x="12" y="102"/>
                </a:moveTo>
                <a:lnTo>
                  <a:pt x="12" y="102"/>
                </a:lnTo>
                <a:lnTo>
                  <a:pt x="12" y="102"/>
                </a:lnTo>
                <a:lnTo>
                  <a:pt x="12" y="102"/>
                </a:lnTo>
                <a:lnTo>
                  <a:pt x="12" y="102"/>
                </a:lnTo>
                <a:close/>
                <a:moveTo>
                  <a:pt x="12" y="100"/>
                </a:moveTo>
                <a:lnTo>
                  <a:pt x="12" y="100"/>
                </a:lnTo>
                <a:lnTo>
                  <a:pt x="12" y="100"/>
                </a:lnTo>
                <a:lnTo>
                  <a:pt x="12" y="100"/>
                </a:lnTo>
                <a:lnTo>
                  <a:pt x="12" y="100"/>
                </a:lnTo>
                <a:close/>
                <a:moveTo>
                  <a:pt x="14" y="100"/>
                </a:moveTo>
                <a:lnTo>
                  <a:pt x="14" y="100"/>
                </a:lnTo>
                <a:lnTo>
                  <a:pt x="14" y="100"/>
                </a:lnTo>
                <a:lnTo>
                  <a:pt x="14" y="100"/>
                </a:lnTo>
                <a:lnTo>
                  <a:pt x="14" y="100"/>
                </a:lnTo>
                <a:close/>
                <a:moveTo>
                  <a:pt x="14" y="100"/>
                </a:moveTo>
                <a:lnTo>
                  <a:pt x="14" y="100"/>
                </a:lnTo>
                <a:lnTo>
                  <a:pt x="14" y="100"/>
                </a:lnTo>
                <a:lnTo>
                  <a:pt x="14" y="100"/>
                </a:lnTo>
                <a:lnTo>
                  <a:pt x="14" y="100"/>
                </a:lnTo>
                <a:close/>
                <a:moveTo>
                  <a:pt x="14" y="100"/>
                </a:moveTo>
                <a:lnTo>
                  <a:pt x="14" y="100"/>
                </a:lnTo>
                <a:lnTo>
                  <a:pt x="14" y="100"/>
                </a:lnTo>
                <a:lnTo>
                  <a:pt x="14" y="100"/>
                </a:lnTo>
                <a:lnTo>
                  <a:pt x="14" y="100"/>
                </a:lnTo>
                <a:close/>
                <a:moveTo>
                  <a:pt x="14" y="98"/>
                </a:moveTo>
                <a:lnTo>
                  <a:pt x="14" y="98"/>
                </a:lnTo>
                <a:lnTo>
                  <a:pt x="14" y="100"/>
                </a:lnTo>
                <a:lnTo>
                  <a:pt x="14" y="100"/>
                </a:lnTo>
                <a:lnTo>
                  <a:pt x="14" y="98"/>
                </a:lnTo>
                <a:close/>
                <a:moveTo>
                  <a:pt x="182" y="0"/>
                </a:moveTo>
                <a:lnTo>
                  <a:pt x="182" y="0"/>
                </a:lnTo>
                <a:lnTo>
                  <a:pt x="162" y="6"/>
                </a:lnTo>
                <a:lnTo>
                  <a:pt x="140" y="14"/>
                </a:lnTo>
                <a:lnTo>
                  <a:pt x="118" y="22"/>
                </a:lnTo>
                <a:lnTo>
                  <a:pt x="98" y="34"/>
                </a:lnTo>
                <a:lnTo>
                  <a:pt x="76" y="46"/>
                </a:lnTo>
                <a:lnTo>
                  <a:pt x="54" y="62"/>
                </a:lnTo>
                <a:lnTo>
                  <a:pt x="34" y="78"/>
                </a:lnTo>
                <a:lnTo>
                  <a:pt x="14" y="98"/>
                </a:lnTo>
                <a:lnTo>
                  <a:pt x="14" y="98"/>
                </a:lnTo>
                <a:lnTo>
                  <a:pt x="34" y="78"/>
                </a:lnTo>
                <a:lnTo>
                  <a:pt x="54" y="62"/>
                </a:lnTo>
                <a:lnTo>
                  <a:pt x="76" y="46"/>
                </a:lnTo>
                <a:lnTo>
                  <a:pt x="98" y="34"/>
                </a:lnTo>
                <a:lnTo>
                  <a:pt x="118" y="22"/>
                </a:lnTo>
                <a:lnTo>
                  <a:pt x="140" y="14"/>
                </a:lnTo>
                <a:lnTo>
                  <a:pt x="162" y="6"/>
                </a:lnTo>
                <a:lnTo>
                  <a:pt x="182" y="0"/>
                </a:lnTo>
                <a:close/>
                <a:moveTo>
                  <a:pt x="182" y="0"/>
                </a:moveTo>
                <a:lnTo>
                  <a:pt x="182" y="0"/>
                </a:lnTo>
                <a:lnTo>
                  <a:pt x="182" y="0"/>
                </a:lnTo>
                <a:lnTo>
                  <a:pt x="182" y="0"/>
                </a:lnTo>
                <a:lnTo>
                  <a:pt x="182" y="0"/>
                </a:lnTo>
                <a:close/>
              </a:path>
            </a:pathLst>
          </a:custGeom>
          <a:solidFill>
            <a:srgbClr val="F9B69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96" name="Freeform 38"/>
          <p:cNvSpPr>
            <a:spLocks/>
          </p:cNvSpPr>
          <p:nvPr/>
        </p:nvSpPr>
        <p:spPr bwMode="auto">
          <a:xfrm>
            <a:off x="5295856" y="256724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97" name="Freeform 39"/>
          <p:cNvSpPr>
            <a:spLocks/>
          </p:cNvSpPr>
          <p:nvPr/>
        </p:nvSpPr>
        <p:spPr bwMode="auto">
          <a:xfrm>
            <a:off x="5838785" y="2567245"/>
            <a:ext cx="9361" cy="0"/>
          </a:xfrm>
          <a:custGeom>
            <a:avLst/>
            <a:gdLst>
              <a:gd name="T0" fmla="*/ 4 w 4"/>
              <a:gd name="T1" fmla="*/ 4 w 4"/>
              <a:gd name="T2" fmla="*/ 0 w 4"/>
              <a:gd name="T3" fmla="*/ 0 w 4"/>
              <a:gd name="T4" fmla="*/ 4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4" y="0"/>
                </a:lnTo>
                <a:lnTo>
                  <a:pt x="0" y="0"/>
                </a:lnTo>
                <a:lnTo>
                  <a:pt x="0"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98" name="Rectangle 40"/>
          <p:cNvSpPr>
            <a:spLocks noChangeArrowheads="1"/>
          </p:cNvSpPr>
          <p:nvPr/>
        </p:nvSpPr>
        <p:spPr bwMode="auto">
          <a:xfrm>
            <a:off x="5295858" y="2567246"/>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99" name="Rectangle 41"/>
          <p:cNvSpPr>
            <a:spLocks noChangeArrowheads="1"/>
          </p:cNvSpPr>
          <p:nvPr/>
        </p:nvSpPr>
        <p:spPr bwMode="auto">
          <a:xfrm>
            <a:off x="5295858" y="2562833"/>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00" name="Rectangle 42"/>
          <p:cNvSpPr>
            <a:spLocks noChangeArrowheads="1"/>
          </p:cNvSpPr>
          <p:nvPr/>
        </p:nvSpPr>
        <p:spPr bwMode="auto">
          <a:xfrm>
            <a:off x="5295858" y="2562833"/>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01" name="Rectangle 43"/>
          <p:cNvSpPr>
            <a:spLocks noChangeArrowheads="1"/>
          </p:cNvSpPr>
          <p:nvPr/>
        </p:nvSpPr>
        <p:spPr bwMode="auto">
          <a:xfrm>
            <a:off x="5295858" y="2562833"/>
            <a:ext cx="4680"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02" name="Rectangle 44"/>
          <p:cNvSpPr>
            <a:spLocks noChangeArrowheads="1"/>
          </p:cNvSpPr>
          <p:nvPr/>
        </p:nvSpPr>
        <p:spPr bwMode="auto">
          <a:xfrm>
            <a:off x="5300538" y="2562833"/>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03" name="Rectangle 45"/>
          <p:cNvSpPr>
            <a:spLocks noChangeArrowheads="1"/>
          </p:cNvSpPr>
          <p:nvPr/>
        </p:nvSpPr>
        <p:spPr bwMode="auto">
          <a:xfrm>
            <a:off x="5300538" y="2562833"/>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04" name="Rectangle 46"/>
          <p:cNvSpPr>
            <a:spLocks noChangeArrowheads="1"/>
          </p:cNvSpPr>
          <p:nvPr/>
        </p:nvSpPr>
        <p:spPr bwMode="auto">
          <a:xfrm>
            <a:off x="5300538" y="2558419"/>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05" name="Rectangle 47"/>
          <p:cNvSpPr>
            <a:spLocks noChangeArrowheads="1"/>
          </p:cNvSpPr>
          <p:nvPr/>
        </p:nvSpPr>
        <p:spPr bwMode="auto">
          <a:xfrm>
            <a:off x="5300538" y="2558419"/>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06" name="Freeform 48"/>
          <p:cNvSpPr>
            <a:spLocks/>
          </p:cNvSpPr>
          <p:nvPr/>
        </p:nvSpPr>
        <p:spPr bwMode="auto">
          <a:xfrm>
            <a:off x="5300537" y="255841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107" name="Rectangle 49"/>
          <p:cNvSpPr>
            <a:spLocks noChangeArrowheads="1"/>
          </p:cNvSpPr>
          <p:nvPr/>
        </p:nvSpPr>
        <p:spPr bwMode="auto">
          <a:xfrm>
            <a:off x="5300538" y="2558419"/>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08" name="Freeform 50"/>
          <p:cNvSpPr>
            <a:spLocks/>
          </p:cNvSpPr>
          <p:nvPr/>
        </p:nvSpPr>
        <p:spPr bwMode="auto">
          <a:xfrm>
            <a:off x="5314578" y="2540768"/>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109" name="Rectangle 51"/>
          <p:cNvSpPr>
            <a:spLocks noChangeArrowheads="1"/>
          </p:cNvSpPr>
          <p:nvPr/>
        </p:nvSpPr>
        <p:spPr bwMode="auto">
          <a:xfrm>
            <a:off x="5319260" y="2536355"/>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10" name="Rectangle 52"/>
          <p:cNvSpPr>
            <a:spLocks noChangeArrowheads="1"/>
          </p:cNvSpPr>
          <p:nvPr/>
        </p:nvSpPr>
        <p:spPr bwMode="auto">
          <a:xfrm>
            <a:off x="5319260" y="2536355"/>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11" name="Rectangle 53"/>
          <p:cNvSpPr>
            <a:spLocks noChangeArrowheads="1"/>
          </p:cNvSpPr>
          <p:nvPr/>
        </p:nvSpPr>
        <p:spPr bwMode="auto">
          <a:xfrm>
            <a:off x="5323940" y="2531945"/>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12" name="Rectangle 54"/>
          <p:cNvSpPr>
            <a:spLocks noChangeArrowheads="1"/>
          </p:cNvSpPr>
          <p:nvPr/>
        </p:nvSpPr>
        <p:spPr bwMode="auto">
          <a:xfrm>
            <a:off x="5323940" y="2531945"/>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13" name="Rectangle 55"/>
          <p:cNvSpPr>
            <a:spLocks noChangeArrowheads="1"/>
          </p:cNvSpPr>
          <p:nvPr/>
        </p:nvSpPr>
        <p:spPr bwMode="auto">
          <a:xfrm>
            <a:off x="5323940" y="2531945"/>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14" name="Rectangle 56"/>
          <p:cNvSpPr>
            <a:spLocks noChangeArrowheads="1"/>
          </p:cNvSpPr>
          <p:nvPr/>
        </p:nvSpPr>
        <p:spPr bwMode="auto">
          <a:xfrm>
            <a:off x="5323940" y="2531945"/>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15" name="Rectangle 57"/>
          <p:cNvSpPr>
            <a:spLocks noChangeArrowheads="1"/>
          </p:cNvSpPr>
          <p:nvPr/>
        </p:nvSpPr>
        <p:spPr bwMode="auto">
          <a:xfrm>
            <a:off x="5323940" y="2531945"/>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16" name="Rectangle 58"/>
          <p:cNvSpPr>
            <a:spLocks noChangeArrowheads="1"/>
          </p:cNvSpPr>
          <p:nvPr/>
        </p:nvSpPr>
        <p:spPr bwMode="auto">
          <a:xfrm>
            <a:off x="5323940" y="2531945"/>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17" name="Rectangle 59"/>
          <p:cNvSpPr>
            <a:spLocks noChangeArrowheads="1"/>
          </p:cNvSpPr>
          <p:nvPr/>
        </p:nvSpPr>
        <p:spPr bwMode="auto">
          <a:xfrm>
            <a:off x="5323940" y="2527530"/>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18" name="Rectangle 60"/>
          <p:cNvSpPr>
            <a:spLocks noChangeArrowheads="1"/>
          </p:cNvSpPr>
          <p:nvPr/>
        </p:nvSpPr>
        <p:spPr bwMode="auto">
          <a:xfrm>
            <a:off x="5328621" y="2527530"/>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19" name="Rectangle 61"/>
          <p:cNvSpPr>
            <a:spLocks noChangeArrowheads="1"/>
          </p:cNvSpPr>
          <p:nvPr/>
        </p:nvSpPr>
        <p:spPr bwMode="auto">
          <a:xfrm>
            <a:off x="5328621" y="2527530"/>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20" name="Rectangle 62"/>
          <p:cNvSpPr>
            <a:spLocks noChangeArrowheads="1"/>
          </p:cNvSpPr>
          <p:nvPr/>
        </p:nvSpPr>
        <p:spPr bwMode="auto">
          <a:xfrm>
            <a:off x="5328621" y="2527530"/>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21" name="Rectangle 63"/>
          <p:cNvSpPr>
            <a:spLocks noChangeArrowheads="1"/>
          </p:cNvSpPr>
          <p:nvPr/>
        </p:nvSpPr>
        <p:spPr bwMode="auto">
          <a:xfrm>
            <a:off x="5328621" y="2523119"/>
            <a:ext cx="2341" cy="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22" name="Freeform 64"/>
          <p:cNvSpPr>
            <a:spLocks/>
          </p:cNvSpPr>
          <p:nvPr/>
        </p:nvSpPr>
        <p:spPr bwMode="auto">
          <a:xfrm>
            <a:off x="5328618" y="2306899"/>
            <a:ext cx="393156" cy="216222"/>
          </a:xfrm>
          <a:custGeom>
            <a:avLst/>
            <a:gdLst>
              <a:gd name="T0" fmla="*/ 168 w 168"/>
              <a:gd name="T1" fmla="*/ 0 h 98"/>
              <a:gd name="T2" fmla="*/ 168 w 168"/>
              <a:gd name="T3" fmla="*/ 0 h 98"/>
              <a:gd name="T4" fmla="*/ 148 w 168"/>
              <a:gd name="T5" fmla="*/ 6 h 98"/>
              <a:gd name="T6" fmla="*/ 126 w 168"/>
              <a:gd name="T7" fmla="*/ 14 h 98"/>
              <a:gd name="T8" fmla="*/ 104 w 168"/>
              <a:gd name="T9" fmla="*/ 22 h 98"/>
              <a:gd name="T10" fmla="*/ 84 w 168"/>
              <a:gd name="T11" fmla="*/ 34 h 98"/>
              <a:gd name="T12" fmla="*/ 62 w 168"/>
              <a:gd name="T13" fmla="*/ 46 h 98"/>
              <a:gd name="T14" fmla="*/ 40 w 168"/>
              <a:gd name="T15" fmla="*/ 62 h 98"/>
              <a:gd name="T16" fmla="*/ 20 w 168"/>
              <a:gd name="T17" fmla="*/ 78 h 98"/>
              <a:gd name="T18" fmla="*/ 0 w 168"/>
              <a:gd name="T19" fmla="*/ 98 h 98"/>
              <a:gd name="T20" fmla="*/ 0 w 168"/>
              <a:gd name="T21" fmla="*/ 98 h 98"/>
              <a:gd name="T22" fmla="*/ 20 w 168"/>
              <a:gd name="T23" fmla="*/ 78 h 98"/>
              <a:gd name="T24" fmla="*/ 40 w 168"/>
              <a:gd name="T25" fmla="*/ 62 h 98"/>
              <a:gd name="T26" fmla="*/ 62 w 168"/>
              <a:gd name="T27" fmla="*/ 46 h 98"/>
              <a:gd name="T28" fmla="*/ 84 w 168"/>
              <a:gd name="T29" fmla="*/ 34 h 98"/>
              <a:gd name="T30" fmla="*/ 104 w 168"/>
              <a:gd name="T31" fmla="*/ 22 h 98"/>
              <a:gd name="T32" fmla="*/ 126 w 168"/>
              <a:gd name="T33" fmla="*/ 14 h 98"/>
              <a:gd name="T34" fmla="*/ 148 w 168"/>
              <a:gd name="T35" fmla="*/ 6 h 98"/>
              <a:gd name="T36" fmla="*/ 168 w 168"/>
              <a:gd name="T3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8" h="98">
                <a:moveTo>
                  <a:pt x="168" y="0"/>
                </a:moveTo>
                <a:lnTo>
                  <a:pt x="168" y="0"/>
                </a:lnTo>
                <a:lnTo>
                  <a:pt x="148" y="6"/>
                </a:lnTo>
                <a:lnTo>
                  <a:pt x="126" y="14"/>
                </a:lnTo>
                <a:lnTo>
                  <a:pt x="104" y="22"/>
                </a:lnTo>
                <a:lnTo>
                  <a:pt x="84" y="34"/>
                </a:lnTo>
                <a:lnTo>
                  <a:pt x="62" y="46"/>
                </a:lnTo>
                <a:lnTo>
                  <a:pt x="40" y="62"/>
                </a:lnTo>
                <a:lnTo>
                  <a:pt x="20" y="78"/>
                </a:lnTo>
                <a:lnTo>
                  <a:pt x="0" y="98"/>
                </a:lnTo>
                <a:lnTo>
                  <a:pt x="0" y="98"/>
                </a:lnTo>
                <a:lnTo>
                  <a:pt x="20" y="78"/>
                </a:lnTo>
                <a:lnTo>
                  <a:pt x="40" y="62"/>
                </a:lnTo>
                <a:lnTo>
                  <a:pt x="62" y="46"/>
                </a:lnTo>
                <a:lnTo>
                  <a:pt x="84" y="34"/>
                </a:lnTo>
                <a:lnTo>
                  <a:pt x="104" y="22"/>
                </a:lnTo>
                <a:lnTo>
                  <a:pt x="126" y="14"/>
                </a:lnTo>
                <a:lnTo>
                  <a:pt x="148" y="6"/>
                </a:lnTo>
                <a:lnTo>
                  <a:pt x="1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123" name="Rectangle 65"/>
          <p:cNvSpPr>
            <a:spLocks noChangeArrowheads="1"/>
          </p:cNvSpPr>
          <p:nvPr/>
        </p:nvSpPr>
        <p:spPr bwMode="auto">
          <a:xfrm>
            <a:off x="5721774" y="2306897"/>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24" name="Freeform 67"/>
          <p:cNvSpPr>
            <a:spLocks/>
          </p:cNvSpPr>
          <p:nvPr/>
        </p:nvSpPr>
        <p:spPr bwMode="auto">
          <a:xfrm>
            <a:off x="5295856" y="2284833"/>
            <a:ext cx="552289" cy="282411"/>
          </a:xfrm>
          <a:custGeom>
            <a:avLst/>
            <a:gdLst>
              <a:gd name="T0" fmla="*/ 236 w 236"/>
              <a:gd name="T1" fmla="*/ 0 h 128"/>
              <a:gd name="T2" fmla="*/ 182 w 236"/>
              <a:gd name="T3" fmla="*/ 10 h 128"/>
              <a:gd name="T4" fmla="*/ 182 w 236"/>
              <a:gd name="T5" fmla="*/ 10 h 128"/>
              <a:gd name="T6" fmla="*/ 182 w 236"/>
              <a:gd name="T7" fmla="*/ 10 h 128"/>
              <a:gd name="T8" fmla="*/ 162 w 236"/>
              <a:gd name="T9" fmla="*/ 16 h 128"/>
              <a:gd name="T10" fmla="*/ 118 w 236"/>
              <a:gd name="T11" fmla="*/ 32 h 128"/>
              <a:gd name="T12" fmla="*/ 76 w 236"/>
              <a:gd name="T13" fmla="*/ 56 h 128"/>
              <a:gd name="T14" fmla="*/ 34 w 236"/>
              <a:gd name="T15" fmla="*/ 88 h 128"/>
              <a:gd name="T16" fmla="*/ 14 w 236"/>
              <a:gd name="T17" fmla="*/ 108 h 128"/>
              <a:gd name="T18" fmla="*/ 14 w 236"/>
              <a:gd name="T19" fmla="*/ 108 h 128"/>
              <a:gd name="T20" fmla="*/ 14 w 236"/>
              <a:gd name="T21" fmla="*/ 110 h 128"/>
              <a:gd name="T22" fmla="*/ 14 w 236"/>
              <a:gd name="T23" fmla="*/ 110 h 128"/>
              <a:gd name="T24" fmla="*/ 14 w 236"/>
              <a:gd name="T25" fmla="*/ 110 h 128"/>
              <a:gd name="T26" fmla="*/ 14 w 236"/>
              <a:gd name="T27" fmla="*/ 110 h 128"/>
              <a:gd name="T28" fmla="*/ 14 w 236"/>
              <a:gd name="T29" fmla="*/ 110 h 128"/>
              <a:gd name="T30" fmla="*/ 14 w 236"/>
              <a:gd name="T31" fmla="*/ 110 h 128"/>
              <a:gd name="T32" fmla="*/ 14 w 236"/>
              <a:gd name="T33" fmla="*/ 110 h 128"/>
              <a:gd name="T34" fmla="*/ 12 w 236"/>
              <a:gd name="T35" fmla="*/ 110 h 128"/>
              <a:gd name="T36" fmla="*/ 12 w 236"/>
              <a:gd name="T37" fmla="*/ 110 h 128"/>
              <a:gd name="T38" fmla="*/ 12 w 236"/>
              <a:gd name="T39" fmla="*/ 112 h 128"/>
              <a:gd name="T40" fmla="*/ 12 w 236"/>
              <a:gd name="T41" fmla="*/ 112 h 128"/>
              <a:gd name="T42" fmla="*/ 12 w 236"/>
              <a:gd name="T43" fmla="*/ 112 h 128"/>
              <a:gd name="T44" fmla="*/ 12 w 236"/>
              <a:gd name="T45" fmla="*/ 112 h 128"/>
              <a:gd name="T46" fmla="*/ 12 w 236"/>
              <a:gd name="T47" fmla="*/ 112 h 128"/>
              <a:gd name="T48" fmla="*/ 12 w 236"/>
              <a:gd name="T49" fmla="*/ 112 h 128"/>
              <a:gd name="T50" fmla="*/ 12 w 236"/>
              <a:gd name="T51" fmla="*/ 112 h 128"/>
              <a:gd name="T52" fmla="*/ 12 w 236"/>
              <a:gd name="T53" fmla="*/ 112 h 128"/>
              <a:gd name="T54" fmla="*/ 12 w 236"/>
              <a:gd name="T55" fmla="*/ 112 h 128"/>
              <a:gd name="T56" fmla="*/ 12 w 236"/>
              <a:gd name="T57" fmla="*/ 112 h 128"/>
              <a:gd name="T58" fmla="*/ 12 w 236"/>
              <a:gd name="T59" fmla="*/ 112 h 128"/>
              <a:gd name="T60" fmla="*/ 12 w 236"/>
              <a:gd name="T61" fmla="*/ 112 h 128"/>
              <a:gd name="T62" fmla="*/ 10 w 236"/>
              <a:gd name="T63" fmla="*/ 114 h 128"/>
              <a:gd name="T64" fmla="*/ 10 w 236"/>
              <a:gd name="T65" fmla="*/ 114 h 128"/>
              <a:gd name="T66" fmla="*/ 10 w 236"/>
              <a:gd name="T67" fmla="*/ 114 h 128"/>
              <a:gd name="T68" fmla="*/ 10 w 236"/>
              <a:gd name="T69" fmla="*/ 114 h 128"/>
              <a:gd name="T70" fmla="*/ 8 w 236"/>
              <a:gd name="T71" fmla="*/ 116 h 128"/>
              <a:gd name="T72" fmla="*/ 2 w 236"/>
              <a:gd name="T73" fmla="*/ 124 h 128"/>
              <a:gd name="T74" fmla="*/ 2 w 236"/>
              <a:gd name="T75" fmla="*/ 124 h 128"/>
              <a:gd name="T76" fmla="*/ 2 w 236"/>
              <a:gd name="T77" fmla="*/ 124 h 128"/>
              <a:gd name="T78" fmla="*/ 2 w 236"/>
              <a:gd name="T79" fmla="*/ 124 h 128"/>
              <a:gd name="T80" fmla="*/ 2 w 236"/>
              <a:gd name="T81" fmla="*/ 124 h 128"/>
              <a:gd name="T82" fmla="*/ 2 w 236"/>
              <a:gd name="T83" fmla="*/ 124 h 128"/>
              <a:gd name="T84" fmla="*/ 2 w 236"/>
              <a:gd name="T85" fmla="*/ 124 h 128"/>
              <a:gd name="T86" fmla="*/ 2 w 236"/>
              <a:gd name="T87" fmla="*/ 124 h 128"/>
              <a:gd name="T88" fmla="*/ 2 w 236"/>
              <a:gd name="T89" fmla="*/ 126 h 128"/>
              <a:gd name="T90" fmla="*/ 2 w 236"/>
              <a:gd name="T91" fmla="*/ 126 h 128"/>
              <a:gd name="T92" fmla="*/ 2 w 236"/>
              <a:gd name="T93" fmla="*/ 126 h 128"/>
              <a:gd name="T94" fmla="*/ 2 w 236"/>
              <a:gd name="T95" fmla="*/ 126 h 128"/>
              <a:gd name="T96" fmla="*/ 2 w 236"/>
              <a:gd name="T97" fmla="*/ 126 h 128"/>
              <a:gd name="T98" fmla="*/ 0 w 236"/>
              <a:gd name="T99" fmla="*/ 126 h 128"/>
              <a:gd name="T100" fmla="*/ 0 w 236"/>
              <a:gd name="T101" fmla="*/ 126 h 128"/>
              <a:gd name="T102" fmla="*/ 0 w 236"/>
              <a:gd name="T103" fmla="*/ 126 h 128"/>
              <a:gd name="T104" fmla="*/ 0 w 236"/>
              <a:gd name="T105" fmla="*/ 126 h 128"/>
              <a:gd name="T106" fmla="*/ 0 w 236"/>
              <a:gd name="T107" fmla="*/ 126 h 128"/>
              <a:gd name="T108" fmla="*/ 0 w 236"/>
              <a:gd name="T109" fmla="*/ 128 h 128"/>
              <a:gd name="T110" fmla="*/ 0 w 236"/>
              <a:gd name="T111" fmla="*/ 128 h 128"/>
              <a:gd name="T112" fmla="*/ 0 w 236"/>
              <a:gd name="T113" fmla="*/ 128 h 128"/>
              <a:gd name="T114" fmla="*/ 232 w 236"/>
              <a:gd name="T115" fmla="*/ 128 h 128"/>
              <a:gd name="T116" fmla="*/ 232 w 236"/>
              <a:gd name="T117" fmla="*/ 128 h 128"/>
              <a:gd name="T118" fmla="*/ 236 w 236"/>
              <a:gd name="T119" fmla="*/ 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6" h="128">
                <a:moveTo>
                  <a:pt x="236" y="0"/>
                </a:moveTo>
                <a:lnTo>
                  <a:pt x="236" y="0"/>
                </a:lnTo>
                <a:lnTo>
                  <a:pt x="212" y="4"/>
                </a:lnTo>
                <a:lnTo>
                  <a:pt x="182" y="10"/>
                </a:lnTo>
                <a:lnTo>
                  <a:pt x="182" y="10"/>
                </a:lnTo>
                <a:lnTo>
                  <a:pt x="182" y="10"/>
                </a:lnTo>
                <a:lnTo>
                  <a:pt x="182" y="10"/>
                </a:lnTo>
                <a:lnTo>
                  <a:pt x="182" y="10"/>
                </a:lnTo>
                <a:lnTo>
                  <a:pt x="182" y="10"/>
                </a:lnTo>
                <a:lnTo>
                  <a:pt x="162" y="16"/>
                </a:lnTo>
                <a:lnTo>
                  <a:pt x="140" y="24"/>
                </a:lnTo>
                <a:lnTo>
                  <a:pt x="118" y="32"/>
                </a:lnTo>
                <a:lnTo>
                  <a:pt x="98" y="44"/>
                </a:lnTo>
                <a:lnTo>
                  <a:pt x="76" y="56"/>
                </a:lnTo>
                <a:lnTo>
                  <a:pt x="54" y="72"/>
                </a:lnTo>
                <a:lnTo>
                  <a:pt x="34" y="88"/>
                </a:lnTo>
                <a:lnTo>
                  <a:pt x="14" y="108"/>
                </a:lnTo>
                <a:lnTo>
                  <a:pt x="14" y="108"/>
                </a:lnTo>
                <a:lnTo>
                  <a:pt x="14" y="108"/>
                </a:lnTo>
                <a:lnTo>
                  <a:pt x="14" y="108"/>
                </a:lnTo>
                <a:lnTo>
                  <a:pt x="14" y="110"/>
                </a:lnTo>
                <a:lnTo>
                  <a:pt x="14" y="110"/>
                </a:lnTo>
                <a:lnTo>
                  <a:pt x="14" y="110"/>
                </a:lnTo>
                <a:lnTo>
                  <a:pt x="14" y="110"/>
                </a:lnTo>
                <a:lnTo>
                  <a:pt x="14" y="110"/>
                </a:lnTo>
                <a:lnTo>
                  <a:pt x="14" y="110"/>
                </a:lnTo>
                <a:lnTo>
                  <a:pt x="14" y="110"/>
                </a:lnTo>
                <a:lnTo>
                  <a:pt x="14" y="110"/>
                </a:lnTo>
                <a:lnTo>
                  <a:pt x="14" y="110"/>
                </a:lnTo>
                <a:lnTo>
                  <a:pt x="14" y="110"/>
                </a:lnTo>
                <a:lnTo>
                  <a:pt x="14" y="110"/>
                </a:lnTo>
                <a:lnTo>
                  <a:pt x="14" y="110"/>
                </a:lnTo>
                <a:lnTo>
                  <a:pt x="14" y="110"/>
                </a:lnTo>
                <a:lnTo>
                  <a:pt x="14" y="110"/>
                </a:lnTo>
                <a:lnTo>
                  <a:pt x="12" y="110"/>
                </a:lnTo>
                <a:lnTo>
                  <a:pt x="12" y="110"/>
                </a:lnTo>
                <a:lnTo>
                  <a:pt x="12" y="110"/>
                </a:lnTo>
                <a:lnTo>
                  <a:pt x="12" y="110"/>
                </a:lnTo>
                <a:lnTo>
                  <a:pt x="12" y="112"/>
                </a:lnTo>
                <a:lnTo>
                  <a:pt x="12" y="112"/>
                </a:lnTo>
                <a:lnTo>
                  <a:pt x="12" y="112"/>
                </a:lnTo>
                <a:lnTo>
                  <a:pt x="12" y="112"/>
                </a:lnTo>
                <a:lnTo>
                  <a:pt x="12" y="112"/>
                </a:lnTo>
                <a:lnTo>
                  <a:pt x="12" y="112"/>
                </a:lnTo>
                <a:lnTo>
                  <a:pt x="12" y="112"/>
                </a:lnTo>
                <a:lnTo>
                  <a:pt x="12" y="112"/>
                </a:lnTo>
                <a:lnTo>
                  <a:pt x="12" y="112"/>
                </a:lnTo>
                <a:lnTo>
                  <a:pt x="12" y="112"/>
                </a:lnTo>
                <a:lnTo>
                  <a:pt x="12" y="112"/>
                </a:lnTo>
                <a:lnTo>
                  <a:pt x="12" y="112"/>
                </a:lnTo>
                <a:lnTo>
                  <a:pt x="12" y="112"/>
                </a:lnTo>
                <a:lnTo>
                  <a:pt x="12" y="112"/>
                </a:lnTo>
                <a:lnTo>
                  <a:pt x="12" y="112"/>
                </a:lnTo>
                <a:lnTo>
                  <a:pt x="12" y="112"/>
                </a:lnTo>
                <a:lnTo>
                  <a:pt x="12" y="112"/>
                </a:lnTo>
                <a:lnTo>
                  <a:pt x="12" y="112"/>
                </a:lnTo>
                <a:lnTo>
                  <a:pt x="12" y="112"/>
                </a:lnTo>
                <a:lnTo>
                  <a:pt x="12" y="112"/>
                </a:lnTo>
                <a:lnTo>
                  <a:pt x="12" y="112"/>
                </a:lnTo>
                <a:lnTo>
                  <a:pt x="12" y="112"/>
                </a:lnTo>
                <a:lnTo>
                  <a:pt x="12" y="112"/>
                </a:lnTo>
                <a:lnTo>
                  <a:pt x="12" y="112"/>
                </a:lnTo>
                <a:lnTo>
                  <a:pt x="10" y="114"/>
                </a:lnTo>
                <a:lnTo>
                  <a:pt x="10" y="114"/>
                </a:lnTo>
                <a:lnTo>
                  <a:pt x="10" y="114"/>
                </a:lnTo>
                <a:lnTo>
                  <a:pt x="10" y="114"/>
                </a:lnTo>
                <a:lnTo>
                  <a:pt x="10" y="114"/>
                </a:lnTo>
                <a:lnTo>
                  <a:pt x="10" y="114"/>
                </a:lnTo>
                <a:lnTo>
                  <a:pt x="10" y="114"/>
                </a:lnTo>
                <a:lnTo>
                  <a:pt x="10" y="114"/>
                </a:lnTo>
                <a:lnTo>
                  <a:pt x="8" y="116"/>
                </a:lnTo>
                <a:lnTo>
                  <a:pt x="8" y="116"/>
                </a:lnTo>
                <a:lnTo>
                  <a:pt x="8" y="116"/>
                </a:lnTo>
                <a:lnTo>
                  <a:pt x="2" y="124"/>
                </a:lnTo>
                <a:lnTo>
                  <a:pt x="2" y="124"/>
                </a:lnTo>
                <a:lnTo>
                  <a:pt x="2" y="124"/>
                </a:lnTo>
                <a:lnTo>
                  <a:pt x="2" y="124"/>
                </a:lnTo>
                <a:lnTo>
                  <a:pt x="2" y="124"/>
                </a:lnTo>
                <a:lnTo>
                  <a:pt x="2" y="124"/>
                </a:lnTo>
                <a:lnTo>
                  <a:pt x="2" y="124"/>
                </a:lnTo>
                <a:lnTo>
                  <a:pt x="2" y="124"/>
                </a:lnTo>
                <a:lnTo>
                  <a:pt x="2" y="124"/>
                </a:lnTo>
                <a:lnTo>
                  <a:pt x="2" y="124"/>
                </a:lnTo>
                <a:lnTo>
                  <a:pt x="2" y="124"/>
                </a:lnTo>
                <a:lnTo>
                  <a:pt x="2" y="124"/>
                </a:lnTo>
                <a:lnTo>
                  <a:pt x="2" y="124"/>
                </a:lnTo>
                <a:lnTo>
                  <a:pt x="2" y="124"/>
                </a:lnTo>
                <a:lnTo>
                  <a:pt x="2" y="124"/>
                </a:lnTo>
                <a:lnTo>
                  <a:pt x="2" y="126"/>
                </a:lnTo>
                <a:lnTo>
                  <a:pt x="2" y="126"/>
                </a:lnTo>
                <a:lnTo>
                  <a:pt x="2" y="126"/>
                </a:lnTo>
                <a:lnTo>
                  <a:pt x="2" y="126"/>
                </a:lnTo>
                <a:lnTo>
                  <a:pt x="2" y="126"/>
                </a:lnTo>
                <a:lnTo>
                  <a:pt x="2" y="126"/>
                </a:lnTo>
                <a:lnTo>
                  <a:pt x="2" y="126"/>
                </a:lnTo>
                <a:lnTo>
                  <a:pt x="2" y="126"/>
                </a:lnTo>
                <a:lnTo>
                  <a:pt x="2" y="126"/>
                </a:lnTo>
                <a:lnTo>
                  <a:pt x="2" y="126"/>
                </a:lnTo>
                <a:lnTo>
                  <a:pt x="0" y="126"/>
                </a:lnTo>
                <a:lnTo>
                  <a:pt x="0" y="126"/>
                </a:lnTo>
                <a:lnTo>
                  <a:pt x="0" y="126"/>
                </a:lnTo>
                <a:lnTo>
                  <a:pt x="0" y="126"/>
                </a:lnTo>
                <a:lnTo>
                  <a:pt x="0" y="126"/>
                </a:lnTo>
                <a:lnTo>
                  <a:pt x="0" y="126"/>
                </a:lnTo>
                <a:lnTo>
                  <a:pt x="0" y="126"/>
                </a:lnTo>
                <a:lnTo>
                  <a:pt x="0" y="126"/>
                </a:lnTo>
                <a:lnTo>
                  <a:pt x="0" y="126"/>
                </a:lnTo>
                <a:lnTo>
                  <a:pt x="0" y="126"/>
                </a:lnTo>
                <a:lnTo>
                  <a:pt x="0" y="128"/>
                </a:lnTo>
                <a:lnTo>
                  <a:pt x="0" y="128"/>
                </a:lnTo>
                <a:lnTo>
                  <a:pt x="0" y="128"/>
                </a:lnTo>
                <a:lnTo>
                  <a:pt x="0" y="128"/>
                </a:lnTo>
                <a:lnTo>
                  <a:pt x="0" y="128"/>
                </a:lnTo>
                <a:lnTo>
                  <a:pt x="0" y="128"/>
                </a:lnTo>
                <a:lnTo>
                  <a:pt x="0" y="128"/>
                </a:lnTo>
                <a:lnTo>
                  <a:pt x="232" y="128"/>
                </a:lnTo>
                <a:lnTo>
                  <a:pt x="232" y="128"/>
                </a:lnTo>
                <a:lnTo>
                  <a:pt x="232" y="128"/>
                </a:lnTo>
                <a:lnTo>
                  <a:pt x="236" y="128"/>
                </a:lnTo>
                <a:lnTo>
                  <a:pt x="23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125" name="Freeform 70"/>
          <p:cNvSpPr>
            <a:spLocks/>
          </p:cNvSpPr>
          <p:nvPr/>
        </p:nvSpPr>
        <p:spPr bwMode="auto">
          <a:xfrm>
            <a:off x="3183383" y="2291769"/>
            <a:ext cx="1854297" cy="4734501"/>
          </a:xfrm>
          <a:custGeom>
            <a:avLst/>
            <a:gdLst>
              <a:gd name="T0" fmla="*/ 322 w 658"/>
              <a:gd name="T1" fmla="*/ 0 h 1862"/>
              <a:gd name="T2" fmla="*/ 264 w 658"/>
              <a:gd name="T3" fmla="*/ 8 h 1862"/>
              <a:gd name="T4" fmla="*/ 206 w 658"/>
              <a:gd name="T5" fmla="*/ 24 h 1862"/>
              <a:gd name="T6" fmla="*/ 162 w 658"/>
              <a:gd name="T7" fmla="*/ 44 h 1862"/>
              <a:gd name="T8" fmla="*/ 120 w 658"/>
              <a:gd name="T9" fmla="*/ 70 h 1862"/>
              <a:gd name="T10" fmla="*/ 80 w 658"/>
              <a:gd name="T11" fmla="*/ 108 h 1862"/>
              <a:gd name="T12" fmla="*/ 294 w 658"/>
              <a:gd name="T13" fmla="*/ 130 h 1862"/>
              <a:gd name="T14" fmla="*/ 322 w 658"/>
              <a:gd name="T15" fmla="*/ 128 h 1862"/>
              <a:gd name="T16" fmla="*/ 344 w 658"/>
              <a:gd name="T17" fmla="*/ 130 h 1862"/>
              <a:gd name="T18" fmla="*/ 386 w 658"/>
              <a:gd name="T19" fmla="*/ 140 h 1862"/>
              <a:gd name="T20" fmla="*/ 424 w 658"/>
              <a:gd name="T21" fmla="*/ 158 h 1862"/>
              <a:gd name="T22" fmla="*/ 458 w 658"/>
              <a:gd name="T23" fmla="*/ 184 h 1862"/>
              <a:gd name="T24" fmla="*/ 486 w 658"/>
              <a:gd name="T25" fmla="*/ 216 h 1862"/>
              <a:gd name="T26" fmla="*/ 508 w 658"/>
              <a:gd name="T27" fmla="*/ 252 h 1862"/>
              <a:gd name="T28" fmla="*/ 520 w 658"/>
              <a:gd name="T29" fmla="*/ 292 h 1862"/>
              <a:gd name="T30" fmla="*/ 524 w 658"/>
              <a:gd name="T31" fmla="*/ 336 h 1862"/>
              <a:gd name="T32" fmla="*/ 522 w 658"/>
              <a:gd name="T33" fmla="*/ 358 h 1862"/>
              <a:gd name="T34" fmla="*/ 506 w 658"/>
              <a:gd name="T35" fmla="*/ 410 h 1862"/>
              <a:gd name="T36" fmla="*/ 482 w 658"/>
              <a:gd name="T37" fmla="*/ 456 h 1862"/>
              <a:gd name="T38" fmla="*/ 450 w 658"/>
              <a:gd name="T39" fmla="*/ 496 h 1862"/>
              <a:gd name="T40" fmla="*/ 414 w 658"/>
              <a:gd name="T41" fmla="*/ 528 h 1862"/>
              <a:gd name="T42" fmla="*/ 372 w 658"/>
              <a:gd name="T43" fmla="*/ 556 h 1862"/>
              <a:gd name="T44" fmla="*/ 328 w 658"/>
              <a:gd name="T45" fmla="*/ 580 h 1862"/>
              <a:gd name="T46" fmla="*/ 238 w 658"/>
              <a:gd name="T47" fmla="*/ 612 h 1862"/>
              <a:gd name="T48" fmla="*/ 216 w 658"/>
              <a:gd name="T49" fmla="*/ 618 h 1862"/>
              <a:gd name="T50" fmla="*/ 174 w 658"/>
              <a:gd name="T51" fmla="*/ 636 h 1862"/>
              <a:gd name="T52" fmla="*/ 132 w 658"/>
              <a:gd name="T53" fmla="*/ 656 h 1862"/>
              <a:gd name="T54" fmla="*/ 94 w 658"/>
              <a:gd name="T55" fmla="*/ 684 h 1862"/>
              <a:gd name="T56" fmla="*/ 60 w 658"/>
              <a:gd name="T57" fmla="*/ 714 h 1862"/>
              <a:gd name="T58" fmla="*/ 32 w 658"/>
              <a:gd name="T59" fmla="*/ 750 h 1862"/>
              <a:gd name="T60" fmla="*/ 12 w 658"/>
              <a:gd name="T61" fmla="*/ 792 h 1862"/>
              <a:gd name="T62" fmla="*/ 2 w 658"/>
              <a:gd name="T63" fmla="*/ 836 h 1862"/>
              <a:gd name="T64" fmla="*/ 0 w 658"/>
              <a:gd name="T65" fmla="*/ 1808 h 1862"/>
              <a:gd name="T66" fmla="*/ 2 w 658"/>
              <a:gd name="T67" fmla="*/ 1820 h 1862"/>
              <a:gd name="T68" fmla="*/ 10 w 658"/>
              <a:gd name="T69" fmla="*/ 1838 h 1862"/>
              <a:gd name="T70" fmla="*/ 24 w 658"/>
              <a:gd name="T71" fmla="*/ 1854 h 1862"/>
              <a:gd name="T72" fmla="*/ 42 w 658"/>
              <a:gd name="T73" fmla="*/ 1862 h 1862"/>
              <a:gd name="T74" fmla="*/ 604 w 658"/>
              <a:gd name="T75" fmla="*/ 1862 h 1862"/>
              <a:gd name="T76" fmla="*/ 616 w 658"/>
              <a:gd name="T77" fmla="*/ 1862 h 1862"/>
              <a:gd name="T78" fmla="*/ 634 w 658"/>
              <a:gd name="T79" fmla="*/ 1854 h 1862"/>
              <a:gd name="T80" fmla="*/ 650 w 658"/>
              <a:gd name="T81" fmla="*/ 1838 h 1862"/>
              <a:gd name="T82" fmla="*/ 658 w 658"/>
              <a:gd name="T83" fmla="*/ 1820 h 1862"/>
              <a:gd name="T84" fmla="*/ 658 w 658"/>
              <a:gd name="T85" fmla="*/ 860 h 1862"/>
              <a:gd name="T86" fmla="*/ 658 w 658"/>
              <a:gd name="T87" fmla="*/ 326 h 1862"/>
              <a:gd name="T88" fmla="*/ 650 w 658"/>
              <a:gd name="T89" fmla="*/ 276 h 1862"/>
              <a:gd name="T90" fmla="*/ 636 w 658"/>
              <a:gd name="T91" fmla="*/ 226 h 1862"/>
              <a:gd name="T92" fmla="*/ 608 w 658"/>
              <a:gd name="T93" fmla="*/ 168 h 1862"/>
              <a:gd name="T94" fmla="*/ 568 w 658"/>
              <a:gd name="T95" fmla="*/ 108 h 1862"/>
              <a:gd name="T96" fmla="*/ 540 w 658"/>
              <a:gd name="T97" fmla="*/ 82 h 1862"/>
              <a:gd name="T98" fmla="*/ 508 w 658"/>
              <a:gd name="T99" fmla="*/ 56 h 1862"/>
              <a:gd name="T100" fmla="*/ 470 w 658"/>
              <a:gd name="T101" fmla="*/ 34 h 1862"/>
              <a:gd name="T102" fmla="*/ 428 w 658"/>
              <a:gd name="T103" fmla="*/ 18 h 1862"/>
              <a:gd name="T104" fmla="*/ 378 w 658"/>
              <a:gd name="T105" fmla="*/ 6 h 1862"/>
              <a:gd name="T106" fmla="*/ 322 w 658"/>
              <a:gd name="T107" fmla="*/ 0 h 1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1862">
                <a:moveTo>
                  <a:pt x="322" y="0"/>
                </a:moveTo>
                <a:lnTo>
                  <a:pt x="322" y="0"/>
                </a:lnTo>
                <a:lnTo>
                  <a:pt x="294" y="2"/>
                </a:lnTo>
                <a:lnTo>
                  <a:pt x="264" y="8"/>
                </a:lnTo>
                <a:lnTo>
                  <a:pt x="226" y="18"/>
                </a:lnTo>
                <a:lnTo>
                  <a:pt x="206" y="24"/>
                </a:lnTo>
                <a:lnTo>
                  <a:pt x="184" y="32"/>
                </a:lnTo>
                <a:lnTo>
                  <a:pt x="162" y="44"/>
                </a:lnTo>
                <a:lnTo>
                  <a:pt x="140" y="56"/>
                </a:lnTo>
                <a:lnTo>
                  <a:pt x="120" y="70"/>
                </a:lnTo>
                <a:lnTo>
                  <a:pt x="98" y="88"/>
                </a:lnTo>
                <a:lnTo>
                  <a:pt x="80" y="108"/>
                </a:lnTo>
                <a:lnTo>
                  <a:pt x="62" y="130"/>
                </a:lnTo>
                <a:lnTo>
                  <a:pt x="294" y="130"/>
                </a:lnTo>
                <a:lnTo>
                  <a:pt x="294" y="130"/>
                </a:lnTo>
                <a:lnTo>
                  <a:pt x="322" y="128"/>
                </a:lnTo>
                <a:lnTo>
                  <a:pt x="322" y="128"/>
                </a:lnTo>
                <a:lnTo>
                  <a:pt x="344" y="130"/>
                </a:lnTo>
                <a:lnTo>
                  <a:pt x="364" y="134"/>
                </a:lnTo>
                <a:lnTo>
                  <a:pt x="386" y="140"/>
                </a:lnTo>
                <a:lnTo>
                  <a:pt x="406" y="148"/>
                </a:lnTo>
                <a:lnTo>
                  <a:pt x="424" y="158"/>
                </a:lnTo>
                <a:lnTo>
                  <a:pt x="442" y="170"/>
                </a:lnTo>
                <a:lnTo>
                  <a:pt x="458" y="184"/>
                </a:lnTo>
                <a:lnTo>
                  <a:pt x="474" y="200"/>
                </a:lnTo>
                <a:lnTo>
                  <a:pt x="486" y="216"/>
                </a:lnTo>
                <a:lnTo>
                  <a:pt x="498" y="234"/>
                </a:lnTo>
                <a:lnTo>
                  <a:pt x="508" y="252"/>
                </a:lnTo>
                <a:lnTo>
                  <a:pt x="516" y="272"/>
                </a:lnTo>
                <a:lnTo>
                  <a:pt x="520" y="292"/>
                </a:lnTo>
                <a:lnTo>
                  <a:pt x="524" y="314"/>
                </a:lnTo>
                <a:lnTo>
                  <a:pt x="524" y="336"/>
                </a:lnTo>
                <a:lnTo>
                  <a:pt x="522" y="358"/>
                </a:lnTo>
                <a:lnTo>
                  <a:pt x="522" y="358"/>
                </a:lnTo>
                <a:lnTo>
                  <a:pt x="516" y="384"/>
                </a:lnTo>
                <a:lnTo>
                  <a:pt x="506" y="410"/>
                </a:lnTo>
                <a:lnTo>
                  <a:pt x="496" y="434"/>
                </a:lnTo>
                <a:lnTo>
                  <a:pt x="482" y="456"/>
                </a:lnTo>
                <a:lnTo>
                  <a:pt x="468" y="476"/>
                </a:lnTo>
                <a:lnTo>
                  <a:pt x="450" y="496"/>
                </a:lnTo>
                <a:lnTo>
                  <a:pt x="432" y="512"/>
                </a:lnTo>
                <a:lnTo>
                  <a:pt x="414" y="528"/>
                </a:lnTo>
                <a:lnTo>
                  <a:pt x="394" y="544"/>
                </a:lnTo>
                <a:lnTo>
                  <a:pt x="372" y="556"/>
                </a:lnTo>
                <a:lnTo>
                  <a:pt x="350" y="568"/>
                </a:lnTo>
                <a:lnTo>
                  <a:pt x="328" y="580"/>
                </a:lnTo>
                <a:lnTo>
                  <a:pt x="282" y="598"/>
                </a:lnTo>
                <a:lnTo>
                  <a:pt x="238" y="612"/>
                </a:lnTo>
                <a:lnTo>
                  <a:pt x="238" y="612"/>
                </a:lnTo>
                <a:lnTo>
                  <a:pt x="216" y="618"/>
                </a:lnTo>
                <a:lnTo>
                  <a:pt x="194" y="626"/>
                </a:lnTo>
                <a:lnTo>
                  <a:pt x="174" y="636"/>
                </a:lnTo>
                <a:lnTo>
                  <a:pt x="152" y="646"/>
                </a:lnTo>
                <a:lnTo>
                  <a:pt x="132" y="656"/>
                </a:lnTo>
                <a:lnTo>
                  <a:pt x="112" y="670"/>
                </a:lnTo>
                <a:lnTo>
                  <a:pt x="94" y="684"/>
                </a:lnTo>
                <a:lnTo>
                  <a:pt x="76" y="698"/>
                </a:lnTo>
                <a:lnTo>
                  <a:pt x="60" y="714"/>
                </a:lnTo>
                <a:lnTo>
                  <a:pt x="46" y="732"/>
                </a:lnTo>
                <a:lnTo>
                  <a:pt x="32" y="750"/>
                </a:lnTo>
                <a:lnTo>
                  <a:pt x="22" y="770"/>
                </a:lnTo>
                <a:lnTo>
                  <a:pt x="12" y="792"/>
                </a:lnTo>
                <a:lnTo>
                  <a:pt x="6" y="812"/>
                </a:lnTo>
                <a:lnTo>
                  <a:pt x="2" y="836"/>
                </a:lnTo>
                <a:lnTo>
                  <a:pt x="0" y="860"/>
                </a:lnTo>
                <a:lnTo>
                  <a:pt x="0" y="1808"/>
                </a:lnTo>
                <a:lnTo>
                  <a:pt x="0" y="1808"/>
                </a:lnTo>
                <a:lnTo>
                  <a:pt x="2" y="1820"/>
                </a:lnTo>
                <a:lnTo>
                  <a:pt x="4" y="1830"/>
                </a:lnTo>
                <a:lnTo>
                  <a:pt x="10" y="1838"/>
                </a:lnTo>
                <a:lnTo>
                  <a:pt x="16" y="1846"/>
                </a:lnTo>
                <a:lnTo>
                  <a:pt x="24" y="1854"/>
                </a:lnTo>
                <a:lnTo>
                  <a:pt x="32" y="1858"/>
                </a:lnTo>
                <a:lnTo>
                  <a:pt x="42" y="1862"/>
                </a:lnTo>
                <a:lnTo>
                  <a:pt x="54" y="1862"/>
                </a:lnTo>
                <a:lnTo>
                  <a:pt x="604" y="1862"/>
                </a:lnTo>
                <a:lnTo>
                  <a:pt x="604" y="1862"/>
                </a:lnTo>
                <a:lnTo>
                  <a:pt x="616" y="1862"/>
                </a:lnTo>
                <a:lnTo>
                  <a:pt x="626" y="1858"/>
                </a:lnTo>
                <a:lnTo>
                  <a:pt x="634" y="1854"/>
                </a:lnTo>
                <a:lnTo>
                  <a:pt x="642" y="1846"/>
                </a:lnTo>
                <a:lnTo>
                  <a:pt x="650" y="1838"/>
                </a:lnTo>
                <a:lnTo>
                  <a:pt x="654" y="1830"/>
                </a:lnTo>
                <a:lnTo>
                  <a:pt x="658" y="1820"/>
                </a:lnTo>
                <a:lnTo>
                  <a:pt x="658" y="1808"/>
                </a:lnTo>
                <a:lnTo>
                  <a:pt x="658" y="860"/>
                </a:lnTo>
                <a:lnTo>
                  <a:pt x="658" y="326"/>
                </a:lnTo>
                <a:lnTo>
                  <a:pt x="658" y="326"/>
                </a:lnTo>
                <a:lnTo>
                  <a:pt x="656" y="312"/>
                </a:lnTo>
                <a:lnTo>
                  <a:pt x="650" y="276"/>
                </a:lnTo>
                <a:lnTo>
                  <a:pt x="644" y="252"/>
                </a:lnTo>
                <a:lnTo>
                  <a:pt x="636" y="226"/>
                </a:lnTo>
                <a:lnTo>
                  <a:pt x="624" y="198"/>
                </a:lnTo>
                <a:lnTo>
                  <a:pt x="608" y="168"/>
                </a:lnTo>
                <a:lnTo>
                  <a:pt x="590" y="138"/>
                </a:lnTo>
                <a:lnTo>
                  <a:pt x="568" y="108"/>
                </a:lnTo>
                <a:lnTo>
                  <a:pt x="554" y="94"/>
                </a:lnTo>
                <a:lnTo>
                  <a:pt x="540" y="82"/>
                </a:lnTo>
                <a:lnTo>
                  <a:pt x="524" y="68"/>
                </a:lnTo>
                <a:lnTo>
                  <a:pt x="508" y="56"/>
                </a:lnTo>
                <a:lnTo>
                  <a:pt x="490" y="46"/>
                </a:lnTo>
                <a:lnTo>
                  <a:pt x="470" y="34"/>
                </a:lnTo>
                <a:lnTo>
                  <a:pt x="450" y="26"/>
                </a:lnTo>
                <a:lnTo>
                  <a:pt x="428" y="18"/>
                </a:lnTo>
                <a:lnTo>
                  <a:pt x="404" y="12"/>
                </a:lnTo>
                <a:lnTo>
                  <a:pt x="378" y="6"/>
                </a:lnTo>
                <a:lnTo>
                  <a:pt x="352" y="2"/>
                </a:lnTo>
                <a:lnTo>
                  <a:pt x="322" y="0"/>
                </a:lnTo>
                <a:close/>
              </a:path>
            </a:pathLst>
          </a:custGeom>
          <a:gradFill flip="none" rotWithShape="1">
            <a:gsLst>
              <a:gs pos="0">
                <a:schemeClr val="accent4">
                  <a:lumMod val="75000"/>
                  <a:shade val="30000"/>
                  <a:satMod val="115000"/>
                </a:schemeClr>
              </a:gs>
              <a:gs pos="50000">
                <a:schemeClr val="accent4">
                  <a:lumMod val="75000"/>
                  <a:shade val="67500"/>
                  <a:satMod val="115000"/>
                </a:schemeClr>
              </a:gs>
              <a:gs pos="100000">
                <a:schemeClr val="accent4">
                  <a:lumMod val="75000"/>
                  <a:shade val="100000"/>
                  <a:satMod val="115000"/>
                </a:schemeClr>
              </a:gs>
            </a:gsLst>
            <a:lin ang="8100000" scaled="1"/>
            <a:tileRect/>
          </a:gradFill>
          <a:ln>
            <a:noFill/>
          </a:ln>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126" name="Freeform 71"/>
          <p:cNvSpPr>
            <a:spLocks/>
          </p:cNvSpPr>
          <p:nvPr/>
        </p:nvSpPr>
        <p:spPr bwMode="auto">
          <a:xfrm>
            <a:off x="3344121" y="2280421"/>
            <a:ext cx="1539858" cy="4108202"/>
          </a:xfrm>
          <a:custGeom>
            <a:avLst/>
            <a:gdLst>
              <a:gd name="T0" fmla="*/ 322 w 658"/>
              <a:gd name="T1" fmla="*/ 0 h 1862"/>
              <a:gd name="T2" fmla="*/ 264 w 658"/>
              <a:gd name="T3" fmla="*/ 8 h 1862"/>
              <a:gd name="T4" fmla="*/ 206 w 658"/>
              <a:gd name="T5" fmla="*/ 24 h 1862"/>
              <a:gd name="T6" fmla="*/ 162 w 658"/>
              <a:gd name="T7" fmla="*/ 44 h 1862"/>
              <a:gd name="T8" fmla="*/ 120 w 658"/>
              <a:gd name="T9" fmla="*/ 70 h 1862"/>
              <a:gd name="T10" fmla="*/ 80 w 658"/>
              <a:gd name="T11" fmla="*/ 108 h 1862"/>
              <a:gd name="T12" fmla="*/ 294 w 658"/>
              <a:gd name="T13" fmla="*/ 130 h 1862"/>
              <a:gd name="T14" fmla="*/ 322 w 658"/>
              <a:gd name="T15" fmla="*/ 128 h 1862"/>
              <a:gd name="T16" fmla="*/ 344 w 658"/>
              <a:gd name="T17" fmla="*/ 130 h 1862"/>
              <a:gd name="T18" fmla="*/ 386 w 658"/>
              <a:gd name="T19" fmla="*/ 140 h 1862"/>
              <a:gd name="T20" fmla="*/ 424 w 658"/>
              <a:gd name="T21" fmla="*/ 158 h 1862"/>
              <a:gd name="T22" fmla="*/ 458 w 658"/>
              <a:gd name="T23" fmla="*/ 184 h 1862"/>
              <a:gd name="T24" fmla="*/ 486 w 658"/>
              <a:gd name="T25" fmla="*/ 216 h 1862"/>
              <a:gd name="T26" fmla="*/ 508 w 658"/>
              <a:gd name="T27" fmla="*/ 252 h 1862"/>
              <a:gd name="T28" fmla="*/ 520 w 658"/>
              <a:gd name="T29" fmla="*/ 292 h 1862"/>
              <a:gd name="T30" fmla="*/ 524 w 658"/>
              <a:gd name="T31" fmla="*/ 336 h 1862"/>
              <a:gd name="T32" fmla="*/ 522 w 658"/>
              <a:gd name="T33" fmla="*/ 358 h 1862"/>
              <a:gd name="T34" fmla="*/ 506 w 658"/>
              <a:gd name="T35" fmla="*/ 410 h 1862"/>
              <a:gd name="T36" fmla="*/ 482 w 658"/>
              <a:gd name="T37" fmla="*/ 456 h 1862"/>
              <a:gd name="T38" fmla="*/ 450 w 658"/>
              <a:gd name="T39" fmla="*/ 496 h 1862"/>
              <a:gd name="T40" fmla="*/ 414 w 658"/>
              <a:gd name="T41" fmla="*/ 528 h 1862"/>
              <a:gd name="T42" fmla="*/ 372 w 658"/>
              <a:gd name="T43" fmla="*/ 556 h 1862"/>
              <a:gd name="T44" fmla="*/ 328 w 658"/>
              <a:gd name="T45" fmla="*/ 580 h 1862"/>
              <a:gd name="T46" fmla="*/ 238 w 658"/>
              <a:gd name="T47" fmla="*/ 612 h 1862"/>
              <a:gd name="T48" fmla="*/ 216 w 658"/>
              <a:gd name="T49" fmla="*/ 618 h 1862"/>
              <a:gd name="T50" fmla="*/ 174 w 658"/>
              <a:gd name="T51" fmla="*/ 636 h 1862"/>
              <a:gd name="T52" fmla="*/ 132 w 658"/>
              <a:gd name="T53" fmla="*/ 656 h 1862"/>
              <a:gd name="T54" fmla="*/ 94 w 658"/>
              <a:gd name="T55" fmla="*/ 684 h 1862"/>
              <a:gd name="T56" fmla="*/ 60 w 658"/>
              <a:gd name="T57" fmla="*/ 714 h 1862"/>
              <a:gd name="T58" fmla="*/ 32 w 658"/>
              <a:gd name="T59" fmla="*/ 750 h 1862"/>
              <a:gd name="T60" fmla="*/ 12 w 658"/>
              <a:gd name="T61" fmla="*/ 792 h 1862"/>
              <a:gd name="T62" fmla="*/ 2 w 658"/>
              <a:gd name="T63" fmla="*/ 836 h 1862"/>
              <a:gd name="T64" fmla="*/ 0 w 658"/>
              <a:gd name="T65" fmla="*/ 1808 h 1862"/>
              <a:gd name="T66" fmla="*/ 2 w 658"/>
              <a:gd name="T67" fmla="*/ 1820 h 1862"/>
              <a:gd name="T68" fmla="*/ 10 w 658"/>
              <a:gd name="T69" fmla="*/ 1838 h 1862"/>
              <a:gd name="T70" fmla="*/ 24 w 658"/>
              <a:gd name="T71" fmla="*/ 1854 h 1862"/>
              <a:gd name="T72" fmla="*/ 42 w 658"/>
              <a:gd name="T73" fmla="*/ 1862 h 1862"/>
              <a:gd name="T74" fmla="*/ 604 w 658"/>
              <a:gd name="T75" fmla="*/ 1862 h 1862"/>
              <a:gd name="T76" fmla="*/ 616 w 658"/>
              <a:gd name="T77" fmla="*/ 1862 h 1862"/>
              <a:gd name="T78" fmla="*/ 634 w 658"/>
              <a:gd name="T79" fmla="*/ 1854 h 1862"/>
              <a:gd name="T80" fmla="*/ 650 w 658"/>
              <a:gd name="T81" fmla="*/ 1838 h 1862"/>
              <a:gd name="T82" fmla="*/ 658 w 658"/>
              <a:gd name="T83" fmla="*/ 1820 h 1862"/>
              <a:gd name="T84" fmla="*/ 658 w 658"/>
              <a:gd name="T85" fmla="*/ 860 h 1862"/>
              <a:gd name="T86" fmla="*/ 658 w 658"/>
              <a:gd name="T87" fmla="*/ 326 h 1862"/>
              <a:gd name="T88" fmla="*/ 650 w 658"/>
              <a:gd name="T89" fmla="*/ 276 h 1862"/>
              <a:gd name="T90" fmla="*/ 636 w 658"/>
              <a:gd name="T91" fmla="*/ 226 h 1862"/>
              <a:gd name="T92" fmla="*/ 608 w 658"/>
              <a:gd name="T93" fmla="*/ 168 h 1862"/>
              <a:gd name="T94" fmla="*/ 568 w 658"/>
              <a:gd name="T95" fmla="*/ 108 h 1862"/>
              <a:gd name="T96" fmla="*/ 540 w 658"/>
              <a:gd name="T97" fmla="*/ 82 h 1862"/>
              <a:gd name="T98" fmla="*/ 508 w 658"/>
              <a:gd name="T99" fmla="*/ 56 h 1862"/>
              <a:gd name="T100" fmla="*/ 470 w 658"/>
              <a:gd name="T101" fmla="*/ 34 h 1862"/>
              <a:gd name="T102" fmla="*/ 428 w 658"/>
              <a:gd name="T103" fmla="*/ 18 h 1862"/>
              <a:gd name="T104" fmla="*/ 378 w 658"/>
              <a:gd name="T105" fmla="*/ 6 h 1862"/>
              <a:gd name="T106" fmla="*/ 322 w 658"/>
              <a:gd name="T107" fmla="*/ 0 h 1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1862">
                <a:moveTo>
                  <a:pt x="322" y="0"/>
                </a:moveTo>
                <a:lnTo>
                  <a:pt x="322" y="0"/>
                </a:lnTo>
                <a:lnTo>
                  <a:pt x="294" y="2"/>
                </a:lnTo>
                <a:lnTo>
                  <a:pt x="264" y="8"/>
                </a:lnTo>
                <a:lnTo>
                  <a:pt x="226" y="18"/>
                </a:lnTo>
                <a:lnTo>
                  <a:pt x="206" y="24"/>
                </a:lnTo>
                <a:lnTo>
                  <a:pt x="184" y="32"/>
                </a:lnTo>
                <a:lnTo>
                  <a:pt x="162" y="44"/>
                </a:lnTo>
                <a:lnTo>
                  <a:pt x="140" y="56"/>
                </a:lnTo>
                <a:lnTo>
                  <a:pt x="120" y="70"/>
                </a:lnTo>
                <a:lnTo>
                  <a:pt x="98" y="88"/>
                </a:lnTo>
                <a:lnTo>
                  <a:pt x="80" y="108"/>
                </a:lnTo>
                <a:lnTo>
                  <a:pt x="62" y="130"/>
                </a:lnTo>
                <a:lnTo>
                  <a:pt x="294" y="130"/>
                </a:lnTo>
                <a:lnTo>
                  <a:pt x="294" y="130"/>
                </a:lnTo>
                <a:lnTo>
                  <a:pt x="322" y="128"/>
                </a:lnTo>
                <a:lnTo>
                  <a:pt x="322" y="128"/>
                </a:lnTo>
                <a:lnTo>
                  <a:pt x="344" y="130"/>
                </a:lnTo>
                <a:lnTo>
                  <a:pt x="364" y="134"/>
                </a:lnTo>
                <a:lnTo>
                  <a:pt x="386" y="140"/>
                </a:lnTo>
                <a:lnTo>
                  <a:pt x="406" y="148"/>
                </a:lnTo>
                <a:lnTo>
                  <a:pt x="424" y="158"/>
                </a:lnTo>
                <a:lnTo>
                  <a:pt x="442" y="170"/>
                </a:lnTo>
                <a:lnTo>
                  <a:pt x="458" y="184"/>
                </a:lnTo>
                <a:lnTo>
                  <a:pt x="474" y="200"/>
                </a:lnTo>
                <a:lnTo>
                  <a:pt x="486" y="216"/>
                </a:lnTo>
                <a:lnTo>
                  <a:pt x="498" y="234"/>
                </a:lnTo>
                <a:lnTo>
                  <a:pt x="508" y="252"/>
                </a:lnTo>
                <a:lnTo>
                  <a:pt x="516" y="272"/>
                </a:lnTo>
                <a:lnTo>
                  <a:pt x="520" y="292"/>
                </a:lnTo>
                <a:lnTo>
                  <a:pt x="524" y="314"/>
                </a:lnTo>
                <a:lnTo>
                  <a:pt x="524" y="336"/>
                </a:lnTo>
                <a:lnTo>
                  <a:pt x="522" y="358"/>
                </a:lnTo>
                <a:lnTo>
                  <a:pt x="522" y="358"/>
                </a:lnTo>
                <a:lnTo>
                  <a:pt x="516" y="384"/>
                </a:lnTo>
                <a:lnTo>
                  <a:pt x="506" y="410"/>
                </a:lnTo>
                <a:lnTo>
                  <a:pt x="496" y="434"/>
                </a:lnTo>
                <a:lnTo>
                  <a:pt x="482" y="456"/>
                </a:lnTo>
                <a:lnTo>
                  <a:pt x="468" y="476"/>
                </a:lnTo>
                <a:lnTo>
                  <a:pt x="450" y="496"/>
                </a:lnTo>
                <a:lnTo>
                  <a:pt x="432" y="512"/>
                </a:lnTo>
                <a:lnTo>
                  <a:pt x="414" y="528"/>
                </a:lnTo>
                <a:lnTo>
                  <a:pt x="394" y="544"/>
                </a:lnTo>
                <a:lnTo>
                  <a:pt x="372" y="556"/>
                </a:lnTo>
                <a:lnTo>
                  <a:pt x="350" y="568"/>
                </a:lnTo>
                <a:lnTo>
                  <a:pt x="328" y="580"/>
                </a:lnTo>
                <a:lnTo>
                  <a:pt x="282" y="598"/>
                </a:lnTo>
                <a:lnTo>
                  <a:pt x="238" y="612"/>
                </a:lnTo>
                <a:lnTo>
                  <a:pt x="238" y="612"/>
                </a:lnTo>
                <a:lnTo>
                  <a:pt x="216" y="618"/>
                </a:lnTo>
                <a:lnTo>
                  <a:pt x="194" y="626"/>
                </a:lnTo>
                <a:lnTo>
                  <a:pt x="174" y="636"/>
                </a:lnTo>
                <a:lnTo>
                  <a:pt x="152" y="646"/>
                </a:lnTo>
                <a:lnTo>
                  <a:pt x="132" y="656"/>
                </a:lnTo>
                <a:lnTo>
                  <a:pt x="112" y="670"/>
                </a:lnTo>
                <a:lnTo>
                  <a:pt x="94" y="684"/>
                </a:lnTo>
                <a:lnTo>
                  <a:pt x="76" y="698"/>
                </a:lnTo>
                <a:lnTo>
                  <a:pt x="60" y="714"/>
                </a:lnTo>
                <a:lnTo>
                  <a:pt x="46" y="732"/>
                </a:lnTo>
                <a:lnTo>
                  <a:pt x="32" y="750"/>
                </a:lnTo>
                <a:lnTo>
                  <a:pt x="22" y="770"/>
                </a:lnTo>
                <a:lnTo>
                  <a:pt x="12" y="792"/>
                </a:lnTo>
                <a:lnTo>
                  <a:pt x="6" y="812"/>
                </a:lnTo>
                <a:lnTo>
                  <a:pt x="2" y="836"/>
                </a:lnTo>
                <a:lnTo>
                  <a:pt x="0" y="860"/>
                </a:lnTo>
                <a:lnTo>
                  <a:pt x="0" y="1808"/>
                </a:lnTo>
                <a:lnTo>
                  <a:pt x="0" y="1808"/>
                </a:lnTo>
                <a:lnTo>
                  <a:pt x="2" y="1820"/>
                </a:lnTo>
                <a:lnTo>
                  <a:pt x="4" y="1830"/>
                </a:lnTo>
                <a:lnTo>
                  <a:pt x="10" y="1838"/>
                </a:lnTo>
                <a:lnTo>
                  <a:pt x="16" y="1846"/>
                </a:lnTo>
                <a:lnTo>
                  <a:pt x="24" y="1854"/>
                </a:lnTo>
                <a:lnTo>
                  <a:pt x="32" y="1858"/>
                </a:lnTo>
                <a:lnTo>
                  <a:pt x="42" y="1862"/>
                </a:lnTo>
                <a:lnTo>
                  <a:pt x="54" y="1862"/>
                </a:lnTo>
                <a:lnTo>
                  <a:pt x="604" y="1862"/>
                </a:lnTo>
                <a:lnTo>
                  <a:pt x="604" y="1862"/>
                </a:lnTo>
                <a:lnTo>
                  <a:pt x="616" y="1862"/>
                </a:lnTo>
                <a:lnTo>
                  <a:pt x="626" y="1858"/>
                </a:lnTo>
                <a:lnTo>
                  <a:pt x="634" y="1854"/>
                </a:lnTo>
                <a:lnTo>
                  <a:pt x="642" y="1846"/>
                </a:lnTo>
                <a:lnTo>
                  <a:pt x="650" y="1838"/>
                </a:lnTo>
                <a:lnTo>
                  <a:pt x="654" y="1830"/>
                </a:lnTo>
                <a:lnTo>
                  <a:pt x="658" y="1820"/>
                </a:lnTo>
                <a:lnTo>
                  <a:pt x="658" y="1808"/>
                </a:lnTo>
                <a:lnTo>
                  <a:pt x="658" y="860"/>
                </a:lnTo>
                <a:lnTo>
                  <a:pt x="658" y="326"/>
                </a:lnTo>
                <a:lnTo>
                  <a:pt x="658" y="326"/>
                </a:lnTo>
                <a:lnTo>
                  <a:pt x="656" y="312"/>
                </a:lnTo>
                <a:lnTo>
                  <a:pt x="650" y="276"/>
                </a:lnTo>
                <a:lnTo>
                  <a:pt x="644" y="252"/>
                </a:lnTo>
                <a:lnTo>
                  <a:pt x="636" y="226"/>
                </a:lnTo>
                <a:lnTo>
                  <a:pt x="624" y="198"/>
                </a:lnTo>
                <a:lnTo>
                  <a:pt x="608" y="168"/>
                </a:lnTo>
                <a:lnTo>
                  <a:pt x="590" y="138"/>
                </a:lnTo>
                <a:lnTo>
                  <a:pt x="568" y="108"/>
                </a:lnTo>
                <a:lnTo>
                  <a:pt x="554" y="94"/>
                </a:lnTo>
                <a:lnTo>
                  <a:pt x="540" y="82"/>
                </a:lnTo>
                <a:lnTo>
                  <a:pt x="524" y="68"/>
                </a:lnTo>
                <a:lnTo>
                  <a:pt x="508" y="56"/>
                </a:lnTo>
                <a:lnTo>
                  <a:pt x="490" y="46"/>
                </a:lnTo>
                <a:lnTo>
                  <a:pt x="470" y="34"/>
                </a:lnTo>
                <a:lnTo>
                  <a:pt x="450" y="26"/>
                </a:lnTo>
                <a:lnTo>
                  <a:pt x="428" y="18"/>
                </a:lnTo>
                <a:lnTo>
                  <a:pt x="404" y="12"/>
                </a:lnTo>
                <a:lnTo>
                  <a:pt x="378" y="6"/>
                </a:lnTo>
                <a:lnTo>
                  <a:pt x="352" y="2"/>
                </a:lnTo>
                <a:lnTo>
                  <a:pt x="32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127" name="Freeform 72"/>
          <p:cNvSpPr>
            <a:spLocks noEditPoints="1"/>
          </p:cNvSpPr>
          <p:nvPr/>
        </p:nvSpPr>
        <p:spPr bwMode="auto">
          <a:xfrm>
            <a:off x="3489214" y="2302486"/>
            <a:ext cx="552289" cy="264761"/>
          </a:xfrm>
          <a:custGeom>
            <a:avLst/>
            <a:gdLst>
              <a:gd name="T0" fmla="*/ 0 w 236"/>
              <a:gd name="T1" fmla="*/ 120 h 120"/>
              <a:gd name="T2" fmla="*/ 0 w 236"/>
              <a:gd name="T3" fmla="*/ 120 h 120"/>
              <a:gd name="T4" fmla="*/ 0 w 236"/>
              <a:gd name="T5" fmla="*/ 120 h 120"/>
              <a:gd name="T6" fmla="*/ 236 w 236"/>
              <a:gd name="T7" fmla="*/ 120 h 120"/>
              <a:gd name="T8" fmla="*/ 232 w 236"/>
              <a:gd name="T9" fmla="*/ 120 h 120"/>
              <a:gd name="T10" fmla="*/ 236 w 236"/>
              <a:gd name="T11" fmla="*/ 120 h 120"/>
              <a:gd name="T12" fmla="*/ 0 w 236"/>
              <a:gd name="T13" fmla="*/ 120 h 120"/>
              <a:gd name="T14" fmla="*/ 0 w 236"/>
              <a:gd name="T15" fmla="*/ 120 h 120"/>
              <a:gd name="T16" fmla="*/ 0 w 236"/>
              <a:gd name="T17" fmla="*/ 118 h 120"/>
              <a:gd name="T18" fmla="*/ 0 w 236"/>
              <a:gd name="T19" fmla="*/ 118 h 120"/>
              <a:gd name="T20" fmla="*/ 0 w 236"/>
              <a:gd name="T21" fmla="*/ 118 h 120"/>
              <a:gd name="T22" fmla="*/ 0 w 236"/>
              <a:gd name="T23" fmla="*/ 118 h 120"/>
              <a:gd name="T24" fmla="*/ 0 w 236"/>
              <a:gd name="T25" fmla="*/ 118 h 120"/>
              <a:gd name="T26" fmla="*/ 0 w 236"/>
              <a:gd name="T27" fmla="*/ 118 h 120"/>
              <a:gd name="T28" fmla="*/ 0 w 236"/>
              <a:gd name="T29" fmla="*/ 118 h 120"/>
              <a:gd name="T30" fmla="*/ 0 w 236"/>
              <a:gd name="T31" fmla="*/ 118 h 120"/>
              <a:gd name="T32" fmla="*/ 0 w 236"/>
              <a:gd name="T33" fmla="*/ 118 h 120"/>
              <a:gd name="T34" fmla="*/ 0 w 236"/>
              <a:gd name="T35" fmla="*/ 118 h 120"/>
              <a:gd name="T36" fmla="*/ 2 w 236"/>
              <a:gd name="T37" fmla="*/ 116 h 120"/>
              <a:gd name="T38" fmla="*/ 2 w 236"/>
              <a:gd name="T39" fmla="*/ 116 h 120"/>
              <a:gd name="T40" fmla="*/ 2 w 236"/>
              <a:gd name="T41" fmla="*/ 116 h 120"/>
              <a:gd name="T42" fmla="*/ 2 w 236"/>
              <a:gd name="T43" fmla="*/ 116 h 120"/>
              <a:gd name="T44" fmla="*/ 14 w 236"/>
              <a:gd name="T45" fmla="*/ 102 h 120"/>
              <a:gd name="T46" fmla="*/ 14 w 236"/>
              <a:gd name="T47" fmla="*/ 102 h 120"/>
              <a:gd name="T48" fmla="*/ 14 w 236"/>
              <a:gd name="T49" fmla="*/ 102 h 120"/>
              <a:gd name="T50" fmla="*/ 14 w 236"/>
              <a:gd name="T51" fmla="*/ 100 h 120"/>
              <a:gd name="T52" fmla="*/ 14 w 236"/>
              <a:gd name="T53" fmla="*/ 100 h 120"/>
              <a:gd name="T54" fmla="*/ 14 w 236"/>
              <a:gd name="T55" fmla="*/ 100 h 120"/>
              <a:gd name="T56" fmla="*/ 14 w 236"/>
              <a:gd name="T57" fmla="*/ 100 h 120"/>
              <a:gd name="T58" fmla="*/ 14 w 236"/>
              <a:gd name="T59" fmla="*/ 100 h 120"/>
              <a:gd name="T60" fmla="*/ 16 w 236"/>
              <a:gd name="T61" fmla="*/ 100 h 120"/>
              <a:gd name="T62" fmla="*/ 16 w 236"/>
              <a:gd name="T63" fmla="*/ 100 h 120"/>
              <a:gd name="T64" fmla="*/ 16 w 236"/>
              <a:gd name="T65" fmla="*/ 100 h 120"/>
              <a:gd name="T66" fmla="*/ 16 w 236"/>
              <a:gd name="T67" fmla="*/ 100 h 120"/>
              <a:gd name="T68" fmla="*/ 16 w 236"/>
              <a:gd name="T69" fmla="*/ 100 h 120"/>
              <a:gd name="T70" fmla="*/ 16 w 236"/>
              <a:gd name="T71" fmla="*/ 98 h 120"/>
              <a:gd name="T72" fmla="*/ 16 w 236"/>
              <a:gd name="T73" fmla="*/ 100 h 120"/>
              <a:gd name="T74" fmla="*/ 16 w 236"/>
              <a:gd name="T75" fmla="*/ 98 h 120"/>
              <a:gd name="T76" fmla="*/ 16 w 236"/>
              <a:gd name="T77" fmla="*/ 98 h 120"/>
              <a:gd name="T78" fmla="*/ 16 w 236"/>
              <a:gd name="T79" fmla="*/ 98 h 120"/>
              <a:gd name="T80" fmla="*/ 16 w 236"/>
              <a:gd name="T81" fmla="*/ 98 h 120"/>
              <a:gd name="T82" fmla="*/ 16 w 236"/>
              <a:gd name="T83" fmla="*/ 98 h 120"/>
              <a:gd name="T84" fmla="*/ 16 w 236"/>
              <a:gd name="T85" fmla="*/ 98 h 120"/>
              <a:gd name="T86" fmla="*/ 16 w 236"/>
              <a:gd name="T87" fmla="*/ 98 h 120"/>
              <a:gd name="T88" fmla="*/ 16 w 236"/>
              <a:gd name="T89" fmla="*/ 98 h 120"/>
              <a:gd name="T90" fmla="*/ 18 w 236"/>
              <a:gd name="T91" fmla="*/ 98 h 120"/>
              <a:gd name="T92" fmla="*/ 16 w 236"/>
              <a:gd name="T93" fmla="*/ 98 h 120"/>
              <a:gd name="T94" fmla="*/ 188 w 236"/>
              <a:gd name="T95" fmla="*/ 0 h 120"/>
              <a:gd name="T96" fmla="*/ 168 w 236"/>
              <a:gd name="T97" fmla="*/ 6 h 120"/>
              <a:gd name="T98" fmla="*/ 124 w 236"/>
              <a:gd name="T99" fmla="*/ 22 h 120"/>
              <a:gd name="T100" fmla="*/ 80 w 236"/>
              <a:gd name="T101" fmla="*/ 44 h 120"/>
              <a:gd name="T102" fmla="*/ 36 w 236"/>
              <a:gd name="T103" fmla="*/ 78 h 120"/>
              <a:gd name="T104" fmla="*/ 18 w 236"/>
              <a:gd name="T105" fmla="*/ 98 h 120"/>
              <a:gd name="T106" fmla="*/ 58 w 236"/>
              <a:gd name="T107" fmla="*/ 60 h 120"/>
              <a:gd name="T108" fmla="*/ 102 w 236"/>
              <a:gd name="T109" fmla="*/ 32 h 120"/>
              <a:gd name="T110" fmla="*/ 146 w 236"/>
              <a:gd name="T111" fmla="*/ 14 h 120"/>
              <a:gd name="T112" fmla="*/ 188 w 236"/>
              <a:gd name="T113" fmla="*/ 0 h 120"/>
              <a:gd name="T114" fmla="*/ 188 w 236"/>
              <a:gd name="T115" fmla="*/ 0 h 120"/>
              <a:gd name="T116" fmla="*/ 188 w 236"/>
              <a:gd name="T117"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6" h="120">
                <a:moveTo>
                  <a:pt x="0" y="120"/>
                </a:moveTo>
                <a:lnTo>
                  <a:pt x="0" y="120"/>
                </a:lnTo>
                <a:lnTo>
                  <a:pt x="0" y="120"/>
                </a:lnTo>
                <a:lnTo>
                  <a:pt x="0" y="120"/>
                </a:lnTo>
                <a:lnTo>
                  <a:pt x="0" y="120"/>
                </a:lnTo>
                <a:lnTo>
                  <a:pt x="0" y="120"/>
                </a:lnTo>
                <a:close/>
                <a:moveTo>
                  <a:pt x="236" y="120"/>
                </a:moveTo>
                <a:lnTo>
                  <a:pt x="236" y="120"/>
                </a:lnTo>
                <a:lnTo>
                  <a:pt x="232" y="120"/>
                </a:lnTo>
                <a:lnTo>
                  <a:pt x="232" y="120"/>
                </a:lnTo>
                <a:lnTo>
                  <a:pt x="236" y="120"/>
                </a:lnTo>
                <a:lnTo>
                  <a:pt x="236" y="120"/>
                </a:lnTo>
                <a:close/>
                <a:moveTo>
                  <a:pt x="0" y="120"/>
                </a:moveTo>
                <a:lnTo>
                  <a:pt x="0" y="120"/>
                </a:lnTo>
                <a:lnTo>
                  <a:pt x="0" y="120"/>
                </a:lnTo>
                <a:lnTo>
                  <a:pt x="0" y="120"/>
                </a:lnTo>
                <a:lnTo>
                  <a:pt x="0" y="120"/>
                </a:lnTo>
                <a:close/>
                <a:moveTo>
                  <a:pt x="0" y="118"/>
                </a:moveTo>
                <a:lnTo>
                  <a:pt x="0" y="118"/>
                </a:lnTo>
                <a:lnTo>
                  <a:pt x="0" y="118"/>
                </a:lnTo>
                <a:lnTo>
                  <a:pt x="0" y="118"/>
                </a:lnTo>
                <a:lnTo>
                  <a:pt x="0" y="118"/>
                </a:lnTo>
                <a:close/>
                <a:moveTo>
                  <a:pt x="0" y="118"/>
                </a:moveTo>
                <a:lnTo>
                  <a:pt x="0" y="118"/>
                </a:lnTo>
                <a:lnTo>
                  <a:pt x="0" y="118"/>
                </a:lnTo>
                <a:lnTo>
                  <a:pt x="0" y="118"/>
                </a:lnTo>
                <a:lnTo>
                  <a:pt x="0" y="118"/>
                </a:lnTo>
                <a:close/>
                <a:moveTo>
                  <a:pt x="0" y="118"/>
                </a:moveTo>
                <a:lnTo>
                  <a:pt x="0" y="118"/>
                </a:lnTo>
                <a:lnTo>
                  <a:pt x="0" y="118"/>
                </a:lnTo>
                <a:lnTo>
                  <a:pt x="0" y="118"/>
                </a:lnTo>
                <a:lnTo>
                  <a:pt x="0" y="118"/>
                </a:lnTo>
                <a:close/>
                <a:moveTo>
                  <a:pt x="0" y="118"/>
                </a:moveTo>
                <a:lnTo>
                  <a:pt x="0" y="118"/>
                </a:lnTo>
                <a:lnTo>
                  <a:pt x="0" y="118"/>
                </a:lnTo>
                <a:lnTo>
                  <a:pt x="0" y="118"/>
                </a:lnTo>
                <a:lnTo>
                  <a:pt x="0" y="118"/>
                </a:lnTo>
                <a:close/>
                <a:moveTo>
                  <a:pt x="2" y="116"/>
                </a:moveTo>
                <a:lnTo>
                  <a:pt x="2" y="116"/>
                </a:lnTo>
                <a:lnTo>
                  <a:pt x="2" y="116"/>
                </a:lnTo>
                <a:close/>
                <a:moveTo>
                  <a:pt x="2" y="116"/>
                </a:moveTo>
                <a:lnTo>
                  <a:pt x="2" y="116"/>
                </a:lnTo>
                <a:lnTo>
                  <a:pt x="2" y="116"/>
                </a:lnTo>
                <a:lnTo>
                  <a:pt x="2" y="116"/>
                </a:lnTo>
                <a:lnTo>
                  <a:pt x="2" y="116"/>
                </a:lnTo>
                <a:close/>
                <a:moveTo>
                  <a:pt x="14" y="102"/>
                </a:moveTo>
                <a:lnTo>
                  <a:pt x="14" y="102"/>
                </a:lnTo>
                <a:lnTo>
                  <a:pt x="14" y="102"/>
                </a:lnTo>
                <a:lnTo>
                  <a:pt x="14" y="102"/>
                </a:lnTo>
                <a:lnTo>
                  <a:pt x="14" y="102"/>
                </a:lnTo>
                <a:close/>
                <a:moveTo>
                  <a:pt x="14" y="100"/>
                </a:moveTo>
                <a:lnTo>
                  <a:pt x="14" y="100"/>
                </a:lnTo>
                <a:lnTo>
                  <a:pt x="14" y="100"/>
                </a:lnTo>
                <a:lnTo>
                  <a:pt x="14" y="100"/>
                </a:lnTo>
                <a:lnTo>
                  <a:pt x="14" y="100"/>
                </a:lnTo>
                <a:close/>
                <a:moveTo>
                  <a:pt x="14" y="100"/>
                </a:moveTo>
                <a:lnTo>
                  <a:pt x="14" y="100"/>
                </a:lnTo>
                <a:lnTo>
                  <a:pt x="14" y="100"/>
                </a:lnTo>
                <a:lnTo>
                  <a:pt x="14" y="100"/>
                </a:lnTo>
                <a:lnTo>
                  <a:pt x="14" y="100"/>
                </a:lnTo>
                <a:close/>
                <a:moveTo>
                  <a:pt x="16" y="100"/>
                </a:moveTo>
                <a:lnTo>
                  <a:pt x="16" y="100"/>
                </a:lnTo>
                <a:lnTo>
                  <a:pt x="16" y="100"/>
                </a:lnTo>
                <a:lnTo>
                  <a:pt x="16" y="100"/>
                </a:lnTo>
                <a:lnTo>
                  <a:pt x="16" y="100"/>
                </a:lnTo>
                <a:close/>
                <a:moveTo>
                  <a:pt x="16" y="100"/>
                </a:moveTo>
                <a:lnTo>
                  <a:pt x="16" y="100"/>
                </a:lnTo>
                <a:lnTo>
                  <a:pt x="16" y="100"/>
                </a:lnTo>
                <a:lnTo>
                  <a:pt x="16" y="100"/>
                </a:lnTo>
                <a:lnTo>
                  <a:pt x="16" y="100"/>
                </a:lnTo>
                <a:close/>
                <a:moveTo>
                  <a:pt x="16" y="98"/>
                </a:moveTo>
                <a:lnTo>
                  <a:pt x="16" y="98"/>
                </a:lnTo>
                <a:lnTo>
                  <a:pt x="16" y="100"/>
                </a:lnTo>
                <a:lnTo>
                  <a:pt x="16" y="100"/>
                </a:lnTo>
                <a:lnTo>
                  <a:pt x="16" y="98"/>
                </a:lnTo>
                <a:close/>
                <a:moveTo>
                  <a:pt x="16" y="98"/>
                </a:moveTo>
                <a:lnTo>
                  <a:pt x="16" y="98"/>
                </a:lnTo>
                <a:lnTo>
                  <a:pt x="16" y="98"/>
                </a:lnTo>
                <a:lnTo>
                  <a:pt x="16" y="98"/>
                </a:lnTo>
                <a:lnTo>
                  <a:pt x="16" y="98"/>
                </a:lnTo>
                <a:close/>
                <a:moveTo>
                  <a:pt x="16" y="98"/>
                </a:moveTo>
                <a:lnTo>
                  <a:pt x="16" y="98"/>
                </a:lnTo>
                <a:lnTo>
                  <a:pt x="16" y="98"/>
                </a:lnTo>
                <a:lnTo>
                  <a:pt x="16" y="98"/>
                </a:lnTo>
                <a:lnTo>
                  <a:pt x="16" y="98"/>
                </a:lnTo>
                <a:close/>
                <a:moveTo>
                  <a:pt x="16" y="98"/>
                </a:moveTo>
                <a:lnTo>
                  <a:pt x="16" y="98"/>
                </a:lnTo>
                <a:lnTo>
                  <a:pt x="16" y="98"/>
                </a:lnTo>
                <a:lnTo>
                  <a:pt x="16" y="98"/>
                </a:lnTo>
                <a:lnTo>
                  <a:pt x="16" y="98"/>
                </a:lnTo>
                <a:close/>
                <a:moveTo>
                  <a:pt x="18" y="98"/>
                </a:moveTo>
                <a:lnTo>
                  <a:pt x="18" y="98"/>
                </a:lnTo>
                <a:lnTo>
                  <a:pt x="16" y="98"/>
                </a:lnTo>
                <a:lnTo>
                  <a:pt x="16" y="98"/>
                </a:lnTo>
                <a:lnTo>
                  <a:pt x="18" y="98"/>
                </a:lnTo>
                <a:close/>
                <a:moveTo>
                  <a:pt x="188" y="0"/>
                </a:moveTo>
                <a:lnTo>
                  <a:pt x="188" y="0"/>
                </a:lnTo>
                <a:lnTo>
                  <a:pt x="168" y="6"/>
                </a:lnTo>
                <a:lnTo>
                  <a:pt x="146" y="14"/>
                </a:lnTo>
                <a:lnTo>
                  <a:pt x="124" y="22"/>
                </a:lnTo>
                <a:lnTo>
                  <a:pt x="102" y="32"/>
                </a:lnTo>
                <a:lnTo>
                  <a:pt x="80" y="44"/>
                </a:lnTo>
                <a:lnTo>
                  <a:pt x="58" y="60"/>
                </a:lnTo>
                <a:lnTo>
                  <a:pt x="36" y="78"/>
                </a:lnTo>
                <a:lnTo>
                  <a:pt x="18" y="98"/>
                </a:lnTo>
                <a:lnTo>
                  <a:pt x="18" y="98"/>
                </a:lnTo>
                <a:lnTo>
                  <a:pt x="36" y="78"/>
                </a:lnTo>
                <a:lnTo>
                  <a:pt x="58" y="60"/>
                </a:lnTo>
                <a:lnTo>
                  <a:pt x="80" y="44"/>
                </a:lnTo>
                <a:lnTo>
                  <a:pt x="102" y="32"/>
                </a:lnTo>
                <a:lnTo>
                  <a:pt x="124" y="22"/>
                </a:lnTo>
                <a:lnTo>
                  <a:pt x="146" y="14"/>
                </a:lnTo>
                <a:lnTo>
                  <a:pt x="168" y="6"/>
                </a:lnTo>
                <a:lnTo>
                  <a:pt x="188" y="0"/>
                </a:lnTo>
                <a:close/>
                <a:moveTo>
                  <a:pt x="188" y="0"/>
                </a:moveTo>
                <a:lnTo>
                  <a:pt x="188" y="0"/>
                </a:lnTo>
                <a:lnTo>
                  <a:pt x="188" y="0"/>
                </a:lnTo>
                <a:lnTo>
                  <a:pt x="188" y="0"/>
                </a:lnTo>
                <a:lnTo>
                  <a:pt x="188" y="0"/>
                </a:lnTo>
                <a:close/>
              </a:path>
            </a:pathLst>
          </a:custGeom>
          <a:solidFill>
            <a:srgbClr val="F79F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128" name="Freeform 73"/>
          <p:cNvSpPr>
            <a:spLocks/>
          </p:cNvSpPr>
          <p:nvPr/>
        </p:nvSpPr>
        <p:spPr bwMode="auto">
          <a:xfrm>
            <a:off x="3489214" y="2567245"/>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129" name="Freeform 74"/>
          <p:cNvSpPr>
            <a:spLocks/>
          </p:cNvSpPr>
          <p:nvPr/>
        </p:nvSpPr>
        <p:spPr bwMode="auto">
          <a:xfrm>
            <a:off x="4032142" y="2567245"/>
            <a:ext cx="9361" cy="0"/>
          </a:xfrm>
          <a:custGeom>
            <a:avLst/>
            <a:gdLst>
              <a:gd name="T0" fmla="*/ 4 w 4"/>
              <a:gd name="T1" fmla="*/ 4 w 4"/>
              <a:gd name="T2" fmla="*/ 0 w 4"/>
              <a:gd name="T3" fmla="*/ 0 w 4"/>
              <a:gd name="T4" fmla="*/ 4 w 4"/>
              <a:gd name="T5" fmla="*/ 4 w 4"/>
            </a:gdLst>
            <a:ahLst/>
            <a:cxnLst>
              <a:cxn ang="0">
                <a:pos x="T0" y="0"/>
              </a:cxn>
              <a:cxn ang="0">
                <a:pos x="T1" y="0"/>
              </a:cxn>
              <a:cxn ang="0">
                <a:pos x="T2" y="0"/>
              </a:cxn>
              <a:cxn ang="0">
                <a:pos x="T3" y="0"/>
              </a:cxn>
              <a:cxn ang="0">
                <a:pos x="T4" y="0"/>
              </a:cxn>
              <a:cxn ang="0">
                <a:pos x="T5" y="0"/>
              </a:cxn>
            </a:cxnLst>
            <a:rect l="0" t="0" r="r" b="b"/>
            <a:pathLst>
              <a:path w="4">
                <a:moveTo>
                  <a:pt x="4" y="0"/>
                </a:moveTo>
                <a:lnTo>
                  <a:pt x="4" y="0"/>
                </a:lnTo>
                <a:lnTo>
                  <a:pt x="0" y="0"/>
                </a:lnTo>
                <a:lnTo>
                  <a:pt x="0" y="0"/>
                </a:lnTo>
                <a:lnTo>
                  <a:pt x="4" y="0"/>
                </a:lnTo>
                <a:lnTo>
                  <a:pt x="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130" name="Rectangle 75"/>
          <p:cNvSpPr>
            <a:spLocks noChangeArrowheads="1"/>
          </p:cNvSpPr>
          <p:nvPr/>
        </p:nvSpPr>
        <p:spPr bwMode="auto">
          <a:xfrm>
            <a:off x="3489214" y="2567246"/>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31" name="Rectangle 76"/>
          <p:cNvSpPr>
            <a:spLocks noChangeArrowheads="1"/>
          </p:cNvSpPr>
          <p:nvPr/>
        </p:nvSpPr>
        <p:spPr bwMode="auto">
          <a:xfrm>
            <a:off x="3489214" y="2562833"/>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32" name="Rectangle 77"/>
          <p:cNvSpPr>
            <a:spLocks noChangeArrowheads="1"/>
          </p:cNvSpPr>
          <p:nvPr/>
        </p:nvSpPr>
        <p:spPr bwMode="auto">
          <a:xfrm>
            <a:off x="3489214" y="2562833"/>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33" name="Rectangle 78"/>
          <p:cNvSpPr>
            <a:spLocks noChangeArrowheads="1"/>
          </p:cNvSpPr>
          <p:nvPr/>
        </p:nvSpPr>
        <p:spPr bwMode="auto">
          <a:xfrm>
            <a:off x="3489214" y="2562833"/>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34" name="Rectangle 79"/>
          <p:cNvSpPr>
            <a:spLocks noChangeArrowheads="1"/>
          </p:cNvSpPr>
          <p:nvPr/>
        </p:nvSpPr>
        <p:spPr bwMode="auto">
          <a:xfrm>
            <a:off x="3489214" y="2562833"/>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35" name="Freeform 80"/>
          <p:cNvSpPr>
            <a:spLocks/>
          </p:cNvSpPr>
          <p:nvPr/>
        </p:nvSpPr>
        <p:spPr bwMode="auto">
          <a:xfrm>
            <a:off x="3493894" y="2558419"/>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136" name="Rectangle 81"/>
          <p:cNvSpPr>
            <a:spLocks noChangeArrowheads="1"/>
          </p:cNvSpPr>
          <p:nvPr/>
        </p:nvSpPr>
        <p:spPr bwMode="auto">
          <a:xfrm>
            <a:off x="3493894" y="2558419"/>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37" name="Rectangle 82"/>
          <p:cNvSpPr>
            <a:spLocks noChangeArrowheads="1"/>
          </p:cNvSpPr>
          <p:nvPr/>
        </p:nvSpPr>
        <p:spPr bwMode="auto">
          <a:xfrm>
            <a:off x="3521978" y="2527530"/>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38" name="Rectangle 83"/>
          <p:cNvSpPr>
            <a:spLocks noChangeArrowheads="1"/>
          </p:cNvSpPr>
          <p:nvPr/>
        </p:nvSpPr>
        <p:spPr bwMode="auto">
          <a:xfrm>
            <a:off x="3521978" y="2523119"/>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39" name="Rectangle 84"/>
          <p:cNvSpPr>
            <a:spLocks noChangeArrowheads="1"/>
          </p:cNvSpPr>
          <p:nvPr/>
        </p:nvSpPr>
        <p:spPr bwMode="auto">
          <a:xfrm>
            <a:off x="3521978" y="2523119"/>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40" name="Rectangle 85"/>
          <p:cNvSpPr>
            <a:spLocks noChangeArrowheads="1"/>
          </p:cNvSpPr>
          <p:nvPr/>
        </p:nvSpPr>
        <p:spPr bwMode="auto">
          <a:xfrm>
            <a:off x="3526658" y="2523119"/>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41" name="Rectangle 86"/>
          <p:cNvSpPr>
            <a:spLocks noChangeArrowheads="1"/>
          </p:cNvSpPr>
          <p:nvPr/>
        </p:nvSpPr>
        <p:spPr bwMode="auto">
          <a:xfrm>
            <a:off x="3526658" y="2523119"/>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42" name="Rectangle 87"/>
          <p:cNvSpPr>
            <a:spLocks noChangeArrowheads="1"/>
          </p:cNvSpPr>
          <p:nvPr/>
        </p:nvSpPr>
        <p:spPr bwMode="auto">
          <a:xfrm>
            <a:off x="3526658" y="2518708"/>
            <a:ext cx="2341" cy="4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43" name="Rectangle 88"/>
          <p:cNvSpPr>
            <a:spLocks noChangeArrowheads="1"/>
          </p:cNvSpPr>
          <p:nvPr/>
        </p:nvSpPr>
        <p:spPr bwMode="auto">
          <a:xfrm>
            <a:off x="3526658" y="2518705"/>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44" name="Rectangle 89"/>
          <p:cNvSpPr>
            <a:spLocks noChangeArrowheads="1"/>
          </p:cNvSpPr>
          <p:nvPr/>
        </p:nvSpPr>
        <p:spPr bwMode="auto">
          <a:xfrm>
            <a:off x="3526658" y="2518705"/>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45" name="Rectangle 90"/>
          <p:cNvSpPr>
            <a:spLocks noChangeArrowheads="1"/>
          </p:cNvSpPr>
          <p:nvPr/>
        </p:nvSpPr>
        <p:spPr bwMode="auto">
          <a:xfrm>
            <a:off x="3526658" y="2518705"/>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46" name="Rectangle 91"/>
          <p:cNvSpPr>
            <a:spLocks noChangeArrowheads="1"/>
          </p:cNvSpPr>
          <p:nvPr/>
        </p:nvSpPr>
        <p:spPr bwMode="auto">
          <a:xfrm>
            <a:off x="3526660" y="2518705"/>
            <a:ext cx="4680"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47" name="Freeform 92"/>
          <p:cNvSpPr>
            <a:spLocks/>
          </p:cNvSpPr>
          <p:nvPr/>
        </p:nvSpPr>
        <p:spPr bwMode="auto">
          <a:xfrm>
            <a:off x="3531337" y="2302486"/>
            <a:ext cx="397836" cy="216222"/>
          </a:xfrm>
          <a:custGeom>
            <a:avLst/>
            <a:gdLst>
              <a:gd name="T0" fmla="*/ 170 w 170"/>
              <a:gd name="T1" fmla="*/ 0 h 98"/>
              <a:gd name="T2" fmla="*/ 170 w 170"/>
              <a:gd name="T3" fmla="*/ 0 h 98"/>
              <a:gd name="T4" fmla="*/ 150 w 170"/>
              <a:gd name="T5" fmla="*/ 6 h 98"/>
              <a:gd name="T6" fmla="*/ 128 w 170"/>
              <a:gd name="T7" fmla="*/ 14 h 98"/>
              <a:gd name="T8" fmla="*/ 106 w 170"/>
              <a:gd name="T9" fmla="*/ 22 h 98"/>
              <a:gd name="T10" fmla="*/ 84 w 170"/>
              <a:gd name="T11" fmla="*/ 32 h 98"/>
              <a:gd name="T12" fmla="*/ 62 w 170"/>
              <a:gd name="T13" fmla="*/ 44 h 98"/>
              <a:gd name="T14" fmla="*/ 40 w 170"/>
              <a:gd name="T15" fmla="*/ 60 h 98"/>
              <a:gd name="T16" fmla="*/ 18 w 170"/>
              <a:gd name="T17" fmla="*/ 78 h 98"/>
              <a:gd name="T18" fmla="*/ 0 w 170"/>
              <a:gd name="T19" fmla="*/ 98 h 98"/>
              <a:gd name="T20" fmla="*/ 0 w 170"/>
              <a:gd name="T21" fmla="*/ 98 h 98"/>
              <a:gd name="T22" fmla="*/ 18 w 170"/>
              <a:gd name="T23" fmla="*/ 78 h 98"/>
              <a:gd name="T24" fmla="*/ 40 w 170"/>
              <a:gd name="T25" fmla="*/ 60 h 98"/>
              <a:gd name="T26" fmla="*/ 62 w 170"/>
              <a:gd name="T27" fmla="*/ 44 h 98"/>
              <a:gd name="T28" fmla="*/ 84 w 170"/>
              <a:gd name="T29" fmla="*/ 32 h 98"/>
              <a:gd name="T30" fmla="*/ 106 w 170"/>
              <a:gd name="T31" fmla="*/ 22 h 98"/>
              <a:gd name="T32" fmla="*/ 128 w 170"/>
              <a:gd name="T33" fmla="*/ 14 h 98"/>
              <a:gd name="T34" fmla="*/ 150 w 170"/>
              <a:gd name="T35" fmla="*/ 6 h 98"/>
              <a:gd name="T36" fmla="*/ 170 w 170"/>
              <a:gd name="T37" fmla="*/ 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70" h="98">
                <a:moveTo>
                  <a:pt x="170" y="0"/>
                </a:moveTo>
                <a:lnTo>
                  <a:pt x="170" y="0"/>
                </a:lnTo>
                <a:lnTo>
                  <a:pt x="150" y="6"/>
                </a:lnTo>
                <a:lnTo>
                  <a:pt x="128" y="14"/>
                </a:lnTo>
                <a:lnTo>
                  <a:pt x="106" y="22"/>
                </a:lnTo>
                <a:lnTo>
                  <a:pt x="84" y="32"/>
                </a:lnTo>
                <a:lnTo>
                  <a:pt x="62" y="44"/>
                </a:lnTo>
                <a:lnTo>
                  <a:pt x="40" y="60"/>
                </a:lnTo>
                <a:lnTo>
                  <a:pt x="18" y="78"/>
                </a:lnTo>
                <a:lnTo>
                  <a:pt x="0" y="98"/>
                </a:lnTo>
                <a:lnTo>
                  <a:pt x="0" y="98"/>
                </a:lnTo>
                <a:lnTo>
                  <a:pt x="18" y="78"/>
                </a:lnTo>
                <a:lnTo>
                  <a:pt x="40" y="60"/>
                </a:lnTo>
                <a:lnTo>
                  <a:pt x="62" y="44"/>
                </a:lnTo>
                <a:lnTo>
                  <a:pt x="84" y="32"/>
                </a:lnTo>
                <a:lnTo>
                  <a:pt x="106" y="22"/>
                </a:lnTo>
                <a:lnTo>
                  <a:pt x="128" y="14"/>
                </a:lnTo>
                <a:lnTo>
                  <a:pt x="150" y="6"/>
                </a:lnTo>
                <a:lnTo>
                  <a:pt x="17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148" name="Rectangle 93"/>
          <p:cNvSpPr>
            <a:spLocks noChangeArrowheads="1"/>
          </p:cNvSpPr>
          <p:nvPr/>
        </p:nvSpPr>
        <p:spPr bwMode="auto">
          <a:xfrm>
            <a:off x="3929175" y="2302483"/>
            <a:ext cx="2341" cy="2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4287" tIns="52144" rIns="104287" bIns="52144" numCol="1" anchor="t" anchorCtr="0" compatLnSpc="1">
            <a:prstTxWarp prst="textNoShape">
              <a:avLst/>
            </a:prstTxWarp>
          </a:bodyPr>
          <a:lstStyle/>
          <a:p>
            <a:pPr defTabSz="1042872"/>
            <a:endParaRPr lang="en-GB" altLang="zh-CN" sz="2800" dirty="0">
              <a:solidFill>
                <a:srgbClr val="000000"/>
              </a:solidFill>
              <a:latin typeface="+mj-lt"/>
            </a:endParaRPr>
          </a:p>
        </p:txBody>
      </p:sp>
      <p:sp>
        <p:nvSpPr>
          <p:cNvPr id="149" name="Freeform 98"/>
          <p:cNvSpPr>
            <a:spLocks/>
          </p:cNvSpPr>
          <p:nvPr/>
        </p:nvSpPr>
        <p:spPr bwMode="auto">
          <a:xfrm>
            <a:off x="1300566" y="2260307"/>
            <a:ext cx="1787730" cy="4765964"/>
          </a:xfrm>
          <a:custGeom>
            <a:avLst/>
            <a:gdLst>
              <a:gd name="T0" fmla="*/ 322 w 658"/>
              <a:gd name="T1" fmla="*/ 0 h 1862"/>
              <a:gd name="T2" fmla="*/ 264 w 658"/>
              <a:gd name="T3" fmla="*/ 8 h 1862"/>
              <a:gd name="T4" fmla="*/ 206 w 658"/>
              <a:gd name="T5" fmla="*/ 24 h 1862"/>
              <a:gd name="T6" fmla="*/ 162 w 658"/>
              <a:gd name="T7" fmla="*/ 44 h 1862"/>
              <a:gd name="T8" fmla="*/ 120 w 658"/>
              <a:gd name="T9" fmla="*/ 70 h 1862"/>
              <a:gd name="T10" fmla="*/ 80 w 658"/>
              <a:gd name="T11" fmla="*/ 108 h 1862"/>
              <a:gd name="T12" fmla="*/ 294 w 658"/>
              <a:gd name="T13" fmla="*/ 130 h 1862"/>
              <a:gd name="T14" fmla="*/ 322 w 658"/>
              <a:gd name="T15" fmla="*/ 128 h 1862"/>
              <a:gd name="T16" fmla="*/ 344 w 658"/>
              <a:gd name="T17" fmla="*/ 130 h 1862"/>
              <a:gd name="T18" fmla="*/ 386 w 658"/>
              <a:gd name="T19" fmla="*/ 140 h 1862"/>
              <a:gd name="T20" fmla="*/ 424 w 658"/>
              <a:gd name="T21" fmla="*/ 158 h 1862"/>
              <a:gd name="T22" fmla="*/ 458 w 658"/>
              <a:gd name="T23" fmla="*/ 184 h 1862"/>
              <a:gd name="T24" fmla="*/ 486 w 658"/>
              <a:gd name="T25" fmla="*/ 216 h 1862"/>
              <a:gd name="T26" fmla="*/ 508 w 658"/>
              <a:gd name="T27" fmla="*/ 252 h 1862"/>
              <a:gd name="T28" fmla="*/ 520 w 658"/>
              <a:gd name="T29" fmla="*/ 292 h 1862"/>
              <a:gd name="T30" fmla="*/ 524 w 658"/>
              <a:gd name="T31" fmla="*/ 336 h 1862"/>
              <a:gd name="T32" fmla="*/ 522 w 658"/>
              <a:gd name="T33" fmla="*/ 358 h 1862"/>
              <a:gd name="T34" fmla="*/ 506 w 658"/>
              <a:gd name="T35" fmla="*/ 410 h 1862"/>
              <a:gd name="T36" fmla="*/ 482 w 658"/>
              <a:gd name="T37" fmla="*/ 456 h 1862"/>
              <a:gd name="T38" fmla="*/ 450 w 658"/>
              <a:gd name="T39" fmla="*/ 496 h 1862"/>
              <a:gd name="T40" fmla="*/ 414 w 658"/>
              <a:gd name="T41" fmla="*/ 528 h 1862"/>
              <a:gd name="T42" fmla="*/ 372 w 658"/>
              <a:gd name="T43" fmla="*/ 556 h 1862"/>
              <a:gd name="T44" fmla="*/ 328 w 658"/>
              <a:gd name="T45" fmla="*/ 580 h 1862"/>
              <a:gd name="T46" fmla="*/ 238 w 658"/>
              <a:gd name="T47" fmla="*/ 612 h 1862"/>
              <a:gd name="T48" fmla="*/ 216 w 658"/>
              <a:gd name="T49" fmla="*/ 618 h 1862"/>
              <a:gd name="T50" fmla="*/ 174 w 658"/>
              <a:gd name="T51" fmla="*/ 636 h 1862"/>
              <a:gd name="T52" fmla="*/ 132 w 658"/>
              <a:gd name="T53" fmla="*/ 656 h 1862"/>
              <a:gd name="T54" fmla="*/ 94 w 658"/>
              <a:gd name="T55" fmla="*/ 684 h 1862"/>
              <a:gd name="T56" fmla="*/ 60 w 658"/>
              <a:gd name="T57" fmla="*/ 714 h 1862"/>
              <a:gd name="T58" fmla="*/ 32 w 658"/>
              <a:gd name="T59" fmla="*/ 750 h 1862"/>
              <a:gd name="T60" fmla="*/ 12 w 658"/>
              <a:gd name="T61" fmla="*/ 792 h 1862"/>
              <a:gd name="T62" fmla="*/ 2 w 658"/>
              <a:gd name="T63" fmla="*/ 836 h 1862"/>
              <a:gd name="T64" fmla="*/ 0 w 658"/>
              <a:gd name="T65" fmla="*/ 1808 h 1862"/>
              <a:gd name="T66" fmla="*/ 0 w 658"/>
              <a:gd name="T67" fmla="*/ 1820 h 1862"/>
              <a:gd name="T68" fmla="*/ 8 w 658"/>
              <a:gd name="T69" fmla="*/ 1838 h 1862"/>
              <a:gd name="T70" fmla="*/ 24 w 658"/>
              <a:gd name="T71" fmla="*/ 1854 h 1862"/>
              <a:gd name="T72" fmla="*/ 42 w 658"/>
              <a:gd name="T73" fmla="*/ 1862 h 1862"/>
              <a:gd name="T74" fmla="*/ 604 w 658"/>
              <a:gd name="T75" fmla="*/ 1862 h 1862"/>
              <a:gd name="T76" fmla="*/ 616 w 658"/>
              <a:gd name="T77" fmla="*/ 1862 h 1862"/>
              <a:gd name="T78" fmla="*/ 634 w 658"/>
              <a:gd name="T79" fmla="*/ 1854 h 1862"/>
              <a:gd name="T80" fmla="*/ 648 w 658"/>
              <a:gd name="T81" fmla="*/ 1838 h 1862"/>
              <a:gd name="T82" fmla="*/ 656 w 658"/>
              <a:gd name="T83" fmla="*/ 1820 h 1862"/>
              <a:gd name="T84" fmla="*/ 658 w 658"/>
              <a:gd name="T85" fmla="*/ 860 h 1862"/>
              <a:gd name="T86" fmla="*/ 658 w 658"/>
              <a:gd name="T87" fmla="*/ 326 h 1862"/>
              <a:gd name="T88" fmla="*/ 650 w 658"/>
              <a:gd name="T89" fmla="*/ 276 h 1862"/>
              <a:gd name="T90" fmla="*/ 636 w 658"/>
              <a:gd name="T91" fmla="*/ 226 h 1862"/>
              <a:gd name="T92" fmla="*/ 608 w 658"/>
              <a:gd name="T93" fmla="*/ 168 h 1862"/>
              <a:gd name="T94" fmla="*/ 568 w 658"/>
              <a:gd name="T95" fmla="*/ 108 h 1862"/>
              <a:gd name="T96" fmla="*/ 540 w 658"/>
              <a:gd name="T97" fmla="*/ 82 h 1862"/>
              <a:gd name="T98" fmla="*/ 508 w 658"/>
              <a:gd name="T99" fmla="*/ 56 h 1862"/>
              <a:gd name="T100" fmla="*/ 470 w 658"/>
              <a:gd name="T101" fmla="*/ 34 h 1862"/>
              <a:gd name="T102" fmla="*/ 428 w 658"/>
              <a:gd name="T103" fmla="*/ 18 h 1862"/>
              <a:gd name="T104" fmla="*/ 378 w 658"/>
              <a:gd name="T105" fmla="*/ 6 h 1862"/>
              <a:gd name="T106" fmla="*/ 322 w 658"/>
              <a:gd name="T107" fmla="*/ 0 h 1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1862">
                <a:moveTo>
                  <a:pt x="322" y="0"/>
                </a:moveTo>
                <a:lnTo>
                  <a:pt x="322" y="0"/>
                </a:lnTo>
                <a:lnTo>
                  <a:pt x="294" y="2"/>
                </a:lnTo>
                <a:lnTo>
                  <a:pt x="264" y="8"/>
                </a:lnTo>
                <a:lnTo>
                  <a:pt x="226" y="18"/>
                </a:lnTo>
                <a:lnTo>
                  <a:pt x="206" y="24"/>
                </a:lnTo>
                <a:lnTo>
                  <a:pt x="184" y="32"/>
                </a:lnTo>
                <a:lnTo>
                  <a:pt x="162" y="44"/>
                </a:lnTo>
                <a:lnTo>
                  <a:pt x="140" y="56"/>
                </a:lnTo>
                <a:lnTo>
                  <a:pt x="120" y="70"/>
                </a:lnTo>
                <a:lnTo>
                  <a:pt x="98" y="88"/>
                </a:lnTo>
                <a:lnTo>
                  <a:pt x="80" y="108"/>
                </a:lnTo>
                <a:lnTo>
                  <a:pt x="62" y="130"/>
                </a:lnTo>
                <a:lnTo>
                  <a:pt x="294" y="130"/>
                </a:lnTo>
                <a:lnTo>
                  <a:pt x="294" y="130"/>
                </a:lnTo>
                <a:lnTo>
                  <a:pt x="322" y="128"/>
                </a:lnTo>
                <a:lnTo>
                  <a:pt x="322" y="128"/>
                </a:lnTo>
                <a:lnTo>
                  <a:pt x="344" y="130"/>
                </a:lnTo>
                <a:lnTo>
                  <a:pt x="364" y="134"/>
                </a:lnTo>
                <a:lnTo>
                  <a:pt x="386" y="140"/>
                </a:lnTo>
                <a:lnTo>
                  <a:pt x="404" y="148"/>
                </a:lnTo>
                <a:lnTo>
                  <a:pt x="424" y="158"/>
                </a:lnTo>
                <a:lnTo>
                  <a:pt x="442" y="170"/>
                </a:lnTo>
                <a:lnTo>
                  <a:pt x="458" y="184"/>
                </a:lnTo>
                <a:lnTo>
                  <a:pt x="472" y="200"/>
                </a:lnTo>
                <a:lnTo>
                  <a:pt x="486" y="216"/>
                </a:lnTo>
                <a:lnTo>
                  <a:pt x="498" y="234"/>
                </a:lnTo>
                <a:lnTo>
                  <a:pt x="508" y="252"/>
                </a:lnTo>
                <a:lnTo>
                  <a:pt x="516" y="272"/>
                </a:lnTo>
                <a:lnTo>
                  <a:pt x="520" y="292"/>
                </a:lnTo>
                <a:lnTo>
                  <a:pt x="524" y="314"/>
                </a:lnTo>
                <a:lnTo>
                  <a:pt x="524" y="336"/>
                </a:lnTo>
                <a:lnTo>
                  <a:pt x="522" y="358"/>
                </a:lnTo>
                <a:lnTo>
                  <a:pt x="522" y="358"/>
                </a:lnTo>
                <a:lnTo>
                  <a:pt x="514" y="384"/>
                </a:lnTo>
                <a:lnTo>
                  <a:pt x="506" y="410"/>
                </a:lnTo>
                <a:lnTo>
                  <a:pt x="496" y="434"/>
                </a:lnTo>
                <a:lnTo>
                  <a:pt x="482" y="456"/>
                </a:lnTo>
                <a:lnTo>
                  <a:pt x="468" y="476"/>
                </a:lnTo>
                <a:lnTo>
                  <a:pt x="450" y="496"/>
                </a:lnTo>
                <a:lnTo>
                  <a:pt x="432" y="512"/>
                </a:lnTo>
                <a:lnTo>
                  <a:pt x="414" y="528"/>
                </a:lnTo>
                <a:lnTo>
                  <a:pt x="394" y="544"/>
                </a:lnTo>
                <a:lnTo>
                  <a:pt x="372" y="556"/>
                </a:lnTo>
                <a:lnTo>
                  <a:pt x="350" y="568"/>
                </a:lnTo>
                <a:lnTo>
                  <a:pt x="328" y="580"/>
                </a:lnTo>
                <a:lnTo>
                  <a:pt x="282" y="598"/>
                </a:lnTo>
                <a:lnTo>
                  <a:pt x="238" y="612"/>
                </a:lnTo>
                <a:lnTo>
                  <a:pt x="238" y="612"/>
                </a:lnTo>
                <a:lnTo>
                  <a:pt x="216" y="618"/>
                </a:lnTo>
                <a:lnTo>
                  <a:pt x="194" y="626"/>
                </a:lnTo>
                <a:lnTo>
                  <a:pt x="174" y="636"/>
                </a:lnTo>
                <a:lnTo>
                  <a:pt x="152" y="646"/>
                </a:lnTo>
                <a:lnTo>
                  <a:pt x="132" y="656"/>
                </a:lnTo>
                <a:lnTo>
                  <a:pt x="112" y="670"/>
                </a:lnTo>
                <a:lnTo>
                  <a:pt x="94" y="684"/>
                </a:lnTo>
                <a:lnTo>
                  <a:pt x="76" y="698"/>
                </a:lnTo>
                <a:lnTo>
                  <a:pt x="60" y="714"/>
                </a:lnTo>
                <a:lnTo>
                  <a:pt x="44" y="732"/>
                </a:lnTo>
                <a:lnTo>
                  <a:pt x="32" y="750"/>
                </a:lnTo>
                <a:lnTo>
                  <a:pt x="20" y="770"/>
                </a:lnTo>
                <a:lnTo>
                  <a:pt x="12" y="792"/>
                </a:lnTo>
                <a:lnTo>
                  <a:pt x="6" y="812"/>
                </a:lnTo>
                <a:lnTo>
                  <a:pt x="2" y="836"/>
                </a:lnTo>
                <a:lnTo>
                  <a:pt x="0" y="860"/>
                </a:lnTo>
                <a:lnTo>
                  <a:pt x="0" y="1808"/>
                </a:lnTo>
                <a:lnTo>
                  <a:pt x="0" y="1808"/>
                </a:lnTo>
                <a:lnTo>
                  <a:pt x="0" y="1820"/>
                </a:lnTo>
                <a:lnTo>
                  <a:pt x="4" y="1830"/>
                </a:lnTo>
                <a:lnTo>
                  <a:pt x="8" y="1838"/>
                </a:lnTo>
                <a:lnTo>
                  <a:pt x="16" y="1846"/>
                </a:lnTo>
                <a:lnTo>
                  <a:pt x="24" y="1854"/>
                </a:lnTo>
                <a:lnTo>
                  <a:pt x="32" y="1858"/>
                </a:lnTo>
                <a:lnTo>
                  <a:pt x="42" y="1862"/>
                </a:lnTo>
                <a:lnTo>
                  <a:pt x="54" y="1862"/>
                </a:lnTo>
                <a:lnTo>
                  <a:pt x="604" y="1862"/>
                </a:lnTo>
                <a:lnTo>
                  <a:pt x="604" y="1862"/>
                </a:lnTo>
                <a:lnTo>
                  <a:pt x="616" y="1862"/>
                </a:lnTo>
                <a:lnTo>
                  <a:pt x="626" y="1858"/>
                </a:lnTo>
                <a:lnTo>
                  <a:pt x="634" y="1854"/>
                </a:lnTo>
                <a:lnTo>
                  <a:pt x="642" y="1846"/>
                </a:lnTo>
                <a:lnTo>
                  <a:pt x="648" y="1838"/>
                </a:lnTo>
                <a:lnTo>
                  <a:pt x="654" y="1830"/>
                </a:lnTo>
                <a:lnTo>
                  <a:pt x="656" y="1820"/>
                </a:lnTo>
                <a:lnTo>
                  <a:pt x="658" y="1808"/>
                </a:lnTo>
                <a:lnTo>
                  <a:pt x="658" y="860"/>
                </a:lnTo>
                <a:lnTo>
                  <a:pt x="658" y="326"/>
                </a:lnTo>
                <a:lnTo>
                  <a:pt x="658" y="326"/>
                </a:lnTo>
                <a:lnTo>
                  <a:pt x="656" y="312"/>
                </a:lnTo>
                <a:lnTo>
                  <a:pt x="650" y="276"/>
                </a:lnTo>
                <a:lnTo>
                  <a:pt x="644" y="252"/>
                </a:lnTo>
                <a:lnTo>
                  <a:pt x="636" y="226"/>
                </a:lnTo>
                <a:lnTo>
                  <a:pt x="624" y="198"/>
                </a:lnTo>
                <a:lnTo>
                  <a:pt x="608" y="168"/>
                </a:lnTo>
                <a:lnTo>
                  <a:pt x="590" y="138"/>
                </a:lnTo>
                <a:lnTo>
                  <a:pt x="568" y="108"/>
                </a:lnTo>
                <a:lnTo>
                  <a:pt x="554" y="94"/>
                </a:lnTo>
                <a:lnTo>
                  <a:pt x="540" y="82"/>
                </a:lnTo>
                <a:lnTo>
                  <a:pt x="524" y="68"/>
                </a:lnTo>
                <a:lnTo>
                  <a:pt x="508" y="56"/>
                </a:lnTo>
                <a:lnTo>
                  <a:pt x="490" y="46"/>
                </a:lnTo>
                <a:lnTo>
                  <a:pt x="470" y="34"/>
                </a:lnTo>
                <a:lnTo>
                  <a:pt x="450" y="26"/>
                </a:lnTo>
                <a:lnTo>
                  <a:pt x="428" y="18"/>
                </a:lnTo>
                <a:lnTo>
                  <a:pt x="404" y="12"/>
                </a:lnTo>
                <a:lnTo>
                  <a:pt x="378" y="6"/>
                </a:lnTo>
                <a:lnTo>
                  <a:pt x="350" y="2"/>
                </a:lnTo>
                <a:lnTo>
                  <a:pt x="322" y="0"/>
                </a:lnTo>
                <a:lnTo>
                  <a:pt x="322" y="0"/>
                </a:lnTo>
                <a:close/>
              </a:path>
            </a:pathLst>
          </a:custGeom>
          <a:ln/>
        </p:spPr>
        <p:style>
          <a:lnRef idx="1">
            <a:schemeClr val="accent2"/>
          </a:lnRef>
          <a:fillRef idx="3">
            <a:schemeClr val="accent2"/>
          </a:fillRef>
          <a:effectRef idx="2">
            <a:schemeClr val="accent2"/>
          </a:effectRef>
          <a:fontRef idx="minor">
            <a:schemeClr val="lt1"/>
          </a:fontRef>
        </p:style>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150" name="Freeform 100"/>
          <p:cNvSpPr>
            <a:spLocks/>
          </p:cNvSpPr>
          <p:nvPr/>
        </p:nvSpPr>
        <p:spPr bwMode="auto">
          <a:xfrm>
            <a:off x="2060815" y="4311823"/>
            <a:ext cx="439960" cy="463331"/>
          </a:xfrm>
          <a:custGeom>
            <a:avLst/>
            <a:gdLst>
              <a:gd name="T0" fmla="*/ 0 w 188"/>
              <a:gd name="T1" fmla="*/ 154 h 210"/>
              <a:gd name="T2" fmla="*/ 0 w 188"/>
              <a:gd name="T3" fmla="*/ 154 h 210"/>
              <a:gd name="T4" fmla="*/ 0 w 188"/>
              <a:gd name="T5" fmla="*/ 56 h 210"/>
              <a:gd name="T6" fmla="*/ 0 w 188"/>
              <a:gd name="T7" fmla="*/ 30 h 210"/>
              <a:gd name="T8" fmla="*/ 0 w 188"/>
              <a:gd name="T9" fmla="*/ 30 h 210"/>
              <a:gd name="T10" fmla="*/ 2 w 188"/>
              <a:gd name="T11" fmla="*/ 22 h 210"/>
              <a:gd name="T12" fmla="*/ 4 w 188"/>
              <a:gd name="T13" fmla="*/ 14 h 210"/>
              <a:gd name="T14" fmla="*/ 8 w 188"/>
              <a:gd name="T15" fmla="*/ 8 h 210"/>
              <a:gd name="T16" fmla="*/ 12 w 188"/>
              <a:gd name="T17" fmla="*/ 4 h 210"/>
              <a:gd name="T18" fmla="*/ 18 w 188"/>
              <a:gd name="T19" fmla="*/ 2 h 210"/>
              <a:gd name="T20" fmla="*/ 26 w 188"/>
              <a:gd name="T21" fmla="*/ 0 h 210"/>
              <a:gd name="T22" fmla="*/ 34 w 188"/>
              <a:gd name="T23" fmla="*/ 2 h 210"/>
              <a:gd name="T24" fmla="*/ 42 w 188"/>
              <a:gd name="T25" fmla="*/ 6 h 210"/>
              <a:gd name="T26" fmla="*/ 64 w 188"/>
              <a:gd name="T27" fmla="*/ 20 h 210"/>
              <a:gd name="T28" fmla="*/ 64 w 188"/>
              <a:gd name="T29" fmla="*/ 20 h 210"/>
              <a:gd name="T30" fmla="*/ 148 w 188"/>
              <a:gd name="T31" fmla="*/ 68 h 210"/>
              <a:gd name="T32" fmla="*/ 172 w 188"/>
              <a:gd name="T33" fmla="*/ 80 h 210"/>
              <a:gd name="T34" fmla="*/ 172 w 188"/>
              <a:gd name="T35" fmla="*/ 80 h 210"/>
              <a:gd name="T36" fmla="*/ 178 w 188"/>
              <a:gd name="T37" fmla="*/ 86 h 210"/>
              <a:gd name="T38" fmla="*/ 184 w 188"/>
              <a:gd name="T39" fmla="*/ 92 h 210"/>
              <a:gd name="T40" fmla="*/ 188 w 188"/>
              <a:gd name="T41" fmla="*/ 98 h 210"/>
              <a:gd name="T42" fmla="*/ 188 w 188"/>
              <a:gd name="T43" fmla="*/ 104 h 210"/>
              <a:gd name="T44" fmla="*/ 188 w 188"/>
              <a:gd name="T45" fmla="*/ 112 h 210"/>
              <a:gd name="T46" fmla="*/ 184 w 188"/>
              <a:gd name="T47" fmla="*/ 118 h 210"/>
              <a:gd name="T48" fmla="*/ 178 w 188"/>
              <a:gd name="T49" fmla="*/ 124 h 210"/>
              <a:gd name="T50" fmla="*/ 172 w 188"/>
              <a:gd name="T51" fmla="*/ 130 h 210"/>
              <a:gd name="T52" fmla="*/ 148 w 188"/>
              <a:gd name="T53" fmla="*/ 142 h 210"/>
              <a:gd name="T54" fmla="*/ 148 w 188"/>
              <a:gd name="T55" fmla="*/ 142 h 210"/>
              <a:gd name="T56" fmla="*/ 64 w 188"/>
              <a:gd name="T57" fmla="*/ 190 h 210"/>
              <a:gd name="T58" fmla="*/ 42 w 188"/>
              <a:gd name="T59" fmla="*/ 204 h 210"/>
              <a:gd name="T60" fmla="*/ 42 w 188"/>
              <a:gd name="T61" fmla="*/ 204 h 210"/>
              <a:gd name="T62" fmla="*/ 34 w 188"/>
              <a:gd name="T63" fmla="*/ 208 h 210"/>
              <a:gd name="T64" fmla="*/ 26 w 188"/>
              <a:gd name="T65" fmla="*/ 210 h 210"/>
              <a:gd name="T66" fmla="*/ 18 w 188"/>
              <a:gd name="T67" fmla="*/ 208 h 210"/>
              <a:gd name="T68" fmla="*/ 12 w 188"/>
              <a:gd name="T69" fmla="*/ 206 h 210"/>
              <a:gd name="T70" fmla="*/ 8 w 188"/>
              <a:gd name="T71" fmla="*/ 202 h 210"/>
              <a:gd name="T72" fmla="*/ 4 w 188"/>
              <a:gd name="T73" fmla="*/ 196 h 210"/>
              <a:gd name="T74" fmla="*/ 2 w 188"/>
              <a:gd name="T75" fmla="*/ 188 h 210"/>
              <a:gd name="T76" fmla="*/ 0 w 188"/>
              <a:gd name="T77" fmla="*/ 180 h 210"/>
              <a:gd name="T78" fmla="*/ 0 w 188"/>
              <a:gd name="T79" fmla="*/ 154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8" h="210">
                <a:moveTo>
                  <a:pt x="0" y="154"/>
                </a:moveTo>
                <a:lnTo>
                  <a:pt x="0" y="154"/>
                </a:lnTo>
                <a:lnTo>
                  <a:pt x="0" y="56"/>
                </a:lnTo>
                <a:lnTo>
                  <a:pt x="0" y="30"/>
                </a:lnTo>
                <a:lnTo>
                  <a:pt x="0" y="30"/>
                </a:lnTo>
                <a:lnTo>
                  <a:pt x="2" y="22"/>
                </a:lnTo>
                <a:lnTo>
                  <a:pt x="4" y="14"/>
                </a:lnTo>
                <a:lnTo>
                  <a:pt x="8" y="8"/>
                </a:lnTo>
                <a:lnTo>
                  <a:pt x="12" y="4"/>
                </a:lnTo>
                <a:lnTo>
                  <a:pt x="18" y="2"/>
                </a:lnTo>
                <a:lnTo>
                  <a:pt x="26" y="0"/>
                </a:lnTo>
                <a:lnTo>
                  <a:pt x="34" y="2"/>
                </a:lnTo>
                <a:lnTo>
                  <a:pt x="42" y="6"/>
                </a:lnTo>
                <a:lnTo>
                  <a:pt x="64" y="20"/>
                </a:lnTo>
                <a:lnTo>
                  <a:pt x="64" y="20"/>
                </a:lnTo>
                <a:lnTo>
                  <a:pt x="148" y="68"/>
                </a:lnTo>
                <a:lnTo>
                  <a:pt x="172" y="80"/>
                </a:lnTo>
                <a:lnTo>
                  <a:pt x="172" y="80"/>
                </a:lnTo>
                <a:lnTo>
                  <a:pt x="178" y="86"/>
                </a:lnTo>
                <a:lnTo>
                  <a:pt x="184" y="92"/>
                </a:lnTo>
                <a:lnTo>
                  <a:pt x="188" y="98"/>
                </a:lnTo>
                <a:lnTo>
                  <a:pt x="188" y="104"/>
                </a:lnTo>
                <a:lnTo>
                  <a:pt x="188" y="112"/>
                </a:lnTo>
                <a:lnTo>
                  <a:pt x="184" y="118"/>
                </a:lnTo>
                <a:lnTo>
                  <a:pt x="178" y="124"/>
                </a:lnTo>
                <a:lnTo>
                  <a:pt x="172" y="130"/>
                </a:lnTo>
                <a:lnTo>
                  <a:pt x="148" y="142"/>
                </a:lnTo>
                <a:lnTo>
                  <a:pt x="148" y="142"/>
                </a:lnTo>
                <a:lnTo>
                  <a:pt x="64" y="190"/>
                </a:lnTo>
                <a:lnTo>
                  <a:pt x="42" y="204"/>
                </a:lnTo>
                <a:lnTo>
                  <a:pt x="42" y="204"/>
                </a:lnTo>
                <a:lnTo>
                  <a:pt x="34" y="208"/>
                </a:lnTo>
                <a:lnTo>
                  <a:pt x="26" y="210"/>
                </a:lnTo>
                <a:lnTo>
                  <a:pt x="18" y="208"/>
                </a:lnTo>
                <a:lnTo>
                  <a:pt x="12" y="206"/>
                </a:lnTo>
                <a:lnTo>
                  <a:pt x="8" y="202"/>
                </a:lnTo>
                <a:lnTo>
                  <a:pt x="4" y="196"/>
                </a:lnTo>
                <a:lnTo>
                  <a:pt x="2" y="188"/>
                </a:lnTo>
                <a:lnTo>
                  <a:pt x="0" y="180"/>
                </a:lnTo>
                <a:lnTo>
                  <a:pt x="0" y="1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151" name="Freeform 101"/>
          <p:cNvSpPr>
            <a:spLocks/>
          </p:cNvSpPr>
          <p:nvPr/>
        </p:nvSpPr>
        <p:spPr bwMode="auto">
          <a:xfrm>
            <a:off x="3814505" y="4272108"/>
            <a:ext cx="608454" cy="542759"/>
          </a:xfrm>
          <a:custGeom>
            <a:avLst/>
            <a:gdLst>
              <a:gd name="T0" fmla="*/ 130 w 260"/>
              <a:gd name="T1" fmla="*/ 246 h 246"/>
              <a:gd name="T2" fmla="*/ 130 w 260"/>
              <a:gd name="T3" fmla="*/ 246 h 246"/>
              <a:gd name="T4" fmla="*/ 118 w 260"/>
              <a:gd name="T5" fmla="*/ 244 h 246"/>
              <a:gd name="T6" fmla="*/ 110 w 260"/>
              <a:gd name="T7" fmla="*/ 238 h 246"/>
              <a:gd name="T8" fmla="*/ 104 w 260"/>
              <a:gd name="T9" fmla="*/ 228 h 246"/>
              <a:gd name="T10" fmla="*/ 102 w 260"/>
              <a:gd name="T11" fmla="*/ 218 h 246"/>
              <a:gd name="T12" fmla="*/ 102 w 260"/>
              <a:gd name="T13" fmla="*/ 150 h 246"/>
              <a:gd name="T14" fmla="*/ 30 w 260"/>
              <a:gd name="T15" fmla="*/ 150 h 246"/>
              <a:gd name="T16" fmla="*/ 30 w 260"/>
              <a:gd name="T17" fmla="*/ 150 h 246"/>
              <a:gd name="T18" fmla="*/ 18 w 260"/>
              <a:gd name="T19" fmla="*/ 148 h 246"/>
              <a:gd name="T20" fmla="*/ 8 w 260"/>
              <a:gd name="T21" fmla="*/ 142 h 246"/>
              <a:gd name="T22" fmla="*/ 2 w 260"/>
              <a:gd name="T23" fmla="*/ 134 h 246"/>
              <a:gd name="T24" fmla="*/ 0 w 260"/>
              <a:gd name="T25" fmla="*/ 122 h 246"/>
              <a:gd name="T26" fmla="*/ 0 w 260"/>
              <a:gd name="T27" fmla="*/ 122 h 246"/>
              <a:gd name="T28" fmla="*/ 2 w 260"/>
              <a:gd name="T29" fmla="*/ 112 h 246"/>
              <a:gd name="T30" fmla="*/ 8 w 260"/>
              <a:gd name="T31" fmla="*/ 104 h 246"/>
              <a:gd name="T32" fmla="*/ 18 w 260"/>
              <a:gd name="T33" fmla="*/ 98 h 246"/>
              <a:gd name="T34" fmla="*/ 30 w 260"/>
              <a:gd name="T35" fmla="*/ 96 h 246"/>
              <a:gd name="T36" fmla="*/ 102 w 260"/>
              <a:gd name="T37" fmla="*/ 96 h 246"/>
              <a:gd name="T38" fmla="*/ 102 w 260"/>
              <a:gd name="T39" fmla="*/ 28 h 246"/>
              <a:gd name="T40" fmla="*/ 102 w 260"/>
              <a:gd name="T41" fmla="*/ 28 h 246"/>
              <a:gd name="T42" fmla="*/ 104 w 260"/>
              <a:gd name="T43" fmla="*/ 18 h 246"/>
              <a:gd name="T44" fmla="*/ 110 w 260"/>
              <a:gd name="T45" fmla="*/ 8 h 246"/>
              <a:gd name="T46" fmla="*/ 118 w 260"/>
              <a:gd name="T47" fmla="*/ 2 h 246"/>
              <a:gd name="T48" fmla="*/ 130 w 260"/>
              <a:gd name="T49" fmla="*/ 0 h 246"/>
              <a:gd name="T50" fmla="*/ 130 w 260"/>
              <a:gd name="T51" fmla="*/ 0 h 246"/>
              <a:gd name="T52" fmla="*/ 142 w 260"/>
              <a:gd name="T53" fmla="*/ 2 h 246"/>
              <a:gd name="T54" fmla="*/ 150 w 260"/>
              <a:gd name="T55" fmla="*/ 8 h 246"/>
              <a:gd name="T56" fmla="*/ 156 w 260"/>
              <a:gd name="T57" fmla="*/ 18 h 246"/>
              <a:gd name="T58" fmla="*/ 158 w 260"/>
              <a:gd name="T59" fmla="*/ 28 h 246"/>
              <a:gd name="T60" fmla="*/ 158 w 260"/>
              <a:gd name="T61" fmla="*/ 96 h 246"/>
              <a:gd name="T62" fmla="*/ 230 w 260"/>
              <a:gd name="T63" fmla="*/ 96 h 246"/>
              <a:gd name="T64" fmla="*/ 230 w 260"/>
              <a:gd name="T65" fmla="*/ 96 h 246"/>
              <a:gd name="T66" fmla="*/ 242 w 260"/>
              <a:gd name="T67" fmla="*/ 98 h 246"/>
              <a:gd name="T68" fmla="*/ 252 w 260"/>
              <a:gd name="T69" fmla="*/ 104 h 246"/>
              <a:gd name="T70" fmla="*/ 258 w 260"/>
              <a:gd name="T71" fmla="*/ 112 h 246"/>
              <a:gd name="T72" fmla="*/ 260 w 260"/>
              <a:gd name="T73" fmla="*/ 122 h 246"/>
              <a:gd name="T74" fmla="*/ 260 w 260"/>
              <a:gd name="T75" fmla="*/ 122 h 246"/>
              <a:gd name="T76" fmla="*/ 258 w 260"/>
              <a:gd name="T77" fmla="*/ 134 h 246"/>
              <a:gd name="T78" fmla="*/ 252 w 260"/>
              <a:gd name="T79" fmla="*/ 142 h 246"/>
              <a:gd name="T80" fmla="*/ 242 w 260"/>
              <a:gd name="T81" fmla="*/ 148 h 246"/>
              <a:gd name="T82" fmla="*/ 230 w 260"/>
              <a:gd name="T83" fmla="*/ 150 h 246"/>
              <a:gd name="T84" fmla="*/ 158 w 260"/>
              <a:gd name="T85" fmla="*/ 150 h 246"/>
              <a:gd name="T86" fmla="*/ 158 w 260"/>
              <a:gd name="T87" fmla="*/ 218 h 246"/>
              <a:gd name="T88" fmla="*/ 158 w 260"/>
              <a:gd name="T89" fmla="*/ 218 h 246"/>
              <a:gd name="T90" fmla="*/ 156 w 260"/>
              <a:gd name="T91" fmla="*/ 228 h 246"/>
              <a:gd name="T92" fmla="*/ 150 w 260"/>
              <a:gd name="T93" fmla="*/ 238 h 246"/>
              <a:gd name="T94" fmla="*/ 142 w 260"/>
              <a:gd name="T95" fmla="*/ 244 h 246"/>
              <a:gd name="T96" fmla="*/ 130 w 260"/>
              <a:gd name="T97" fmla="*/ 246 h 246"/>
              <a:gd name="T98" fmla="*/ 130 w 260"/>
              <a:gd name="T99" fmla="*/ 246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0" h="246">
                <a:moveTo>
                  <a:pt x="130" y="246"/>
                </a:moveTo>
                <a:lnTo>
                  <a:pt x="130" y="246"/>
                </a:lnTo>
                <a:lnTo>
                  <a:pt x="118" y="244"/>
                </a:lnTo>
                <a:lnTo>
                  <a:pt x="110" y="238"/>
                </a:lnTo>
                <a:lnTo>
                  <a:pt x="104" y="228"/>
                </a:lnTo>
                <a:lnTo>
                  <a:pt x="102" y="218"/>
                </a:lnTo>
                <a:lnTo>
                  <a:pt x="102" y="150"/>
                </a:lnTo>
                <a:lnTo>
                  <a:pt x="30" y="150"/>
                </a:lnTo>
                <a:lnTo>
                  <a:pt x="30" y="150"/>
                </a:lnTo>
                <a:lnTo>
                  <a:pt x="18" y="148"/>
                </a:lnTo>
                <a:lnTo>
                  <a:pt x="8" y="142"/>
                </a:lnTo>
                <a:lnTo>
                  <a:pt x="2" y="134"/>
                </a:lnTo>
                <a:lnTo>
                  <a:pt x="0" y="122"/>
                </a:lnTo>
                <a:lnTo>
                  <a:pt x="0" y="122"/>
                </a:lnTo>
                <a:lnTo>
                  <a:pt x="2" y="112"/>
                </a:lnTo>
                <a:lnTo>
                  <a:pt x="8" y="104"/>
                </a:lnTo>
                <a:lnTo>
                  <a:pt x="18" y="98"/>
                </a:lnTo>
                <a:lnTo>
                  <a:pt x="30" y="96"/>
                </a:lnTo>
                <a:lnTo>
                  <a:pt x="102" y="96"/>
                </a:lnTo>
                <a:lnTo>
                  <a:pt x="102" y="28"/>
                </a:lnTo>
                <a:lnTo>
                  <a:pt x="102" y="28"/>
                </a:lnTo>
                <a:lnTo>
                  <a:pt x="104" y="18"/>
                </a:lnTo>
                <a:lnTo>
                  <a:pt x="110" y="8"/>
                </a:lnTo>
                <a:lnTo>
                  <a:pt x="118" y="2"/>
                </a:lnTo>
                <a:lnTo>
                  <a:pt x="130" y="0"/>
                </a:lnTo>
                <a:lnTo>
                  <a:pt x="130" y="0"/>
                </a:lnTo>
                <a:lnTo>
                  <a:pt x="142" y="2"/>
                </a:lnTo>
                <a:lnTo>
                  <a:pt x="150" y="8"/>
                </a:lnTo>
                <a:lnTo>
                  <a:pt x="156" y="18"/>
                </a:lnTo>
                <a:lnTo>
                  <a:pt x="158" y="28"/>
                </a:lnTo>
                <a:lnTo>
                  <a:pt x="158" y="96"/>
                </a:lnTo>
                <a:lnTo>
                  <a:pt x="230" y="96"/>
                </a:lnTo>
                <a:lnTo>
                  <a:pt x="230" y="96"/>
                </a:lnTo>
                <a:lnTo>
                  <a:pt x="242" y="98"/>
                </a:lnTo>
                <a:lnTo>
                  <a:pt x="252" y="104"/>
                </a:lnTo>
                <a:lnTo>
                  <a:pt x="258" y="112"/>
                </a:lnTo>
                <a:lnTo>
                  <a:pt x="260" y="122"/>
                </a:lnTo>
                <a:lnTo>
                  <a:pt x="260" y="122"/>
                </a:lnTo>
                <a:lnTo>
                  <a:pt x="258" y="134"/>
                </a:lnTo>
                <a:lnTo>
                  <a:pt x="252" y="142"/>
                </a:lnTo>
                <a:lnTo>
                  <a:pt x="242" y="148"/>
                </a:lnTo>
                <a:lnTo>
                  <a:pt x="230" y="150"/>
                </a:lnTo>
                <a:lnTo>
                  <a:pt x="158" y="150"/>
                </a:lnTo>
                <a:lnTo>
                  <a:pt x="158" y="218"/>
                </a:lnTo>
                <a:lnTo>
                  <a:pt x="158" y="218"/>
                </a:lnTo>
                <a:lnTo>
                  <a:pt x="156" y="228"/>
                </a:lnTo>
                <a:lnTo>
                  <a:pt x="150" y="238"/>
                </a:lnTo>
                <a:lnTo>
                  <a:pt x="142" y="244"/>
                </a:lnTo>
                <a:lnTo>
                  <a:pt x="130" y="246"/>
                </a:lnTo>
                <a:lnTo>
                  <a:pt x="130" y="24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152" name="Freeform 102"/>
          <p:cNvSpPr>
            <a:spLocks/>
          </p:cNvSpPr>
          <p:nvPr/>
        </p:nvSpPr>
        <p:spPr bwMode="auto">
          <a:xfrm>
            <a:off x="5800599" y="4302998"/>
            <a:ext cx="187216" cy="480982"/>
          </a:xfrm>
          <a:custGeom>
            <a:avLst/>
            <a:gdLst>
              <a:gd name="T0" fmla="*/ 40 w 80"/>
              <a:gd name="T1" fmla="*/ 218 h 218"/>
              <a:gd name="T2" fmla="*/ 40 w 80"/>
              <a:gd name="T3" fmla="*/ 218 h 218"/>
              <a:gd name="T4" fmla="*/ 32 w 80"/>
              <a:gd name="T5" fmla="*/ 216 h 218"/>
              <a:gd name="T6" fmla="*/ 24 w 80"/>
              <a:gd name="T7" fmla="*/ 214 h 218"/>
              <a:gd name="T8" fmla="*/ 16 w 80"/>
              <a:gd name="T9" fmla="*/ 210 h 218"/>
              <a:gd name="T10" fmla="*/ 10 w 80"/>
              <a:gd name="T11" fmla="*/ 206 h 218"/>
              <a:gd name="T12" fmla="*/ 6 w 80"/>
              <a:gd name="T13" fmla="*/ 200 h 218"/>
              <a:gd name="T14" fmla="*/ 2 w 80"/>
              <a:gd name="T15" fmla="*/ 192 h 218"/>
              <a:gd name="T16" fmla="*/ 0 w 80"/>
              <a:gd name="T17" fmla="*/ 186 h 218"/>
              <a:gd name="T18" fmla="*/ 0 w 80"/>
              <a:gd name="T19" fmla="*/ 178 h 218"/>
              <a:gd name="T20" fmla="*/ 0 w 80"/>
              <a:gd name="T21" fmla="*/ 40 h 218"/>
              <a:gd name="T22" fmla="*/ 0 w 80"/>
              <a:gd name="T23" fmla="*/ 40 h 218"/>
              <a:gd name="T24" fmla="*/ 0 w 80"/>
              <a:gd name="T25" fmla="*/ 32 h 218"/>
              <a:gd name="T26" fmla="*/ 2 w 80"/>
              <a:gd name="T27" fmla="*/ 24 h 218"/>
              <a:gd name="T28" fmla="*/ 6 w 80"/>
              <a:gd name="T29" fmla="*/ 18 h 218"/>
              <a:gd name="T30" fmla="*/ 10 w 80"/>
              <a:gd name="T31" fmla="*/ 12 h 218"/>
              <a:gd name="T32" fmla="*/ 16 w 80"/>
              <a:gd name="T33" fmla="*/ 8 h 218"/>
              <a:gd name="T34" fmla="*/ 24 w 80"/>
              <a:gd name="T35" fmla="*/ 4 h 218"/>
              <a:gd name="T36" fmla="*/ 32 w 80"/>
              <a:gd name="T37" fmla="*/ 2 h 218"/>
              <a:gd name="T38" fmla="*/ 40 w 80"/>
              <a:gd name="T39" fmla="*/ 0 h 218"/>
              <a:gd name="T40" fmla="*/ 40 w 80"/>
              <a:gd name="T41" fmla="*/ 0 h 218"/>
              <a:gd name="T42" fmla="*/ 48 w 80"/>
              <a:gd name="T43" fmla="*/ 2 h 218"/>
              <a:gd name="T44" fmla="*/ 54 w 80"/>
              <a:gd name="T45" fmla="*/ 4 h 218"/>
              <a:gd name="T46" fmla="*/ 62 w 80"/>
              <a:gd name="T47" fmla="*/ 8 h 218"/>
              <a:gd name="T48" fmla="*/ 68 w 80"/>
              <a:gd name="T49" fmla="*/ 12 h 218"/>
              <a:gd name="T50" fmla="*/ 72 w 80"/>
              <a:gd name="T51" fmla="*/ 18 h 218"/>
              <a:gd name="T52" fmla="*/ 76 w 80"/>
              <a:gd name="T53" fmla="*/ 24 h 218"/>
              <a:gd name="T54" fmla="*/ 78 w 80"/>
              <a:gd name="T55" fmla="*/ 32 h 218"/>
              <a:gd name="T56" fmla="*/ 80 w 80"/>
              <a:gd name="T57" fmla="*/ 40 h 218"/>
              <a:gd name="T58" fmla="*/ 80 w 80"/>
              <a:gd name="T59" fmla="*/ 178 h 218"/>
              <a:gd name="T60" fmla="*/ 80 w 80"/>
              <a:gd name="T61" fmla="*/ 178 h 218"/>
              <a:gd name="T62" fmla="*/ 78 w 80"/>
              <a:gd name="T63" fmla="*/ 186 h 218"/>
              <a:gd name="T64" fmla="*/ 76 w 80"/>
              <a:gd name="T65" fmla="*/ 192 h 218"/>
              <a:gd name="T66" fmla="*/ 72 w 80"/>
              <a:gd name="T67" fmla="*/ 200 h 218"/>
              <a:gd name="T68" fmla="*/ 68 w 80"/>
              <a:gd name="T69" fmla="*/ 206 h 218"/>
              <a:gd name="T70" fmla="*/ 62 w 80"/>
              <a:gd name="T71" fmla="*/ 210 h 218"/>
              <a:gd name="T72" fmla="*/ 54 w 80"/>
              <a:gd name="T73" fmla="*/ 214 h 218"/>
              <a:gd name="T74" fmla="*/ 48 w 80"/>
              <a:gd name="T75" fmla="*/ 216 h 218"/>
              <a:gd name="T76" fmla="*/ 40 w 80"/>
              <a:gd name="T77" fmla="*/ 218 h 218"/>
              <a:gd name="T78" fmla="*/ 40 w 80"/>
              <a:gd name="T79"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0" h="218">
                <a:moveTo>
                  <a:pt x="40" y="218"/>
                </a:moveTo>
                <a:lnTo>
                  <a:pt x="40" y="218"/>
                </a:lnTo>
                <a:lnTo>
                  <a:pt x="32" y="216"/>
                </a:lnTo>
                <a:lnTo>
                  <a:pt x="24" y="214"/>
                </a:lnTo>
                <a:lnTo>
                  <a:pt x="16" y="210"/>
                </a:lnTo>
                <a:lnTo>
                  <a:pt x="10" y="206"/>
                </a:lnTo>
                <a:lnTo>
                  <a:pt x="6" y="200"/>
                </a:lnTo>
                <a:lnTo>
                  <a:pt x="2" y="192"/>
                </a:lnTo>
                <a:lnTo>
                  <a:pt x="0" y="186"/>
                </a:lnTo>
                <a:lnTo>
                  <a:pt x="0" y="178"/>
                </a:lnTo>
                <a:lnTo>
                  <a:pt x="0" y="40"/>
                </a:lnTo>
                <a:lnTo>
                  <a:pt x="0" y="40"/>
                </a:lnTo>
                <a:lnTo>
                  <a:pt x="0" y="32"/>
                </a:lnTo>
                <a:lnTo>
                  <a:pt x="2" y="24"/>
                </a:lnTo>
                <a:lnTo>
                  <a:pt x="6" y="18"/>
                </a:lnTo>
                <a:lnTo>
                  <a:pt x="10" y="12"/>
                </a:lnTo>
                <a:lnTo>
                  <a:pt x="16" y="8"/>
                </a:lnTo>
                <a:lnTo>
                  <a:pt x="24" y="4"/>
                </a:lnTo>
                <a:lnTo>
                  <a:pt x="32" y="2"/>
                </a:lnTo>
                <a:lnTo>
                  <a:pt x="40" y="0"/>
                </a:lnTo>
                <a:lnTo>
                  <a:pt x="40" y="0"/>
                </a:lnTo>
                <a:lnTo>
                  <a:pt x="48" y="2"/>
                </a:lnTo>
                <a:lnTo>
                  <a:pt x="54" y="4"/>
                </a:lnTo>
                <a:lnTo>
                  <a:pt x="62" y="8"/>
                </a:lnTo>
                <a:lnTo>
                  <a:pt x="68" y="12"/>
                </a:lnTo>
                <a:lnTo>
                  <a:pt x="72" y="18"/>
                </a:lnTo>
                <a:lnTo>
                  <a:pt x="76" y="24"/>
                </a:lnTo>
                <a:lnTo>
                  <a:pt x="78" y="32"/>
                </a:lnTo>
                <a:lnTo>
                  <a:pt x="80" y="40"/>
                </a:lnTo>
                <a:lnTo>
                  <a:pt x="80" y="178"/>
                </a:lnTo>
                <a:lnTo>
                  <a:pt x="80" y="178"/>
                </a:lnTo>
                <a:lnTo>
                  <a:pt x="78" y="186"/>
                </a:lnTo>
                <a:lnTo>
                  <a:pt x="76" y="192"/>
                </a:lnTo>
                <a:lnTo>
                  <a:pt x="72" y="200"/>
                </a:lnTo>
                <a:lnTo>
                  <a:pt x="68" y="206"/>
                </a:lnTo>
                <a:lnTo>
                  <a:pt x="62" y="210"/>
                </a:lnTo>
                <a:lnTo>
                  <a:pt x="54" y="214"/>
                </a:lnTo>
                <a:lnTo>
                  <a:pt x="48" y="216"/>
                </a:lnTo>
                <a:lnTo>
                  <a:pt x="40" y="218"/>
                </a:lnTo>
                <a:lnTo>
                  <a:pt x="40" y="2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153" name="Freeform 103"/>
          <p:cNvSpPr>
            <a:spLocks/>
          </p:cNvSpPr>
          <p:nvPr/>
        </p:nvSpPr>
        <p:spPr bwMode="auto">
          <a:xfrm>
            <a:off x="6081961" y="4301128"/>
            <a:ext cx="187216" cy="480982"/>
          </a:xfrm>
          <a:custGeom>
            <a:avLst/>
            <a:gdLst>
              <a:gd name="T0" fmla="*/ 40 w 80"/>
              <a:gd name="T1" fmla="*/ 218 h 218"/>
              <a:gd name="T2" fmla="*/ 40 w 80"/>
              <a:gd name="T3" fmla="*/ 218 h 218"/>
              <a:gd name="T4" fmla="*/ 32 w 80"/>
              <a:gd name="T5" fmla="*/ 216 h 218"/>
              <a:gd name="T6" fmla="*/ 24 w 80"/>
              <a:gd name="T7" fmla="*/ 214 h 218"/>
              <a:gd name="T8" fmla="*/ 18 w 80"/>
              <a:gd name="T9" fmla="*/ 210 h 218"/>
              <a:gd name="T10" fmla="*/ 12 w 80"/>
              <a:gd name="T11" fmla="*/ 206 h 218"/>
              <a:gd name="T12" fmla="*/ 6 w 80"/>
              <a:gd name="T13" fmla="*/ 200 h 218"/>
              <a:gd name="T14" fmla="*/ 4 w 80"/>
              <a:gd name="T15" fmla="*/ 192 h 218"/>
              <a:gd name="T16" fmla="*/ 0 w 80"/>
              <a:gd name="T17" fmla="*/ 186 h 218"/>
              <a:gd name="T18" fmla="*/ 0 w 80"/>
              <a:gd name="T19" fmla="*/ 178 h 218"/>
              <a:gd name="T20" fmla="*/ 0 w 80"/>
              <a:gd name="T21" fmla="*/ 40 h 218"/>
              <a:gd name="T22" fmla="*/ 0 w 80"/>
              <a:gd name="T23" fmla="*/ 40 h 218"/>
              <a:gd name="T24" fmla="*/ 0 w 80"/>
              <a:gd name="T25" fmla="*/ 32 h 218"/>
              <a:gd name="T26" fmla="*/ 4 w 80"/>
              <a:gd name="T27" fmla="*/ 24 h 218"/>
              <a:gd name="T28" fmla="*/ 6 w 80"/>
              <a:gd name="T29" fmla="*/ 18 h 218"/>
              <a:gd name="T30" fmla="*/ 12 w 80"/>
              <a:gd name="T31" fmla="*/ 12 h 218"/>
              <a:gd name="T32" fmla="*/ 18 w 80"/>
              <a:gd name="T33" fmla="*/ 8 h 218"/>
              <a:gd name="T34" fmla="*/ 24 w 80"/>
              <a:gd name="T35" fmla="*/ 4 h 218"/>
              <a:gd name="T36" fmla="*/ 32 w 80"/>
              <a:gd name="T37" fmla="*/ 2 h 218"/>
              <a:gd name="T38" fmla="*/ 40 w 80"/>
              <a:gd name="T39" fmla="*/ 0 h 218"/>
              <a:gd name="T40" fmla="*/ 40 w 80"/>
              <a:gd name="T41" fmla="*/ 0 h 218"/>
              <a:gd name="T42" fmla="*/ 48 w 80"/>
              <a:gd name="T43" fmla="*/ 2 h 218"/>
              <a:gd name="T44" fmla="*/ 56 w 80"/>
              <a:gd name="T45" fmla="*/ 4 h 218"/>
              <a:gd name="T46" fmla="*/ 62 w 80"/>
              <a:gd name="T47" fmla="*/ 8 h 218"/>
              <a:gd name="T48" fmla="*/ 68 w 80"/>
              <a:gd name="T49" fmla="*/ 12 h 218"/>
              <a:gd name="T50" fmla="*/ 74 w 80"/>
              <a:gd name="T51" fmla="*/ 18 h 218"/>
              <a:gd name="T52" fmla="*/ 78 w 80"/>
              <a:gd name="T53" fmla="*/ 24 h 218"/>
              <a:gd name="T54" fmla="*/ 80 w 80"/>
              <a:gd name="T55" fmla="*/ 32 h 218"/>
              <a:gd name="T56" fmla="*/ 80 w 80"/>
              <a:gd name="T57" fmla="*/ 40 h 218"/>
              <a:gd name="T58" fmla="*/ 80 w 80"/>
              <a:gd name="T59" fmla="*/ 178 h 218"/>
              <a:gd name="T60" fmla="*/ 80 w 80"/>
              <a:gd name="T61" fmla="*/ 178 h 218"/>
              <a:gd name="T62" fmla="*/ 80 w 80"/>
              <a:gd name="T63" fmla="*/ 186 h 218"/>
              <a:gd name="T64" fmla="*/ 78 w 80"/>
              <a:gd name="T65" fmla="*/ 192 h 218"/>
              <a:gd name="T66" fmla="*/ 74 w 80"/>
              <a:gd name="T67" fmla="*/ 200 h 218"/>
              <a:gd name="T68" fmla="*/ 68 w 80"/>
              <a:gd name="T69" fmla="*/ 206 h 218"/>
              <a:gd name="T70" fmla="*/ 62 w 80"/>
              <a:gd name="T71" fmla="*/ 210 h 218"/>
              <a:gd name="T72" fmla="*/ 56 w 80"/>
              <a:gd name="T73" fmla="*/ 214 h 218"/>
              <a:gd name="T74" fmla="*/ 48 w 80"/>
              <a:gd name="T75" fmla="*/ 216 h 218"/>
              <a:gd name="T76" fmla="*/ 40 w 80"/>
              <a:gd name="T77" fmla="*/ 218 h 218"/>
              <a:gd name="T78" fmla="*/ 40 w 80"/>
              <a:gd name="T79" fmla="*/ 218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0" h="218">
                <a:moveTo>
                  <a:pt x="40" y="218"/>
                </a:moveTo>
                <a:lnTo>
                  <a:pt x="40" y="218"/>
                </a:lnTo>
                <a:lnTo>
                  <a:pt x="32" y="216"/>
                </a:lnTo>
                <a:lnTo>
                  <a:pt x="24" y="214"/>
                </a:lnTo>
                <a:lnTo>
                  <a:pt x="18" y="210"/>
                </a:lnTo>
                <a:lnTo>
                  <a:pt x="12" y="206"/>
                </a:lnTo>
                <a:lnTo>
                  <a:pt x="6" y="200"/>
                </a:lnTo>
                <a:lnTo>
                  <a:pt x="4" y="192"/>
                </a:lnTo>
                <a:lnTo>
                  <a:pt x="0" y="186"/>
                </a:lnTo>
                <a:lnTo>
                  <a:pt x="0" y="178"/>
                </a:lnTo>
                <a:lnTo>
                  <a:pt x="0" y="40"/>
                </a:lnTo>
                <a:lnTo>
                  <a:pt x="0" y="40"/>
                </a:lnTo>
                <a:lnTo>
                  <a:pt x="0" y="32"/>
                </a:lnTo>
                <a:lnTo>
                  <a:pt x="4" y="24"/>
                </a:lnTo>
                <a:lnTo>
                  <a:pt x="6" y="18"/>
                </a:lnTo>
                <a:lnTo>
                  <a:pt x="12" y="12"/>
                </a:lnTo>
                <a:lnTo>
                  <a:pt x="18" y="8"/>
                </a:lnTo>
                <a:lnTo>
                  <a:pt x="24" y="4"/>
                </a:lnTo>
                <a:lnTo>
                  <a:pt x="32" y="2"/>
                </a:lnTo>
                <a:lnTo>
                  <a:pt x="40" y="0"/>
                </a:lnTo>
                <a:lnTo>
                  <a:pt x="40" y="0"/>
                </a:lnTo>
                <a:lnTo>
                  <a:pt x="48" y="2"/>
                </a:lnTo>
                <a:lnTo>
                  <a:pt x="56" y="4"/>
                </a:lnTo>
                <a:lnTo>
                  <a:pt x="62" y="8"/>
                </a:lnTo>
                <a:lnTo>
                  <a:pt x="68" y="12"/>
                </a:lnTo>
                <a:lnTo>
                  <a:pt x="74" y="18"/>
                </a:lnTo>
                <a:lnTo>
                  <a:pt x="78" y="24"/>
                </a:lnTo>
                <a:lnTo>
                  <a:pt x="80" y="32"/>
                </a:lnTo>
                <a:lnTo>
                  <a:pt x="80" y="40"/>
                </a:lnTo>
                <a:lnTo>
                  <a:pt x="80" y="178"/>
                </a:lnTo>
                <a:lnTo>
                  <a:pt x="80" y="178"/>
                </a:lnTo>
                <a:lnTo>
                  <a:pt x="80" y="186"/>
                </a:lnTo>
                <a:lnTo>
                  <a:pt x="78" y="192"/>
                </a:lnTo>
                <a:lnTo>
                  <a:pt x="74" y="200"/>
                </a:lnTo>
                <a:lnTo>
                  <a:pt x="68" y="206"/>
                </a:lnTo>
                <a:lnTo>
                  <a:pt x="62" y="210"/>
                </a:lnTo>
                <a:lnTo>
                  <a:pt x="56" y="214"/>
                </a:lnTo>
                <a:lnTo>
                  <a:pt x="48" y="216"/>
                </a:lnTo>
                <a:lnTo>
                  <a:pt x="40" y="218"/>
                </a:lnTo>
                <a:lnTo>
                  <a:pt x="40" y="2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154" name="Freeform 104"/>
          <p:cNvSpPr>
            <a:spLocks/>
          </p:cNvSpPr>
          <p:nvPr/>
        </p:nvSpPr>
        <p:spPr bwMode="auto">
          <a:xfrm>
            <a:off x="7744446" y="4293834"/>
            <a:ext cx="519526" cy="489807"/>
          </a:xfrm>
          <a:custGeom>
            <a:avLst/>
            <a:gdLst>
              <a:gd name="T0" fmla="*/ 222 w 222"/>
              <a:gd name="T1" fmla="*/ 110 h 222"/>
              <a:gd name="T2" fmla="*/ 222 w 222"/>
              <a:gd name="T3" fmla="*/ 110 h 222"/>
              <a:gd name="T4" fmla="*/ 220 w 222"/>
              <a:gd name="T5" fmla="*/ 134 h 222"/>
              <a:gd name="T6" fmla="*/ 214 w 222"/>
              <a:gd name="T7" fmla="*/ 154 h 222"/>
              <a:gd name="T8" fmla="*/ 204 w 222"/>
              <a:gd name="T9" fmla="*/ 174 h 222"/>
              <a:gd name="T10" fmla="*/ 190 w 222"/>
              <a:gd name="T11" fmla="*/ 190 h 222"/>
              <a:gd name="T12" fmla="*/ 174 w 222"/>
              <a:gd name="T13" fmla="*/ 204 h 222"/>
              <a:gd name="T14" fmla="*/ 154 w 222"/>
              <a:gd name="T15" fmla="*/ 214 h 222"/>
              <a:gd name="T16" fmla="*/ 134 w 222"/>
              <a:gd name="T17" fmla="*/ 220 h 222"/>
              <a:gd name="T18" fmla="*/ 112 w 222"/>
              <a:gd name="T19" fmla="*/ 222 h 222"/>
              <a:gd name="T20" fmla="*/ 112 w 222"/>
              <a:gd name="T21" fmla="*/ 222 h 222"/>
              <a:gd name="T22" fmla="*/ 90 w 222"/>
              <a:gd name="T23" fmla="*/ 220 h 222"/>
              <a:gd name="T24" fmla="*/ 68 w 222"/>
              <a:gd name="T25" fmla="*/ 214 h 222"/>
              <a:gd name="T26" fmla="*/ 50 w 222"/>
              <a:gd name="T27" fmla="*/ 204 h 222"/>
              <a:gd name="T28" fmla="*/ 32 w 222"/>
              <a:gd name="T29" fmla="*/ 190 h 222"/>
              <a:gd name="T30" fmla="*/ 20 w 222"/>
              <a:gd name="T31" fmla="*/ 174 h 222"/>
              <a:gd name="T32" fmla="*/ 8 w 222"/>
              <a:gd name="T33" fmla="*/ 154 h 222"/>
              <a:gd name="T34" fmla="*/ 2 w 222"/>
              <a:gd name="T35" fmla="*/ 134 h 222"/>
              <a:gd name="T36" fmla="*/ 0 w 222"/>
              <a:gd name="T37" fmla="*/ 110 h 222"/>
              <a:gd name="T38" fmla="*/ 0 w 222"/>
              <a:gd name="T39" fmla="*/ 110 h 222"/>
              <a:gd name="T40" fmla="*/ 2 w 222"/>
              <a:gd name="T41" fmla="*/ 88 h 222"/>
              <a:gd name="T42" fmla="*/ 8 w 222"/>
              <a:gd name="T43" fmla="*/ 68 h 222"/>
              <a:gd name="T44" fmla="*/ 20 w 222"/>
              <a:gd name="T45" fmla="*/ 48 h 222"/>
              <a:gd name="T46" fmla="*/ 32 w 222"/>
              <a:gd name="T47" fmla="*/ 32 h 222"/>
              <a:gd name="T48" fmla="*/ 50 w 222"/>
              <a:gd name="T49" fmla="*/ 18 h 222"/>
              <a:gd name="T50" fmla="*/ 68 w 222"/>
              <a:gd name="T51" fmla="*/ 8 h 222"/>
              <a:gd name="T52" fmla="*/ 90 w 222"/>
              <a:gd name="T53" fmla="*/ 2 h 222"/>
              <a:gd name="T54" fmla="*/ 112 w 222"/>
              <a:gd name="T55" fmla="*/ 0 h 222"/>
              <a:gd name="T56" fmla="*/ 112 w 222"/>
              <a:gd name="T57" fmla="*/ 0 h 222"/>
              <a:gd name="T58" fmla="*/ 134 w 222"/>
              <a:gd name="T59" fmla="*/ 2 h 222"/>
              <a:gd name="T60" fmla="*/ 154 w 222"/>
              <a:gd name="T61" fmla="*/ 8 h 222"/>
              <a:gd name="T62" fmla="*/ 174 w 222"/>
              <a:gd name="T63" fmla="*/ 18 h 222"/>
              <a:gd name="T64" fmla="*/ 190 w 222"/>
              <a:gd name="T65" fmla="*/ 32 h 222"/>
              <a:gd name="T66" fmla="*/ 204 w 222"/>
              <a:gd name="T67" fmla="*/ 48 h 222"/>
              <a:gd name="T68" fmla="*/ 214 w 222"/>
              <a:gd name="T69" fmla="*/ 68 h 222"/>
              <a:gd name="T70" fmla="*/ 220 w 222"/>
              <a:gd name="T71" fmla="*/ 88 h 222"/>
              <a:gd name="T72" fmla="*/ 222 w 222"/>
              <a:gd name="T73" fmla="*/ 110 h 222"/>
              <a:gd name="T74" fmla="*/ 222 w 222"/>
              <a:gd name="T75" fmla="*/ 11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2" h="222">
                <a:moveTo>
                  <a:pt x="222" y="110"/>
                </a:moveTo>
                <a:lnTo>
                  <a:pt x="222" y="110"/>
                </a:lnTo>
                <a:lnTo>
                  <a:pt x="220" y="134"/>
                </a:lnTo>
                <a:lnTo>
                  <a:pt x="214" y="154"/>
                </a:lnTo>
                <a:lnTo>
                  <a:pt x="204" y="174"/>
                </a:lnTo>
                <a:lnTo>
                  <a:pt x="190" y="190"/>
                </a:lnTo>
                <a:lnTo>
                  <a:pt x="174" y="204"/>
                </a:lnTo>
                <a:lnTo>
                  <a:pt x="154" y="214"/>
                </a:lnTo>
                <a:lnTo>
                  <a:pt x="134" y="220"/>
                </a:lnTo>
                <a:lnTo>
                  <a:pt x="112" y="222"/>
                </a:lnTo>
                <a:lnTo>
                  <a:pt x="112" y="222"/>
                </a:lnTo>
                <a:lnTo>
                  <a:pt x="90" y="220"/>
                </a:lnTo>
                <a:lnTo>
                  <a:pt x="68" y="214"/>
                </a:lnTo>
                <a:lnTo>
                  <a:pt x="50" y="204"/>
                </a:lnTo>
                <a:lnTo>
                  <a:pt x="32" y="190"/>
                </a:lnTo>
                <a:lnTo>
                  <a:pt x="20" y="174"/>
                </a:lnTo>
                <a:lnTo>
                  <a:pt x="8" y="154"/>
                </a:lnTo>
                <a:lnTo>
                  <a:pt x="2" y="134"/>
                </a:lnTo>
                <a:lnTo>
                  <a:pt x="0" y="110"/>
                </a:lnTo>
                <a:lnTo>
                  <a:pt x="0" y="110"/>
                </a:lnTo>
                <a:lnTo>
                  <a:pt x="2" y="88"/>
                </a:lnTo>
                <a:lnTo>
                  <a:pt x="8" y="68"/>
                </a:lnTo>
                <a:lnTo>
                  <a:pt x="20" y="48"/>
                </a:lnTo>
                <a:lnTo>
                  <a:pt x="32" y="32"/>
                </a:lnTo>
                <a:lnTo>
                  <a:pt x="50" y="18"/>
                </a:lnTo>
                <a:lnTo>
                  <a:pt x="68" y="8"/>
                </a:lnTo>
                <a:lnTo>
                  <a:pt x="90" y="2"/>
                </a:lnTo>
                <a:lnTo>
                  <a:pt x="112" y="0"/>
                </a:lnTo>
                <a:lnTo>
                  <a:pt x="112" y="0"/>
                </a:lnTo>
                <a:lnTo>
                  <a:pt x="134" y="2"/>
                </a:lnTo>
                <a:lnTo>
                  <a:pt x="154" y="8"/>
                </a:lnTo>
                <a:lnTo>
                  <a:pt x="174" y="18"/>
                </a:lnTo>
                <a:lnTo>
                  <a:pt x="190" y="32"/>
                </a:lnTo>
                <a:lnTo>
                  <a:pt x="204" y="48"/>
                </a:lnTo>
                <a:lnTo>
                  <a:pt x="214" y="68"/>
                </a:lnTo>
                <a:lnTo>
                  <a:pt x="220" y="88"/>
                </a:lnTo>
                <a:lnTo>
                  <a:pt x="222" y="110"/>
                </a:lnTo>
                <a:lnTo>
                  <a:pt x="222" y="1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04287" tIns="52144" rIns="104287" bIns="52144" numCol="1" anchor="t" anchorCtr="0" compatLnSpc="1">
            <a:prstTxWarp prst="textNoShape">
              <a:avLst/>
            </a:prstTxWarp>
          </a:bodyPr>
          <a:lstStyle/>
          <a:p>
            <a:pPr defTabSz="1042872"/>
            <a:endParaRPr lang="zh-CN" altLang="en-US" sz="2800" dirty="0">
              <a:solidFill>
                <a:srgbClr val="000000"/>
              </a:solidFill>
              <a:latin typeface="+mj-lt"/>
            </a:endParaRPr>
          </a:p>
        </p:txBody>
      </p:sp>
      <p:sp>
        <p:nvSpPr>
          <p:cNvPr id="155" name="Rectangle 105"/>
          <p:cNvSpPr>
            <a:spLocks noChangeArrowheads="1"/>
          </p:cNvSpPr>
          <p:nvPr/>
        </p:nvSpPr>
        <p:spPr bwMode="auto">
          <a:xfrm>
            <a:off x="1669099" y="4707781"/>
            <a:ext cx="6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lvl="0"/>
            <a:endParaRPr lang="en-GB" sz="1400" b="1" dirty="0">
              <a:latin typeface="宋体" panose="02010600030101010101" pitchFamily="2" charset="-122"/>
              <a:ea typeface="宋体" panose="02010600030101010101" pitchFamily="2" charset="-122"/>
            </a:endParaRPr>
          </a:p>
        </p:txBody>
      </p:sp>
      <p:sp>
        <p:nvSpPr>
          <p:cNvPr id="156" name="Rectangle 106"/>
          <p:cNvSpPr>
            <a:spLocks noChangeArrowheads="1"/>
          </p:cNvSpPr>
          <p:nvPr/>
        </p:nvSpPr>
        <p:spPr bwMode="auto">
          <a:xfrm>
            <a:off x="1332112" y="4893461"/>
            <a:ext cx="1777459" cy="163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71450" lvl="0" indent="-171450">
              <a:buFont typeface="Arial" panose="020B0604020202020204" pitchFamily="34" charset="0"/>
              <a:buChar char="•"/>
            </a:pPr>
            <a:r>
              <a:rPr lang="en-GB" altLang="zh-CN" sz="1200" dirty="0" smtClean="0">
                <a:solidFill>
                  <a:schemeClr val="bg1"/>
                </a:solidFill>
                <a:latin typeface="+mj-lt"/>
                <a:ea typeface="宋体" panose="02010600030101010101" pitchFamily="2" charset="-122"/>
              </a:rPr>
              <a:t>Uncertainty in the implementation of Circular 698</a:t>
            </a:r>
            <a:r>
              <a:rPr lang="zh-CN" altLang="en-GB" sz="1200" dirty="0" smtClean="0">
                <a:solidFill>
                  <a:schemeClr val="bg1"/>
                </a:solidFill>
                <a:latin typeface="+mj-lt"/>
                <a:ea typeface="宋体" panose="02010600030101010101" pitchFamily="2" charset="-122"/>
              </a:rPr>
              <a:t>：</a:t>
            </a:r>
            <a:endParaRPr lang="en-GB" altLang="zh-CN" sz="1200" dirty="0" smtClean="0">
              <a:solidFill>
                <a:schemeClr val="bg1"/>
              </a:solidFill>
              <a:latin typeface="+mj-lt"/>
              <a:ea typeface="宋体" panose="02010600030101010101" pitchFamily="2" charset="-122"/>
            </a:endParaRPr>
          </a:p>
          <a:p>
            <a:pPr marL="360000" lvl="1" indent="-285750">
              <a:spcBef>
                <a:spcPts val="600"/>
              </a:spcBef>
              <a:buFont typeface="Wingdings" panose="05000000000000000000" pitchFamily="2" charset="2"/>
              <a:buChar char="Ø"/>
            </a:pPr>
            <a:r>
              <a:rPr lang="en-GB" altLang="zh-CN" sz="1200" dirty="0" smtClean="0">
                <a:solidFill>
                  <a:schemeClr val="bg1"/>
                </a:solidFill>
                <a:latin typeface="+mj-lt"/>
                <a:ea typeface="宋体" panose="02010600030101010101" pitchFamily="2" charset="-122"/>
              </a:rPr>
              <a:t>Assessment of reasonable commercial purpose</a:t>
            </a:r>
          </a:p>
          <a:p>
            <a:pPr marL="360000" lvl="1" indent="-285750">
              <a:spcBef>
                <a:spcPts val="600"/>
              </a:spcBef>
              <a:buFont typeface="Wingdings" panose="05000000000000000000" pitchFamily="2" charset="2"/>
              <a:buChar char="Ø"/>
            </a:pPr>
            <a:r>
              <a:rPr lang="en-GB" sz="1200" dirty="0" smtClean="0">
                <a:solidFill>
                  <a:schemeClr val="bg1"/>
                </a:solidFill>
                <a:latin typeface="+mj-lt"/>
                <a:ea typeface="宋体" panose="02010600030101010101" pitchFamily="2" charset="-122"/>
              </a:rPr>
              <a:t>Lack of  sound feedback mechanism</a:t>
            </a:r>
            <a:endParaRPr lang="en-GB" sz="1200" dirty="0">
              <a:solidFill>
                <a:schemeClr val="bg1"/>
              </a:solidFill>
              <a:latin typeface="+mj-lt"/>
              <a:ea typeface="宋体" panose="02010600030101010101" pitchFamily="2" charset="-122"/>
            </a:endParaRPr>
          </a:p>
        </p:txBody>
      </p:sp>
      <p:sp>
        <p:nvSpPr>
          <p:cNvPr id="157" name="Rectangle 109"/>
          <p:cNvSpPr>
            <a:spLocks noChangeArrowheads="1"/>
          </p:cNvSpPr>
          <p:nvPr/>
        </p:nvSpPr>
        <p:spPr bwMode="auto">
          <a:xfrm>
            <a:off x="3238618" y="4875746"/>
            <a:ext cx="1760227" cy="1631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71450" indent="-171450" defTabSz="1042872">
              <a:spcBef>
                <a:spcPts val="600"/>
              </a:spcBef>
              <a:buFont typeface="Arial" panose="020B0604020202020204" pitchFamily="34" charset="0"/>
              <a:buChar char="•"/>
            </a:pPr>
            <a:r>
              <a:rPr lang="en-GB" altLang="zh-CN" sz="1200" dirty="0" smtClean="0">
                <a:solidFill>
                  <a:schemeClr val="bg1"/>
                </a:solidFill>
                <a:latin typeface="+mj-lt"/>
                <a:ea typeface="宋体" panose="02010600030101010101" pitchFamily="2" charset="-122"/>
              </a:rPr>
              <a:t>Echo “Base erosion and profit shifting” project</a:t>
            </a:r>
          </a:p>
          <a:p>
            <a:pPr marL="171450" indent="-171450" defTabSz="1042872">
              <a:spcBef>
                <a:spcPts val="600"/>
              </a:spcBef>
              <a:buFont typeface="Arial" panose="020B0604020202020204" pitchFamily="34" charset="0"/>
              <a:buChar char="•"/>
            </a:pPr>
            <a:r>
              <a:rPr lang="en-GB" altLang="zh-CN" sz="1200" dirty="0" smtClean="0">
                <a:solidFill>
                  <a:schemeClr val="bg1"/>
                </a:solidFill>
                <a:latin typeface="+mj-lt"/>
                <a:ea typeface="宋体" panose="02010600030101010101" pitchFamily="2" charset="-122"/>
              </a:rPr>
              <a:t>Balance administrative resource and tax revenue collection</a:t>
            </a:r>
          </a:p>
          <a:p>
            <a:pPr marL="171450" indent="-171450" defTabSz="1042872">
              <a:spcBef>
                <a:spcPts val="600"/>
              </a:spcBef>
              <a:buFont typeface="Arial" panose="020B0604020202020204" pitchFamily="34" charset="0"/>
              <a:buChar char="•"/>
            </a:pPr>
            <a:r>
              <a:rPr lang="en-GB" altLang="zh-CN" sz="1200" dirty="0" smtClean="0">
                <a:solidFill>
                  <a:schemeClr val="bg1"/>
                </a:solidFill>
                <a:latin typeface="+mj-lt"/>
                <a:ea typeface="宋体" panose="02010600030101010101" pitchFamily="2" charset="-122"/>
              </a:rPr>
              <a:t>Balance the protection of China’s tax base and FDI attraction</a:t>
            </a:r>
            <a:endParaRPr lang="en-GB" altLang="zh-CN" sz="1200" dirty="0">
              <a:solidFill>
                <a:schemeClr val="bg1"/>
              </a:solidFill>
              <a:latin typeface="+mj-lt"/>
              <a:ea typeface="宋体" panose="02010600030101010101" pitchFamily="2" charset="-122"/>
            </a:endParaRPr>
          </a:p>
        </p:txBody>
      </p:sp>
      <p:sp>
        <p:nvSpPr>
          <p:cNvPr id="158" name="Rectangle 112"/>
          <p:cNvSpPr>
            <a:spLocks noChangeArrowheads="1"/>
          </p:cNvSpPr>
          <p:nvPr/>
        </p:nvSpPr>
        <p:spPr bwMode="auto">
          <a:xfrm>
            <a:off x="5150765" y="4863651"/>
            <a:ext cx="1748323" cy="115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71450" indent="-171450" defTabSz="1042872">
              <a:spcBef>
                <a:spcPts val="600"/>
              </a:spcBef>
              <a:buFont typeface="Arial" panose="020B0604020202020204" pitchFamily="34" charset="0"/>
              <a:buChar char="•"/>
            </a:pPr>
            <a:r>
              <a:rPr lang="en-GB" altLang="zh-CN" sz="1200" dirty="0" smtClean="0">
                <a:solidFill>
                  <a:schemeClr val="bg1"/>
                </a:solidFill>
                <a:latin typeface="+mj-lt"/>
                <a:ea typeface="宋体" panose="02010600030101010101" pitchFamily="2" charset="-122"/>
              </a:rPr>
              <a:t>Self-assessment</a:t>
            </a:r>
            <a:r>
              <a:rPr lang="zh-CN" altLang="en-GB" sz="1200" dirty="0" smtClean="0">
                <a:solidFill>
                  <a:schemeClr val="bg1"/>
                </a:solidFill>
                <a:latin typeface="+mj-lt"/>
                <a:ea typeface="宋体" panose="02010600030101010101" pitchFamily="2" charset="-122"/>
              </a:rPr>
              <a:t>：</a:t>
            </a:r>
            <a:endParaRPr lang="en-GB" altLang="zh-CN" sz="1200" dirty="0" smtClean="0">
              <a:solidFill>
                <a:schemeClr val="bg1"/>
              </a:solidFill>
              <a:latin typeface="+mj-lt"/>
              <a:ea typeface="宋体" panose="02010600030101010101" pitchFamily="2" charset="-122"/>
            </a:endParaRPr>
          </a:p>
          <a:p>
            <a:pPr marL="360000" lvl="1" indent="-171450" defTabSz="1042872">
              <a:spcBef>
                <a:spcPts val="600"/>
              </a:spcBef>
              <a:buFont typeface="Wingdings" panose="05000000000000000000" pitchFamily="2" charset="2"/>
              <a:buChar char="Ø"/>
            </a:pPr>
            <a:r>
              <a:rPr lang="en-GB" altLang="zh-CN" sz="1200" dirty="0" smtClean="0">
                <a:solidFill>
                  <a:schemeClr val="bg1"/>
                </a:solidFill>
                <a:latin typeface="+mj-lt"/>
                <a:ea typeface="宋体" panose="02010600030101010101" pitchFamily="2" charset="-122"/>
              </a:rPr>
              <a:t>Safe Harbour provisions</a:t>
            </a:r>
          </a:p>
          <a:p>
            <a:pPr marL="360000" lvl="1" indent="-171450" defTabSz="1042872">
              <a:spcBef>
                <a:spcPts val="600"/>
              </a:spcBef>
              <a:buFont typeface="Wingdings" panose="05000000000000000000" pitchFamily="2" charset="2"/>
              <a:buChar char="Ø"/>
            </a:pPr>
            <a:r>
              <a:rPr lang="en-GB" altLang="zh-CN" sz="1200" dirty="0" smtClean="0">
                <a:solidFill>
                  <a:schemeClr val="bg1"/>
                </a:solidFill>
                <a:latin typeface="+mj-lt"/>
                <a:ea typeface="宋体" panose="02010600030101010101" pitchFamily="2" charset="-122"/>
              </a:rPr>
              <a:t>Tax Treaty</a:t>
            </a:r>
          </a:p>
          <a:p>
            <a:pPr marL="360000" lvl="1" indent="-171450" defTabSz="1042872">
              <a:spcBef>
                <a:spcPts val="600"/>
              </a:spcBef>
              <a:buFont typeface="Wingdings" panose="05000000000000000000" pitchFamily="2" charset="2"/>
              <a:buChar char="Ø"/>
            </a:pPr>
            <a:r>
              <a:rPr lang="en-GB" altLang="zh-CN" sz="1200" dirty="0" smtClean="0">
                <a:solidFill>
                  <a:schemeClr val="bg1"/>
                </a:solidFill>
                <a:latin typeface="+mj-lt"/>
                <a:ea typeface="宋体" panose="02010600030101010101" pitchFamily="2" charset="-122"/>
              </a:rPr>
              <a:t>Business Purpose</a:t>
            </a:r>
            <a:endParaRPr lang="en-GB" altLang="zh-CN" sz="1200" dirty="0">
              <a:solidFill>
                <a:schemeClr val="bg1"/>
              </a:solidFill>
              <a:latin typeface="+mj-lt"/>
              <a:ea typeface="宋体" panose="02010600030101010101" pitchFamily="2" charset="-122"/>
            </a:endParaRPr>
          </a:p>
        </p:txBody>
      </p:sp>
      <p:sp>
        <p:nvSpPr>
          <p:cNvPr id="159" name="Rectangle 115"/>
          <p:cNvSpPr>
            <a:spLocks noChangeArrowheads="1"/>
          </p:cNvSpPr>
          <p:nvPr/>
        </p:nvSpPr>
        <p:spPr bwMode="auto">
          <a:xfrm>
            <a:off x="7097416" y="4875746"/>
            <a:ext cx="1820216" cy="2077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71450" indent="-171450" defTabSz="1042872">
              <a:buFont typeface="Arial" panose="020B0604020202020204" pitchFamily="34" charset="0"/>
              <a:buChar char="•"/>
            </a:pPr>
            <a:r>
              <a:rPr lang="en-GB" altLang="zh-CN" sz="1200" dirty="0" smtClean="0">
                <a:solidFill>
                  <a:schemeClr val="bg1"/>
                </a:solidFill>
                <a:latin typeface="+mj-lt"/>
                <a:ea typeface="宋体" panose="02010600030101010101" pitchFamily="2" charset="-122"/>
              </a:rPr>
              <a:t>Equity transferor / transferee (as the withholding agent) to self-assess the transaction:</a:t>
            </a:r>
          </a:p>
          <a:p>
            <a:pPr marL="360000" lvl="1" indent="-171450" defTabSz="1042872">
              <a:spcBef>
                <a:spcPts val="600"/>
              </a:spcBef>
              <a:buFont typeface="Wingdings" panose="05000000000000000000" pitchFamily="2" charset="2"/>
              <a:buChar char="Ø"/>
            </a:pPr>
            <a:r>
              <a:rPr lang="en-GB" altLang="zh-CN" sz="1200" dirty="0" smtClean="0">
                <a:solidFill>
                  <a:schemeClr val="bg1"/>
                </a:solidFill>
                <a:latin typeface="+mj-lt"/>
                <a:ea typeface="宋体" panose="02010600030101010101" pitchFamily="2" charset="-122"/>
              </a:rPr>
              <a:t>Voluntary reporting</a:t>
            </a:r>
          </a:p>
          <a:p>
            <a:pPr marL="360000" lvl="1" indent="-171450" defTabSz="1042872">
              <a:spcBef>
                <a:spcPts val="600"/>
              </a:spcBef>
              <a:buFont typeface="Wingdings" panose="05000000000000000000" pitchFamily="2" charset="2"/>
              <a:buChar char="Ø"/>
            </a:pPr>
            <a:r>
              <a:rPr lang="en-GB" altLang="zh-CN" sz="1200" dirty="0" smtClean="0">
                <a:solidFill>
                  <a:schemeClr val="bg1"/>
                </a:solidFill>
                <a:latin typeface="+mj-lt"/>
                <a:ea typeface="宋体" panose="02010600030101010101" pitchFamily="2" charset="-122"/>
              </a:rPr>
              <a:t>Voluntary tax payment</a:t>
            </a:r>
          </a:p>
          <a:p>
            <a:pPr marL="360000" lvl="1" indent="-171450" defTabSz="1042872">
              <a:spcBef>
                <a:spcPts val="600"/>
              </a:spcBef>
              <a:buFont typeface="Wingdings" panose="05000000000000000000" pitchFamily="2" charset="2"/>
              <a:buChar char="Ø"/>
            </a:pPr>
            <a:r>
              <a:rPr lang="en-GB" altLang="zh-CN" sz="1200" dirty="0" smtClean="0">
                <a:solidFill>
                  <a:schemeClr val="bg1"/>
                </a:solidFill>
                <a:latin typeface="+mj-lt"/>
                <a:ea typeface="宋体" panose="02010600030101010101" pitchFamily="2" charset="-122"/>
              </a:rPr>
              <a:t>Investigation by tax authorities</a:t>
            </a:r>
            <a:endParaRPr lang="en-GB" altLang="zh-CN" sz="1200" dirty="0">
              <a:solidFill>
                <a:schemeClr val="bg1"/>
              </a:solidFill>
              <a:latin typeface="+mj-lt"/>
              <a:ea typeface="宋体" panose="02010600030101010101" pitchFamily="2" charset="-122"/>
            </a:endParaRPr>
          </a:p>
        </p:txBody>
      </p:sp>
      <p:sp>
        <p:nvSpPr>
          <p:cNvPr id="160" name="TextBox 159"/>
          <p:cNvSpPr txBox="1"/>
          <p:nvPr/>
        </p:nvSpPr>
        <p:spPr>
          <a:xfrm>
            <a:off x="1703789" y="3910163"/>
            <a:ext cx="1479594" cy="392835"/>
          </a:xfrm>
          <a:prstGeom prst="rect">
            <a:avLst/>
          </a:prstGeom>
          <a:noFill/>
        </p:spPr>
        <p:txBody>
          <a:bodyPr wrap="square" lIns="0" tIns="0" rIns="0" bIns="0" rtlCol="0">
            <a:noAutofit/>
          </a:bodyPr>
          <a:lstStyle/>
          <a:p>
            <a:pPr indent="-312862" defTabSz="1042872">
              <a:spcAft>
                <a:spcPts val="1027"/>
              </a:spcAft>
            </a:pPr>
            <a:r>
              <a:rPr lang="en-GB" altLang="zh-CN" sz="2000" b="1" dirty="0" smtClean="0">
                <a:solidFill>
                  <a:srgbClr val="FFFFFF"/>
                </a:solidFill>
                <a:latin typeface="宋体" panose="02010600030101010101" pitchFamily="2" charset="-122"/>
                <a:ea typeface="宋体" panose="02010600030101010101" pitchFamily="2" charset="-122"/>
              </a:rPr>
              <a:t>Background</a:t>
            </a:r>
            <a:endParaRPr lang="en-GB" altLang="zh-CN" sz="2000" b="1" dirty="0">
              <a:solidFill>
                <a:srgbClr val="FFFFFF"/>
              </a:solidFill>
              <a:latin typeface="宋体" panose="02010600030101010101" pitchFamily="2" charset="-122"/>
              <a:ea typeface="宋体" panose="02010600030101010101" pitchFamily="2" charset="-122"/>
            </a:endParaRPr>
          </a:p>
        </p:txBody>
      </p:sp>
      <p:sp>
        <p:nvSpPr>
          <p:cNvPr id="161" name="TextBox 160"/>
          <p:cNvSpPr txBox="1"/>
          <p:nvPr/>
        </p:nvSpPr>
        <p:spPr>
          <a:xfrm>
            <a:off x="3707935" y="3930021"/>
            <a:ext cx="907559" cy="353118"/>
          </a:xfrm>
          <a:prstGeom prst="rect">
            <a:avLst/>
          </a:prstGeom>
          <a:noFill/>
        </p:spPr>
        <p:txBody>
          <a:bodyPr wrap="square" lIns="0" tIns="0" rIns="0" bIns="0" rtlCol="0">
            <a:noAutofit/>
          </a:bodyPr>
          <a:lstStyle/>
          <a:p>
            <a:pPr indent="-312862" defTabSz="1042872">
              <a:spcAft>
                <a:spcPts val="1027"/>
              </a:spcAft>
            </a:pPr>
            <a:r>
              <a:rPr lang="en-GB" altLang="zh-CN" sz="2000" b="1" dirty="0" smtClean="0">
                <a:solidFill>
                  <a:srgbClr val="FFFFFF"/>
                </a:solidFill>
                <a:latin typeface="宋体" panose="02010600030101010101" pitchFamily="2" charset="-122"/>
                <a:ea typeface="宋体" panose="02010600030101010101" pitchFamily="2" charset="-122"/>
              </a:rPr>
              <a:t>Target</a:t>
            </a:r>
            <a:endParaRPr lang="en-GB" altLang="zh-CN" sz="2000" b="1" dirty="0">
              <a:solidFill>
                <a:srgbClr val="FFFFFF"/>
              </a:solidFill>
              <a:latin typeface="宋体" panose="02010600030101010101" pitchFamily="2" charset="-122"/>
              <a:ea typeface="宋体" panose="02010600030101010101" pitchFamily="2" charset="-122"/>
            </a:endParaRPr>
          </a:p>
        </p:txBody>
      </p:sp>
      <p:sp>
        <p:nvSpPr>
          <p:cNvPr id="162" name="TextBox 161"/>
          <p:cNvSpPr txBox="1"/>
          <p:nvPr/>
        </p:nvSpPr>
        <p:spPr>
          <a:xfrm>
            <a:off x="5592213" y="3870323"/>
            <a:ext cx="1175561" cy="320066"/>
          </a:xfrm>
          <a:prstGeom prst="rect">
            <a:avLst/>
          </a:prstGeom>
          <a:noFill/>
        </p:spPr>
        <p:txBody>
          <a:bodyPr wrap="square" lIns="0" tIns="0" rIns="0" bIns="0" rtlCol="0">
            <a:noAutofit/>
          </a:bodyPr>
          <a:lstStyle/>
          <a:p>
            <a:pPr indent="-312862" defTabSz="1042872">
              <a:spcAft>
                <a:spcPts val="1027"/>
              </a:spcAft>
            </a:pPr>
            <a:r>
              <a:rPr lang="en-GB" altLang="zh-CN" sz="2000" b="1" dirty="0" smtClean="0">
                <a:solidFill>
                  <a:srgbClr val="FFFFFF"/>
                </a:solidFill>
                <a:latin typeface="宋体" panose="02010600030101010101" pitchFamily="2" charset="-122"/>
                <a:ea typeface="宋体" panose="02010600030101010101" pitchFamily="2" charset="-122"/>
              </a:rPr>
              <a:t>Approach</a:t>
            </a:r>
            <a:endParaRPr lang="en-GB" altLang="zh-CN" sz="2000" b="1" dirty="0">
              <a:solidFill>
                <a:srgbClr val="FFFFFF"/>
              </a:solidFill>
              <a:latin typeface="宋体" panose="02010600030101010101" pitchFamily="2" charset="-122"/>
              <a:ea typeface="宋体" panose="02010600030101010101" pitchFamily="2" charset="-122"/>
            </a:endParaRPr>
          </a:p>
        </p:txBody>
      </p:sp>
      <p:sp>
        <p:nvSpPr>
          <p:cNvPr id="163" name="TextBox 162"/>
          <p:cNvSpPr txBox="1"/>
          <p:nvPr/>
        </p:nvSpPr>
        <p:spPr>
          <a:xfrm>
            <a:off x="7247727" y="3902791"/>
            <a:ext cx="2033747" cy="319493"/>
          </a:xfrm>
          <a:prstGeom prst="rect">
            <a:avLst/>
          </a:prstGeom>
          <a:noFill/>
        </p:spPr>
        <p:txBody>
          <a:bodyPr wrap="square" lIns="0" tIns="0" rIns="0" bIns="0" rtlCol="0">
            <a:noAutofit/>
          </a:bodyPr>
          <a:lstStyle/>
          <a:p>
            <a:pPr indent="-312862" defTabSz="1042872">
              <a:spcAft>
                <a:spcPts val="1027"/>
              </a:spcAft>
            </a:pPr>
            <a:r>
              <a:rPr lang="en-GB" altLang="zh-CN" sz="2000" b="1" dirty="0" smtClean="0">
                <a:solidFill>
                  <a:srgbClr val="FFFFFF"/>
                </a:solidFill>
                <a:latin typeface="宋体" panose="02010600030101010101" pitchFamily="2" charset="-122"/>
                <a:ea typeface="宋体" panose="02010600030101010101" pitchFamily="2" charset="-122"/>
              </a:rPr>
              <a:t> Procedures </a:t>
            </a:r>
            <a:endParaRPr lang="en-GB" altLang="zh-CN" sz="2000" b="1" dirty="0">
              <a:solidFill>
                <a:srgbClr val="FFFFFF"/>
              </a:solidFill>
              <a:latin typeface="宋体" panose="02010600030101010101" pitchFamily="2" charset="-122"/>
              <a:ea typeface="宋体" panose="02010600030101010101" pitchFamily="2" charset="-122"/>
            </a:endParaRPr>
          </a:p>
        </p:txBody>
      </p:sp>
      <p:grpSp>
        <p:nvGrpSpPr>
          <p:cNvPr id="182" name="Group 181"/>
          <p:cNvGrpSpPr/>
          <p:nvPr>
            <p:custDataLst>
              <p:tags r:id="rId6"/>
            </p:custDataLst>
          </p:nvPr>
        </p:nvGrpSpPr>
        <p:grpSpPr>
          <a:xfrm>
            <a:off x="5283980" y="704088"/>
            <a:ext cx="4236835" cy="138499"/>
            <a:chOff x="5283980" y="704088"/>
            <a:chExt cx="4236835" cy="138499"/>
          </a:xfrm>
        </p:grpSpPr>
        <p:sp>
          <p:nvSpPr>
            <p:cNvPr id="183" name="745">
              <a:hlinkClick r:id="rId13" action="ppaction://hlinksldjump"/>
            </p:cNvPr>
            <p:cNvSpPr txBox="1"/>
            <p:nvPr>
              <p:custDataLst>
                <p:tags r:id="rId7"/>
              </p:custDataLst>
            </p:nvPr>
          </p:nvSpPr>
          <p:spPr>
            <a:xfrm>
              <a:off x="7868824" y="704088"/>
              <a:ext cx="1651991" cy="138499"/>
            </a:xfrm>
            <a:prstGeom prst="rect">
              <a:avLst/>
            </a:prstGeom>
            <a:noFill/>
            <a:ln>
              <a:noFill/>
            </a:ln>
          </p:spPr>
          <p:txBody>
            <a:bodyPr wrap="none" lIns="27432" tIns="0" rIns="27432" bIns="0" rtlCol="0">
              <a:spAutoFit/>
            </a:bodyPr>
            <a:lstStyle/>
            <a:p>
              <a:r>
                <a:rPr lang="en-US" sz="900" noProof="1" smtClean="0">
                  <a:solidFill>
                    <a:schemeClr val="tx2"/>
                  </a:solidFill>
                  <a:cs typeface="Arial" pitchFamily="34" charset="0"/>
                </a:rPr>
                <a:t>Part II  Indirect Equity Transfer </a:t>
              </a:r>
              <a:endParaRPr lang="en-GB" sz="900" noProof="1" smtClean="0">
                <a:solidFill>
                  <a:schemeClr val="tx2"/>
                </a:solidFill>
                <a:cs typeface="Arial" pitchFamily="34" charset="0"/>
              </a:endParaRPr>
            </a:p>
          </p:txBody>
        </p:sp>
        <p:cxnSp>
          <p:nvCxnSpPr>
            <p:cNvPr id="184" name="Divider1"/>
            <p:cNvCxnSpPr/>
            <p:nvPr>
              <p:custDataLst>
                <p:tags r:id="rId8"/>
              </p:custDataLst>
            </p:nvPr>
          </p:nvCxnSpPr>
          <p:spPr>
            <a:xfrm>
              <a:off x="7843424"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85" name="638">
              <a:hlinkClick r:id="rId14" action="ppaction://hlinksldjump"/>
            </p:cNvPr>
            <p:cNvSpPr txBox="1"/>
            <p:nvPr>
              <p:custDataLst>
                <p:tags r:id="rId9"/>
              </p:custDataLst>
            </p:nvPr>
          </p:nvSpPr>
          <p:spPr>
            <a:xfrm>
              <a:off x="5787725" y="704088"/>
              <a:ext cx="2030299" cy="138499"/>
            </a:xfrm>
            <a:prstGeom prst="rect">
              <a:avLst/>
            </a:prstGeom>
            <a:noFill/>
            <a:ln>
              <a:noFill/>
            </a:ln>
          </p:spPr>
          <p:txBody>
            <a:bodyPr wrap="none" lIns="27432" tIns="0" rIns="27432" bIns="0" rtlCol="0">
              <a:spAutoFit/>
            </a:bodyPr>
            <a:lstStyle/>
            <a:p>
              <a:r>
                <a:rPr lang="en-US" sz="900" noProof="1" smtClean="0">
                  <a:solidFill>
                    <a:schemeClr val="tx1"/>
                  </a:solidFill>
                  <a:latin typeface="+mn-lt"/>
                  <a:cs typeface="Arial" pitchFamily="34" charset="0"/>
                </a:rPr>
                <a:t>Part I  Brief Introduction to PRC GAAR</a:t>
              </a:r>
              <a:endParaRPr lang="en-GB" sz="900" noProof="1" smtClean="0">
                <a:solidFill>
                  <a:schemeClr val="tx1"/>
                </a:solidFill>
                <a:latin typeface="+mn-lt"/>
                <a:cs typeface="Arial" pitchFamily="34" charset="0"/>
              </a:endParaRPr>
            </a:p>
          </p:txBody>
        </p:sp>
        <p:cxnSp>
          <p:nvCxnSpPr>
            <p:cNvPr id="186" name="Divider2"/>
            <p:cNvCxnSpPr/>
            <p:nvPr>
              <p:custDataLst>
                <p:tags r:id="rId10"/>
              </p:custDataLst>
            </p:nvPr>
          </p:nvCxnSpPr>
          <p:spPr>
            <a:xfrm>
              <a:off x="5762325"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87" name="735">
              <a:hlinkClick r:id="rId15" action="ppaction://hlinksldjump"/>
            </p:cNvPr>
            <p:cNvSpPr txBox="1"/>
            <p:nvPr>
              <p:custDataLst>
                <p:tags r:id="rId11"/>
              </p:custDataLst>
            </p:nvPr>
          </p:nvSpPr>
          <p:spPr>
            <a:xfrm>
              <a:off x="5283980" y="704088"/>
              <a:ext cx="452945" cy="138499"/>
            </a:xfrm>
            <a:prstGeom prst="rect">
              <a:avLst/>
            </a:prstGeom>
            <a:noFill/>
            <a:ln>
              <a:noFill/>
            </a:ln>
          </p:spPr>
          <p:txBody>
            <a:bodyPr wrap="none" lIns="27432" tIns="0" rIns="27432" bIns="0" rtlCol="0">
              <a:spAutoFit/>
            </a:bodyPr>
            <a:lstStyle/>
            <a:p>
              <a:r>
                <a:rPr lang="en-GB" sz="900" noProof="1" smtClean="0">
                  <a:solidFill>
                    <a:schemeClr val="tx1"/>
                  </a:solidFill>
                  <a:latin typeface="+mn-lt"/>
                  <a:cs typeface="Arial" pitchFamily="34" charset="0"/>
                </a:rPr>
                <a:t>Agenda</a:t>
              </a:r>
              <a:endParaRPr lang="en-GB" sz="900" noProof="1" smtClean="0">
                <a:solidFill>
                  <a:schemeClr val="tx1"/>
                </a:solidFill>
                <a:latin typeface="+mn-lt"/>
                <a:cs typeface="Arial" pitchFamily="34" charset="0"/>
              </a:endParaRPr>
            </a:p>
          </p:txBody>
        </p:sp>
      </p:grpSp>
    </p:spTree>
    <p:custDataLst>
      <p:tags r:id="rId1"/>
    </p:custDataLst>
    <p:extLst>
      <p:ext uri="{BB962C8B-B14F-4D97-AF65-F5344CB8AC3E}">
        <p14:creationId xmlns:p14="http://schemas.microsoft.com/office/powerpoint/2010/main" val="279962539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en-GB"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sp>
        <p:nvSpPr>
          <p:cNvPr id="3" name="Title 2"/>
          <p:cNvSpPr>
            <a:spLocks noGrp="1"/>
          </p:cNvSpPr>
          <p:nvPr>
            <p:ph type="title"/>
          </p:nvPr>
        </p:nvSpPr>
        <p:spPr/>
        <p:txBody>
          <a:bodyPr/>
          <a:lstStyle/>
          <a:p>
            <a:r>
              <a:rPr lang="en-GB" dirty="0" smtClean="0">
                <a:ea typeface="宋体" panose="02010600030101010101" pitchFamily="2" charset="-122"/>
              </a:rPr>
              <a:t>Application Scope </a:t>
            </a:r>
            <a:endParaRPr lang="en-GB" b="0" i="0" dirty="0">
              <a:ea typeface="宋体" panose="02010600030101010101" pitchFamily="2" charset="-122"/>
            </a:endParaRPr>
          </a:p>
        </p:txBody>
      </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en-GB" sz="1100" noProof="1" smtClean="0">
                <a:latin typeface="+mj-lt"/>
              </a:rPr>
              <a:t>11</a:t>
            </a:r>
            <a:endParaRPr lang="en-GB" sz="1100" noProof="1" smtClean="0">
              <a:latin typeface="+mj-lt"/>
            </a:endParaRP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en-GB" altLang="zh-CN" sz="1100" noProof="1" smtClean="0">
                <a:solidFill>
                  <a:schemeClr val="tx1"/>
                </a:solidFill>
                <a:latin typeface="+mj-lt"/>
                <a:ea typeface="宋体" panose="02010600030101010101" pitchFamily="2" charset="-122"/>
              </a:rPr>
              <a:t>Overview of PRC GAAR</a:t>
            </a:r>
            <a:endParaRPr lang="en-GB" sz="1100" noProof="1" smtClean="0">
              <a:solidFill>
                <a:schemeClr val="tx1"/>
              </a:solidFill>
              <a:latin typeface="+mj-lt"/>
              <a:ea typeface="宋体" panose="02010600030101010101" pitchFamily="2" charset="-122"/>
            </a:endParaRP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en-GB" altLang="zh-CN" sz="900" noProof="1" smtClean="0">
                <a:solidFill>
                  <a:schemeClr val="tx1"/>
                </a:solidFill>
              </a:rPr>
              <a:t>-1 Part II  Indirect Equity Transfer </a:t>
            </a:r>
            <a:endParaRPr lang="en-GB" sz="900" noProof="1" smtClean="0">
              <a:solidFill>
                <a:schemeClr val="tx1"/>
              </a:solidFill>
            </a:endParaRPr>
          </a:p>
        </p:txBody>
      </p:sp>
      <p:sp>
        <p:nvSpPr>
          <p:cNvPr id="63" name="Rectangle 62"/>
          <p:cNvSpPr/>
          <p:nvPr/>
        </p:nvSpPr>
        <p:spPr>
          <a:xfrm>
            <a:off x="5749280" y="3032091"/>
            <a:ext cx="3584043" cy="3734428"/>
          </a:xfrm>
          <a:prstGeom prst="rect">
            <a:avLst/>
          </a:prstGeom>
          <a:solidFill>
            <a:schemeClr val="bg1">
              <a:lumMod val="85000"/>
              <a:alpha val="43000"/>
            </a:schemeClr>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tLang="zh-CN" dirty="0" smtClean="0"/>
          </a:p>
        </p:txBody>
      </p:sp>
      <p:sp>
        <p:nvSpPr>
          <p:cNvPr id="64" name="Rectangle 63"/>
          <p:cNvSpPr>
            <a:spLocks noChangeArrowheads="1"/>
          </p:cNvSpPr>
          <p:nvPr/>
        </p:nvSpPr>
        <p:spPr bwMode="gray">
          <a:xfrm>
            <a:off x="520883" y="2048954"/>
            <a:ext cx="9092849" cy="915688"/>
          </a:xfrm>
          <a:prstGeom prst="rect">
            <a:avLst/>
          </a:prstGeom>
          <a:solidFill>
            <a:schemeClr val="accent1"/>
          </a:solidFill>
          <a:ln w="6350">
            <a:noFill/>
            <a:miter lim="800000"/>
            <a:headEnd/>
            <a:tailEnd/>
          </a:ln>
          <a:effectLst/>
        </p:spPr>
        <p:txBody>
          <a:bodyPr wrap="none" lIns="45720" rIns="45720" anchor="ctr" anchorCtr="1"/>
          <a:lstStyle/>
          <a:p>
            <a:r>
              <a:rPr lang="en-GB" altLang="zh-CN" sz="1200" dirty="0" smtClean="0">
                <a:solidFill>
                  <a:schemeClr val="bg2"/>
                </a:solidFill>
                <a:latin typeface="+mj-lt"/>
                <a:ea typeface="宋体" panose="02010600030101010101" pitchFamily="2" charset="-122"/>
              </a:rPr>
              <a:t>Where a Non-TRE </a:t>
            </a:r>
            <a:r>
              <a:rPr lang="en-GB" altLang="zh-CN" sz="1200" b="1" u="sng" dirty="0" smtClean="0">
                <a:solidFill>
                  <a:schemeClr val="bg2"/>
                </a:solidFill>
                <a:latin typeface="+mj-lt"/>
                <a:ea typeface="宋体" panose="02010600030101010101" pitchFamily="2" charset="-122"/>
              </a:rPr>
              <a:t>indirectly transfers the equity interest in a China TRE and other properties in China </a:t>
            </a:r>
            <a:r>
              <a:rPr lang="en-GB" altLang="zh-CN" sz="1200" dirty="0" smtClean="0">
                <a:solidFill>
                  <a:schemeClr val="bg2"/>
                </a:solidFill>
                <a:latin typeface="+mj-lt"/>
                <a:ea typeface="宋体" panose="02010600030101010101" pitchFamily="2" charset="-122"/>
              </a:rPr>
              <a:t>through the </a:t>
            </a:r>
          </a:p>
          <a:p>
            <a:r>
              <a:rPr lang="en-GB" altLang="zh-CN" sz="1200" dirty="0" smtClean="0">
                <a:solidFill>
                  <a:schemeClr val="bg2"/>
                </a:solidFill>
                <a:latin typeface="+mj-lt"/>
                <a:ea typeface="宋体" panose="02010600030101010101" pitchFamily="2" charset="-122"/>
              </a:rPr>
              <a:t>implementation of a scheme without a reasonable commercial purpose and resulting in the avoidance of CIT liability, such indirect </a:t>
            </a:r>
          </a:p>
          <a:p>
            <a:r>
              <a:rPr lang="en-GB" altLang="zh-CN" sz="1200" dirty="0" smtClean="0">
                <a:solidFill>
                  <a:schemeClr val="bg2"/>
                </a:solidFill>
                <a:latin typeface="+mj-lt"/>
                <a:ea typeface="宋体" panose="02010600030101010101" pitchFamily="2" charset="-122"/>
              </a:rPr>
              <a:t>transfer should be re-characterized as a direct transfer of the equity interest in the TRE and other properties in China in accordance </a:t>
            </a:r>
          </a:p>
          <a:p>
            <a:r>
              <a:rPr lang="en-GB" altLang="zh-CN" sz="1200" dirty="0" smtClean="0">
                <a:solidFill>
                  <a:schemeClr val="bg2"/>
                </a:solidFill>
                <a:latin typeface="+mj-lt"/>
                <a:ea typeface="宋体" panose="02010600030101010101" pitchFamily="2" charset="-122"/>
              </a:rPr>
              <a:t>with Article 47 of the CIT Law</a:t>
            </a:r>
          </a:p>
        </p:txBody>
      </p:sp>
      <p:sp>
        <p:nvSpPr>
          <p:cNvPr id="65" name="Rectangle 5"/>
          <p:cNvSpPr>
            <a:spLocks noChangeArrowheads="1"/>
          </p:cNvSpPr>
          <p:nvPr/>
        </p:nvSpPr>
        <p:spPr bwMode="gray">
          <a:xfrm>
            <a:off x="520884" y="3032090"/>
            <a:ext cx="2316770" cy="546261"/>
          </a:xfrm>
          <a:prstGeom prst="rect">
            <a:avLst/>
          </a:prstGeom>
          <a:solidFill>
            <a:schemeClr val="accent2"/>
          </a:solidFill>
          <a:ln w="6350">
            <a:noFill/>
            <a:miter lim="800000"/>
            <a:headEnd/>
            <a:tailEnd/>
          </a:ln>
          <a:effectLst/>
        </p:spPr>
        <p:txBody>
          <a:bodyPr wrap="none" lIns="45720" rIns="45720" anchor="ctr" anchorCtr="0"/>
          <a:lstStyle/>
          <a:p>
            <a:pPr algn="ctr"/>
            <a:r>
              <a:rPr lang="en-GB" altLang="zh-CN" b="1" dirty="0" smtClean="0">
                <a:solidFill>
                  <a:schemeClr val="bg1"/>
                </a:solidFill>
                <a:latin typeface="+mj-lt"/>
                <a:ea typeface="宋体" panose="02010600030101010101" pitchFamily="2" charset="-122"/>
              </a:rPr>
              <a:t>Equity interest in a China TRE </a:t>
            </a:r>
          </a:p>
          <a:p>
            <a:pPr algn="ctr"/>
            <a:r>
              <a:rPr lang="en-GB" altLang="zh-CN" b="1" dirty="0" smtClean="0">
                <a:solidFill>
                  <a:schemeClr val="bg1"/>
                </a:solidFill>
                <a:latin typeface="+mj-lt"/>
                <a:ea typeface="宋体" panose="02010600030101010101" pitchFamily="2" charset="-122"/>
              </a:rPr>
              <a:t>and other properties in China </a:t>
            </a:r>
          </a:p>
          <a:p>
            <a:pPr algn="ctr"/>
            <a:r>
              <a:rPr lang="en-GB" altLang="zh-CN" b="1" dirty="0" smtClean="0">
                <a:solidFill>
                  <a:schemeClr val="bg1"/>
                </a:solidFill>
                <a:latin typeface="+mj-lt"/>
                <a:ea typeface="宋体" panose="02010600030101010101" pitchFamily="2" charset="-122"/>
              </a:rPr>
              <a:t>(China Taxable Property) </a:t>
            </a:r>
            <a:endParaRPr lang="en-GB" b="1" dirty="0">
              <a:solidFill>
                <a:schemeClr val="bg1"/>
              </a:solidFill>
              <a:latin typeface="+mj-lt"/>
              <a:ea typeface="宋体" panose="02010600030101010101" pitchFamily="2" charset="-122"/>
            </a:endParaRPr>
          </a:p>
        </p:txBody>
      </p:sp>
      <p:sp>
        <p:nvSpPr>
          <p:cNvPr id="66" name="Content Placeholder 57"/>
          <p:cNvSpPr>
            <a:spLocks noGrp="1"/>
          </p:cNvSpPr>
          <p:nvPr>
            <p:ph sz="quarter" idx="24"/>
          </p:nvPr>
        </p:nvSpPr>
        <p:spPr bwMode="gray">
          <a:xfrm>
            <a:off x="520882" y="3633350"/>
            <a:ext cx="2316771" cy="3349193"/>
          </a:xfrm>
          <a:solidFill>
            <a:schemeClr val="bg2"/>
          </a:solidFill>
          <a:ln>
            <a:solidFill>
              <a:schemeClr val="accent1"/>
            </a:solidFill>
          </a:ln>
        </p:spPr>
        <p:txBody>
          <a:bodyPr lIns="46800" tIns="46800" rIns="46800" bIns="46800"/>
          <a:lstStyle/>
          <a:p>
            <a:pPr lvl="1"/>
            <a:r>
              <a:rPr lang="en-GB" altLang="zh-CN" sz="1200" dirty="0" smtClean="0">
                <a:latin typeface="+mj-lt"/>
                <a:ea typeface="宋体" panose="02010600030101010101" pitchFamily="2" charset="-122"/>
              </a:rPr>
              <a:t>Properties owned by Non-TRE and if transferred directly, the resulting gain would be subject to CIT </a:t>
            </a:r>
          </a:p>
          <a:p>
            <a:pPr lvl="2"/>
            <a:r>
              <a:rPr lang="en-GB" altLang="zh-CN" sz="1200" dirty="0" smtClean="0">
                <a:latin typeface="+mj-lt"/>
                <a:ea typeface="宋体" panose="02010600030101010101" pitchFamily="2" charset="-122"/>
              </a:rPr>
              <a:t>Property of an establishment or place in China</a:t>
            </a:r>
          </a:p>
          <a:p>
            <a:pPr lvl="2"/>
            <a:r>
              <a:rPr lang="en-GB" altLang="zh-CN" sz="1200" dirty="0" smtClean="0">
                <a:latin typeface="+mj-lt"/>
                <a:ea typeface="宋体" panose="02010600030101010101" pitchFamily="2" charset="-122"/>
              </a:rPr>
              <a:t>Immovable properties in China</a:t>
            </a:r>
          </a:p>
          <a:p>
            <a:pPr lvl="2"/>
            <a:r>
              <a:rPr lang="en-GB" altLang="zh-CN" sz="1200" dirty="0" smtClean="0">
                <a:latin typeface="+mj-lt"/>
                <a:ea typeface="宋体" panose="02010600030101010101" pitchFamily="2" charset="-122"/>
              </a:rPr>
              <a:t>Equity investments in a Chinese TRE</a:t>
            </a:r>
          </a:p>
        </p:txBody>
      </p:sp>
      <p:sp>
        <p:nvSpPr>
          <p:cNvPr id="67" name="Content Placeholder 58"/>
          <p:cNvSpPr txBox="1">
            <a:spLocks/>
          </p:cNvSpPr>
          <p:nvPr/>
        </p:nvSpPr>
        <p:spPr bwMode="gray">
          <a:xfrm>
            <a:off x="3005534" y="3633350"/>
            <a:ext cx="2358500" cy="3349193"/>
          </a:xfrm>
          <a:prstGeom prst="rect">
            <a:avLst/>
          </a:prstGeom>
          <a:solidFill>
            <a:schemeClr val="bg2"/>
          </a:solidFill>
          <a:ln>
            <a:solidFill>
              <a:schemeClr val="accent1"/>
            </a:solidFill>
          </a:ln>
        </p:spPr>
        <p:txBody>
          <a:bodyPr lIns="46800" tIns="46800" rIns="46800" bIns="46800"/>
          <a:lstStyle>
            <a:lvl1pPr marL="0" marR="0" indent="0" algn="l" defTabSz="1019175" rtl="0" eaLnBrk="1" fontAlgn="base" latinLnBrk="0" hangingPunct="1">
              <a:lnSpc>
                <a:spcPct val="100000"/>
              </a:lnSpc>
              <a:spcBef>
                <a:spcPts val="0"/>
              </a:spcBef>
              <a:spcAft>
                <a:spcPts val="600"/>
              </a:spcAft>
              <a:buClr>
                <a:srgbClr val="000000"/>
              </a:buClr>
              <a:buSzTx/>
              <a:buFont typeface="Wingdings" pitchFamily="2" charset="2"/>
              <a:buNone/>
              <a:tabLst/>
              <a:defRPr sz="2000" kern="1200">
                <a:solidFill>
                  <a:schemeClr val="tx1"/>
                </a:solidFill>
                <a:latin typeface="Georgia" pitchFamily="18" charset="0"/>
                <a:ea typeface="+mn-ea"/>
                <a:cs typeface="+mn-cs"/>
              </a:defRPr>
            </a:lvl1pPr>
            <a:lvl2pPr marL="234950" marR="0" indent="-228600" algn="l" defTabSz="1019175" rtl="0" eaLnBrk="1" fontAlgn="base" latinLnBrk="0" hangingPunct="1">
              <a:lnSpc>
                <a:spcPct val="100000"/>
              </a:lnSpc>
              <a:spcBef>
                <a:spcPts val="0"/>
              </a:spcBef>
              <a:spcAft>
                <a:spcPts val="600"/>
              </a:spcAft>
              <a:buClr>
                <a:srgbClr val="000000"/>
              </a:buClr>
              <a:buSzTx/>
              <a:buFont typeface="Times New Roman" pitchFamily="18" charset="0"/>
              <a:buChar char="•"/>
              <a:tabLst/>
              <a:defRPr sz="2000" kern="1200">
                <a:solidFill>
                  <a:schemeClr val="tx1"/>
                </a:solidFill>
                <a:latin typeface="Georgia" pitchFamily="18" charset="0"/>
                <a:ea typeface="+mn-ea"/>
                <a:cs typeface="+mn-cs"/>
              </a:defRPr>
            </a:lvl2pPr>
            <a:lvl3pPr marL="468000" marR="0" indent="-230400" algn="l" defTabSz="1019175" rtl="0" eaLnBrk="1" fontAlgn="base" latinLnBrk="0" hangingPunct="1">
              <a:lnSpc>
                <a:spcPct val="100000"/>
              </a:lnSpc>
              <a:spcBef>
                <a:spcPts val="0"/>
              </a:spcBef>
              <a:spcAft>
                <a:spcPts val="600"/>
              </a:spcAft>
              <a:buClr>
                <a:srgbClr val="000000"/>
              </a:buClr>
              <a:buSzTx/>
              <a:buFont typeface="Arial" pitchFamily="34" charset="0"/>
              <a:buChar char="-"/>
              <a:tabLst/>
              <a:defRPr sz="2000" kern="1200">
                <a:solidFill>
                  <a:schemeClr val="tx1"/>
                </a:solidFill>
                <a:latin typeface="Georgia" pitchFamily="18" charset="0"/>
                <a:ea typeface="+mn-ea"/>
                <a:cs typeface="+mn-cs"/>
              </a:defRPr>
            </a:lvl3pPr>
            <a:lvl4pPr marL="694800" marR="0" indent="-230400" algn="l" defTabSz="1019175" rtl="0" eaLnBrk="1" fontAlgn="base" latinLnBrk="0" hangingPunct="1">
              <a:lnSpc>
                <a:spcPct val="100000"/>
              </a:lnSpc>
              <a:spcBef>
                <a:spcPts val="0"/>
              </a:spcBef>
              <a:spcAft>
                <a:spcPts val="600"/>
              </a:spcAft>
              <a:buClr>
                <a:srgbClr val="000000"/>
              </a:buClr>
              <a:buSzTx/>
              <a:buFont typeface="Georgia" pitchFamily="18" charset="0"/>
              <a:buChar char="◦"/>
              <a:tabLst/>
              <a:defRPr sz="2000" kern="1200">
                <a:solidFill>
                  <a:schemeClr val="tx1"/>
                </a:solidFill>
                <a:latin typeface="Georgia" pitchFamily="18" charset="0"/>
                <a:ea typeface="+mn-ea"/>
                <a:cs typeface="+mn-cs"/>
              </a:defRPr>
            </a:lvl4pPr>
            <a:lvl5pPr marL="914400" marR="0" indent="-228600" algn="l" defTabSz="1019175" rtl="0" eaLnBrk="1" fontAlgn="base" latinLnBrk="0" hangingPunct="1">
              <a:lnSpc>
                <a:spcPct val="100000"/>
              </a:lnSpc>
              <a:spcBef>
                <a:spcPts val="0"/>
              </a:spcBef>
              <a:spcAft>
                <a:spcPts val="600"/>
              </a:spcAft>
              <a:buClr>
                <a:srgbClr val="000000"/>
              </a:buClr>
              <a:buSzTx/>
              <a:buFont typeface="Georgia" pitchFamily="18" charset="0"/>
              <a:buChar char="›"/>
              <a:tabLst/>
              <a:defRPr sz="2000" kern="1200" baseline="0">
                <a:solidFill>
                  <a:schemeClr val="tx1"/>
                </a:solidFill>
                <a:latin typeface="Georgia" pitchFamily="18" charset="0"/>
                <a:ea typeface="+mn-ea"/>
                <a:cs typeface="+mn-cs"/>
              </a:defRPr>
            </a:lvl5pPr>
            <a:lvl6pPr marL="234000" indent="-230400" algn="l" defTabSz="1018824" rtl="0" eaLnBrk="1" latinLnBrk="0" hangingPunct="1">
              <a:lnSpc>
                <a:spcPct val="100000"/>
              </a:lnSpc>
              <a:spcBef>
                <a:spcPts val="0"/>
              </a:spcBef>
              <a:spcAft>
                <a:spcPts val="0"/>
              </a:spcAft>
              <a:buFont typeface="+mj-lt"/>
              <a:buAutoNum type="arabicPeriod"/>
              <a:defRPr lang="en-GB" sz="2000" kern="1200" baseline="0" noProof="0" dirty="0" smtClean="0">
                <a:solidFill>
                  <a:schemeClr val="tx1"/>
                </a:solidFill>
                <a:latin typeface="Georgia" pitchFamily="18" charset="0"/>
                <a:ea typeface="+mn-ea"/>
                <a:cs typeface="+mn-cs"/>
              </a:defRPr>
            </a:lvl6pPr>
            <a:lvl7pPr marL="468000" indent="-228600" algn="l" defTabSz="1018824" rtl="0" eaLnBrk="1" latinLnBrk="0" hangingPunct="1">
              <a:lnSpc>
                <a:spcPct val="100000"/>
              </a:lnSpc>
              <a:spcBef>
                <a:spcPts val="0"/>
              </a:spcBef>
              <a:spcAft>
                <a:spcPts val="0"/>
              </a:spcAft>
              <a:buFont typeface="+mj-lt"/>
              <a:buAutoNum type="alphaLcPeriod"/>
              <a:defRPr lang="en-GB" sz="2000" kern="1200" baseline="0" noProof="0" dirty="0" smtClean="0">
                <a:solidFill>
                  <a:schemeClr val="tx1"/>
                </a:solidFill>
                <a:latin typeface="Georgia" pitchFamily="18" charset="0"/>
                <a:ea typeface="+mn-ea"/>
                <a:cs typeface="+mn-cs"/>
              </a:defRPr>
            </a:lvl7pPr>
            <a:lvl8pPr marL="694800" indent="-228600" algn="l" defTabSz="1018824" rtl="0" eaLnBrk="1" latinLnBrk="0" hangingPunct="1">
              <a:lnSpc>
                <a:spcPct val="100000"/>
              </a:lnSpc>
              <a:spcBef>
                <a:spcPts val="0"/>
              </a:spcBef>
              <a:spcAft>
                <a:spcPts val="0"/>
              </a:spcAft>
              <a:buFont typeface="+mj-lt"/>
              <a:buAutoNum type="romanLcPeriod"/>
              <a:defRPr lang="en-GB" sz="2000" kern="1200" baseline="0" noProof="0" dirty="0" smtClean="0">
                <a:solidFill>
                  <a:schemeClr val="tx1"/>
                </a:solidFill>
                <a:latin typeface="Georgia" pitchFamily="18" charset="0"/>
                <a:ea typeface="+mn-ea"/>
                <a:cs typeface="+mn-cs"/>
              </a:defRPr>
            </a:lvl8pPr>
            <a:lvl9pPr marL="0" indent="0" algn="l" defTabSz="1018824" rtl="0" eaLnBrk="1" latinLnBrk="0" hangingPunct="1">
              <a:lnSpc>
                <a:spcPct val="100000"/>
              </a:lnSpc>
              <a:spcBef>
                <a:spcPts val="0"/>
              </a:spcBef>
              <a:spcAft>
                <a:spcPts val="600"/>
              </a:spcAft>
              <a:buFont typeface="Arial" pitchFamily="34" charset="0"/>
              <a:buNone/>
              <a:defRPr lang="en-GB" sz="2000" b="1" kern="1200" baseline="0" noProof="0" dirty="0" smtClean="0">
                <a:solidFill>
                  <a:schemeClr val="tx2"/>
                </a:solidFill>
                <a:latin typeface="Georgia" pitchFamily="18" charset="0"/>
                <a:ea typeface="+mn-ea"/>
                <a:cs typeface="+mn-cs"/>
              </a:defRPr>
            </a:lvl9pPr>
          </a:lstStyle>
          <a:p>
            <a:pPr lvl="1"/>
            <a:r>
              <a:rPr lang="en-GB" altLang="zh-CN" sz="1200" dirty="0" smtClean="0">
                <a:latin typeface="+mj-lt"/>
                <a:ea typeface="宋体" panose="02010600030101010101" pitchFamily="2" charset="-122"/>
              </a:rPr>
              <a:t>The Non-TRE, through the transfer of </a:t>
            </a:r>
            <a:r>
              <a:rPr lang="en-GB" altLang="zh-CN" sz="1200" b="1" dirty="0" smtClean="0">
                <a:latin typeface="+mj-lt"/>
                <a:ea typeface="宋体" panose="02010600030101010101" pitchFamily="2" charset="-122"/>
              </a:rPr>
              <a:t>the equity and other similar rights of an overseas enterprise</a:t>
            </a:r>
            <a:r>
              <a:rPr lang="en-GB" altLang="zh-CN" sz="1200" dirty="0" smtClean="0">
                <a:latin typeface="+mj-lt"/>
                <a:ea typeface="宋体" panose="02010600030101010101" pitchFamily="2" charset="-122"/>
              </a:rPr>
              <a:t> (not including overseas incorporated Chinese TREs) which </a:t>
            </a:r>
            <a:r>
              <a:rPr lang="en-GB" altLang="zh-CN" sz="1200" b="1" dirty="0" smtClean="0">
                <a:latin typeface="+mj-lt"/>
                <a:ea typeface="宋体" panose="02010600030101010101" pitchFamily="2" charset="-122"/>
              </a:rPr>
              <a:t>directly or indirectly owns Taxable Property in China</a:t>
            </a:r>
            <a:r>
              <a:rPr lang="en-GB" altLang="zh-CN" sz="1200" dirty="0" smtClean="0">
                <a:latin typeface="+mj-lt"/>
                <a:ea typeface="宋体" panose="02010600030101010101" pitchFamily="2" charset="-122"/>
              </a:rPr>
              <a:t>, generates the same or similar sustentative  outcome as compared with a direct transfer of Taxable Properties in China, including changes in the shareholders of an Overseas Enterprise resulting from restructurings of the Non-TRE. </a:t>
            </a:r>
            <a:endParaRPr lang="en-GB" altLang="zh-CN" sz="1200" dirty="0">
              <a:latin typeface="+mj-lt"/>
              <a:ea typeface="宋体" panose="02010600030101010101" pitchFamily="2" charset="-122"/>
            </a:endParaRPr>
          </a:p>
        </p:txBody>
      </p:sp>
      <p:sp>
        <p:nvSpPr>
          <p:cNvPr id="68" name="Rectangle 5"/>
          <p:cNvSpPr>
            <a:spLocks noChangeArrowheads="1"/>
          </p:cNvSpPr>
          <p:nvPr/>
        </p:nvSpPr>
        <p:spPr bwMode="gray">
          <a:xfrm>
            <a:off x="3012976" y="3035454"/>
            <a:ext cx="2358499" cy="546260"/>
          </a:xfrm>
          <a:prstGeom prst="rect">
            <a:avLst/>
          </a:prstGeom>
          <a:solidFill>
            <a:schemeClr val="accent2"/>
          </a:solidFill>
          <a:ln w="6350">
            <a:noFill/>
            <a:miter lim="800000"/>
            <a:headEnd/>
            <a:tailEnd/>
          </a:ln>
          <a:effectLst/>
        </p:spPr>
        <p:txBody>
          <a:bodyPr wrap="none" lIns="45720" rIns="45720" anchor="ctr" anchorCtr="0"/>
          <a:lstStyle/>
          <a:p>
            <a:pPr algn="ctr"/>
            <a:r>
              <a:rPr lang="en-GB" altLang="zh-CN" b="1" dirty="0" smtClean="0">
                <a:solidFill>
                  <a:schemeClr val="bg1"/>
                </a:solidFill>
                <a:latin typeface="+mj-lt"/>
                <a:ea typeface="宋体" panose="02010600030101010101" pitchFamily="2" charset="-122"/>
              </a:rPr>
              <a:t>Indirectly transfer China </a:t>
            </a:r>
          </a:p>
          <a:p>
            <a:pPr algn="ctr"/>
            <a:r>
              <a:rPr lang="en-GB" altLang="zh-CN" b="1" dirty="0" smtClean="0">
                <a:solidFill>
                  <a:schemeClr val="bg1"/>
                </a:solidFill>
                <a:latin typeface="+mj-lt"/>
                <a:ea typeface="宋体" panose="02010600030101010101" pitchFamily="2" charset="-122"/>
              </a:rPr>
              <a:t>taxable property </a:t>
            </a:r>
            <a:endParaRPr lang="en-GB" b="1" dirty="0">
              <a:solidFill>
                <a:schemeClr val="bg1"/>
              </a:solidFill>
              <a:latin typeface="+mj-lt"/>
              <a:ea typeface="宋体" panose="02010600030101010101" pitchFamily="2" charset="-122"/>
            </a:endParaRPr>
          </a:p>
        </p:txBody>
      </p:sp>
      <p:sp>
        <p:nvSpPr>
          <p:cNvPr id="69" name="Rectangle 68"/>
          <p:cNvSpPr/>
          <p:nvPr/>
        </p:nvSpPr>
        <p:spPr>
          <a:xfrm>
            <a:off x="6069851" y="3268801"/>
            <a:ext cx="1123976" cy="435712"/>
          </a:xfrm>
          <a:prstGeom prst="rect">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ltLang="zh-CN" b="1" dirty="0" smtClean="0">
                <a:latin typeface="+mj-lt"/>
                <a:ea typeface="宋体" panose="02010600030101010101" pitchFamily="2" charset="-122"/>
              </a:rPr>
              <a:t>Non-TRE A</a:t>
            </a:r>
          </a:p>
        </p:txBody>
      </p:sp>
      <p:sp>
        <p:nvSpPr>
          <p:cNvPr id="76" name="Rectangle 75"/>
          <p:cNvSpPr/>
          <p:nvPr/>
        </p:nvSpPr>
        <p:spPr>
          <a:xfrm>
            <a:off x="7711942" y="3271415"/>
            <a:ext cx="1123976" cy="435712"/>
          </a:xfrm>
          <a:prstGeom prst="rect">
            <a:avLst/>
          </a:prstGeom>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ltLang="zh-CN" b="1" dirty="0" smtClean="0">
                <a:latin typeface="+mj-lt"/>
                <a:ea typeface="宋体" panose="02010600030101010101" pitchFamily="2" charset="-122"/>
              </a:rPr>
              <a:t>Non-TRE D</a:t>
            </a:r>
          </a:p>
        </p:txBody>
      </p:sp>
      <p:sp>
        <p:nvSpPr>
          <p:cNvPr id="77" name="Rectangle 76"/>
          <p:cNvSpPr/>
          <p:nvPr/>
        </p:nvSpPr>
        <p:spPr>
          <a:xfrm>
            <a:off x="6067304" y="4342997"/>
            <a:ext cx="1155905" cy="501564"/>
          </a:xfrm>
          <a:prstGeom prst="rect">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ltLang="zh-CN" b="1" dirty="0" smtClean="0">
                <a:latin typeface="+mj-lt"/>
                <a:ea typeface="宋体" panose="02010600030101010101" pitchFamily="2" charset="-122"/>
              </a:rPr>
              <a:t>Non-TRE B</a:t>
            </a:r>
            <a:endParaRPr lang="en-GB" altLang="zh-CN" b="1" dirty="0">
              <a:latin typeface="+mj-lt"/>
              <a:ea typeface="宋体" panose="02010600030101010101" pitchFamily="2" charset="-122"/>
            </a:endParaRPr>
          </a:p>
        </p:txBody>
      </p:sp>
      <p:sp>
        <p:nvSpPr>
          <p:cNvPr id="78" name="Rectangle 77"/>
          <p:cNvSpPr/>
          <p:nvPr/>
        </p:nvSpPr>
        <p:spPr>
          <a:xfrm>
            <a:off x="6083269" y="5878144"/>
            <a:ext cx="1123976" cy="550854"/>
          </a:xfrm>
          <a:prstGeom prst="rect">
            <a:avLst/>
          </a:prstGeom>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ltLang="zh-CN" b="1" dirty="0" smtClean="0">
                <a:latin typeface="+mj-lt"/>
                <a:ea typeface="宋体" panose="02010600030101010101" pitchFamily="2" charset="-122"/>
              </a:rPr>
              <a:t>China </a:t>
            </a:r>
            <a:r>
              <a:rPr lang="en-GB" altLang="zh-CN" b="1" dirty="0">
                <a:latin typeface="+mj-lt"/>
                <a:ea typeface="宋体" panose="02010600030101010101" pitchFamily="2" charset="-122"/>
              </a:rPr>
              <a:t>Taxable Property A</a:t>
            </a:r>
          </a:p>
        </p:txBody>
      </p:sp>
      <p:cxnSp>
        <p:nvCxnSpPr>
          <p:cNvPr id="79" name="Straight Connector 78"/>
          <p:cNvCxnSpPr/>
          <p:nvPr/>
        </p:nvCxnSpPr>
        <p:spPr>
          <a:xfrm>
            <a:off x="5821288" y="5341602"/>
            <a:ext cx="3386720" cy="0"/>
          </a:xfrm>
          <a:prstGeom prst="line">
            <a:avLst/>
          </a:prstGeom>
          <a:ln w="15875">
            <a:solidFill>
              <a:srgbClr val="0070C0"/>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a:stCxn id="69" idx="2"/>
            <a:endCxn id="77" idx="0"/>
          </p:cNvCxnSpPr>
          <p:nvPr/>
        </p:nvCxnSpPr>
        <p:spPr>
          <a:xfrm>
            <a:off x="6631839" y="3704513"/>
            <a:ext cx="13418" cy="638484"/>
          </a:xfrm>
          <a:prstGeom prst="straightConnector1">
            <a:avLst/>
          </a:prstGeom>
          <a:ln w="158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a:stCxn id="77" idx="2"/>
            <a:endCxn id="78" idx="0"/>
          </p:cNvCxnSpPr>
          <p:nvPr/>
        </p:nvCxnSpPr>
        <p:spPr>
          <a:xfrm>
            <a:off x="6645257" y="4844561"/>
            <a:ext cx="0" cy="1033583"/>
          </a:xfrm>
          <a:prstGeom prst="straightConnector1">
            <a:avLst/>
          </a:prstGeom>
          <a:ln w="15875">
            <a:solidFill>
              <a:schemeClr val="tx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2" name="Curved Up Arrow 81"/>
          <p:cNvSpPr/>
          <p:nvPr/>
        </p:nvSpPr>
        <p:spPr>
          <a:xfrm rot="19264255">
            <a:off x="7621488" y="4174232"/>
            <a:ext cx="1008112" cy="397768"/>
          </a:xfrm>
          <a:prstGeom prst="curvedUpArrow">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tLang="zh-CN" dirty="0" smtClean="0"/>
          </a:p>
        </p:txBody>
      </p:sp>
      <p:sp>
        <p:nvSpPr>
          <p:cNvPr id="83" name="Multiply 82"/>
          <p:cNvSpPr/>
          <p:nvPr/>
        </p:nvSpPr>
        <p:spPr>
          <a:xfrm>
            <a:off x="6521281" y="3918934"/>
            <a:ext cx="216024" cy="200553"/>
          </a:xfrm>
          <a:prstGeom prst="mathMultiply">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tLang="zh-CN" dirty="0" smtClean="0"/>
          </a:p>
        </p:txBody>
      </p:sp>
      <p:sp>
        <p:nvSpPr>
          <p:cNvPr id="85" name="TextBox 84"/>
          <p:cNvSpPr txBox="1"/>
          <p:nvPr/>
        </p:nvSpPr>
        <p:spPr>
          <a:xfrm>
            <a:off x="8736177" y="5414222"/>
            <a:ext cx="471831" cy="169277"/>
          </a:xfrm>
          <a:prstGeom prst="rect">
            <a:avLst/>
          </a:prstGeom>
          <a:noFill/>
          <a:ln>
            <a:noFill/>
          </a:ln>
        </p:spPr>
        <p:txBody>
          <a:bodyPr wrap="square" lIns="0" tIns="0" rIns="0" bIns="0" rtlCol="0">
            <a:spAutoFit/>
          </a:bodyPr>
          <a:lstStyle/>
          <a:p>
            <a:r>
              <a:rPr lang="en-GB" altLang="zh-CN" dirty="0" smtClean="0">
                <a:latin typeface="+mj-lt"/>
                <a:ea typeface="宋体" panose="02010600030101010101" pitchFamily="2" charset="-122"/>
                <a:cs typeface="Arial" pitchFamily="34" charset="0"/>
              </a:rPr>
              <a:t>China</a:t>
            </a:r>
            <a:endParaRPr lang="en-GB" altLang="zh-CN" noProof="0" dirty="0" smtClean="0">
              <a:solidFill>
                <a:schemeClr val="tx1"/>
              </a:solidFill>
              <a:latin typeface="+mj-lt"/>
              <a:ea typeface="宋体" panose="02010600030101010101" pitchFamily="2" charset="-122"/>
              <a:cs typeface="Arial" pitchFamily="34" charset="0"/>
            </a:endParaRPr>
          </a:p>
        </p:txBody>
      </p:sp>
      <p:grpSp>
        <p:nvGrpSpPr>
          <p:cNvPr id="104" name="Group 103"/>
          <p:cNvGrpSpPr/>
          <p:nvPr>
            <p:custDataLst>
              <p:tags r:id="rId6"/>
            </p:custDataLst>
          </p:nvPr>
        </p:nvGrpSpPr>
        <p:grpSpPr>
          <a:xfrm>
            <a:off x="5283980" y="704088"/>
            <a:ext cx="4236835" cy="138499"/>
            <a:chOff x="5283980" y="704088"/>
            <a:chExt cx="4236835" cy="138499"/>
          </a:xfrm>
        </p:grpSpPr>
        <p:sp>
          <p:nvSpPr>
            <p:cNvPr id="105" name="745">
              <a:hlinkClick r:id="rId13" action="ppaction://hlinksldjump"/>
            </p:cNvPr>
            <p:cNvSpPr txBox="1"/>
            <p:nvPr>
              <p:custDataLst>
                <p:tags r:id="rId7"/>
              </p:custDataLst>
            </p:nvPr>
          </p:nvSpPr>
          <p:spPr>
            <a:xfrm>
              <a:off x="7868824" y="704088"/>
              <a:ext cx="1651991" cy="138499"/>
            </a:xfrm>
            <a:prstGeom prst="rect">
              <a:avLst/>
            </a:prstGeom>
            <a:noFill/>
            <a:ln>
              <a:noFill/>
            </a:ln>
          </p:spPr>
          <p:txBody>
            <a:bodyPr wrap="none" lIns="27432" tIns="0" rIns="27432" bIns="0" rtlCol="0">
              <a:spAutoFit/>
            </a:bodyPr>
            <a:lstStyle/>
            <a:p>
              <a:r>
                <a:rPr lang="en-US" sz="900" noProof="1" smtClean="0">
                  <a:solidFill>
                    <a:schemeClr val="tx2"/>
                  </a:solidFill>
                  <a:cs typeface="Arial" pitchFamily="34" charset="0"/>
                </a:rPr>
                <a:t>Part II  Indirect Equity Transfer </a:t>
              </a:r>
              <a:endParaRPr lang="en-GB" sz="900" noProof="1" smtClean="0">
                <a:solidFill>
                  <a:schemeClr val="tx2"/>
                </a:solidFill>
                <a:cs typeface="Arial" pitchFamily="34" charset="0"/>
              </a:endParaRPr>
            </a:p>
          </p:txBody>
        </p:sp>
        <p:cxnSp>
          <p:nvCxnSpPr>
            <p:cNvPr id="106" name="Divider1"/>
            <p:cNvCxnSpPr/>
            <p:nvPr>
              <p:custDataLst>
                <p:tags r:id="rId8"/>
              </p:custDataLst>
            </p:nvPr>
          </p:nvCxnSpPr>
          <p:spPr>
            <a:xfrm>
              <a:off x="7843424"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07" name="638">
              <a:hlinkClick r:id="rId14" action="ppaction://hlinksldjump"/>
            </p:cNvPr>
            <p:cNvSpPr txBox="1"/>
            <p:nvPr>
              <p:custDataLst>
                <p:tags r:id="rId9"/>
              </p:custDataLst>
            </p:nvPr>
          </p:nvSpPr>
          <p:spPr>
            <a:xfrm>
              <a:off x="5787725" y="704088"/>
              <a:ext cx="2030299" cy="138499"/>
            </a:xfrm>
            <a:prstGeom prst="rect">
              <a:avLst/>
            </a:prstGeom>
            <a:noFill/>
            <a:ln>
              <a:noFill/>
            </a:ln>
          </p:spPr>
          <p:txBody>
            <a:bodyPr wrap="none" lIns="27432" tIns="0" rIns="27432" bIns="0" rtlCol="0">
              <a:spAutoFit/>
            </a:bodyPr>
            <a:lstStyle/>
            <a:p>
              <a:r>
                <a:rPr lang="en-US" sz="900" noProof="1" smtClean="0">
                  <a:solidFill>
                    <a:schemeClr val="tx1"/>
                  </a:solidFill>
                  <a:latin typeface="+mn-lt"/>
                  <a:cs typeface="Arial" pitchFamily="34" charset="0"/>
                </a:rPr>
                <a:t>Part I  Brief Introduction to PRC GAAR</a:t>
              </a:r>
              <a:endParaRPr lang="en-GB" sz="900" noProof="1" smtClean="0">
                <a:solidFill>
                  <a:schemeClr val="tx1"/>
                </a:solidFill>
                <a:latin typeface="+mn-lt"/>
                <a:cs typeface="Arial" pitchFamily="34" charset="0"/>
              </a:endParaRPr>
            </a:p>
          </p:txBody>
        </p:sp>
        <p:cxnSp>
          <p:nvCxnSpPr>
            <p:cNvPr id="108" name="Divider2"/>
            <p:cNvCxnSpPr/>
            <p:nvPr>
              <p:custDataLst>
                <p:tags r:id="rId10"/>
              </p:custDataLst>
            </p:nvPr>
          </p:nvCxnSpPr>
          <p:spPr>
            <a:xfrm>
              <a:off x="5762325"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09" name="735">
              <a:hlinkClick r:id="rId15" action="ppaction://hlinksldjump"/>
            </p:cNvPr>
            <p:cNvSpPr txBox="1"/>
            <p:nvPr>
              <p:custDataLst>
                <p:tags r:id="rId11"/>
              </p:custDataLst>
            </p:nvPr>
          </p:nvSpPr>
          <p:spPr>
            <a:xfrm>
              <a:off x="5283980" y="704088"/>
              <a:ext cx="452945" cy="138499"/>
            </a:xfrm>
            <a:prstGeom prst="rect">
              <a:avLst/>
            </a:prstGeom>
            <a:noFill/>
            <a:ln>
              <a:noFill/>
            </a:ln>
          </p:spPr>
          <p:txBody>
            <a:bodyPr wrap="none" lIns="27432" tIns="0" rIns="27432" bIns="0" rtlCol="0">
              <a:spAutoFit/>
            </a:bodyPr>
            <a:lstStyle/>
            <a:p>
              <a:r>
                <a:rPr lang="en-GB" sz="900" noProof="1" smtClean="0">
                  <a:solidFill>
                    <a:schemeClr val="tx1"/>
                  </a:solidFill>
                  <a:latin typeface="+mn-lt"/>
                  <a:cs typeface="Arial" pitchFamily="34" charset="0"/>
                </a:rPr>
                <a:t>Agenda</a:t>
              </a:r>
              <a:endParaRPr lang="en-GB" sz="900" noProof="1" smtClean="0">
                <a:solidFill>
                  <a:schemeClr val="tx1"/>
                </a:solidFill>
                <a:latin typeface="+mn-lt"/>
                <a:cs typeface="Arial" pitchFamily="34" charset="0"/>
              </a:endParaRPr>
            </a:p>
          </p:txBody>
        </p:sp>
      </p:grpSp>
      <p:sp>
        <p:nvSpPr>
          <p:cNvPr id="110" name="TextBox 109"/>
          <p:cNvSpPr txBox="1"/>
          <p:nvPr/>
        </p:nvSpPr>
        <p:spPr>
          <a:xfrm>
            <a:off x="8610862" y="5139974"/>
            <a:ext cx="565795" cy="169277"/>
          </a:xfrm>
          <a:prstGeom prst="rect">
            <a:avLst/>
          </a:prstGeom>
          <a:noFill/>
          <a:ln>
            <a:noFill/>
          </a:ln>
        </p:spPr>
        <p:txBody>
          <a:bodyPr wrap="square" lIns="0" tIns="0" rIns="0" bIns="0" rtlCol="0">
            <a:spAutoFit/>
          </a:bodyPr>
          <a:lstStyle/>
          <a:p>
            <a:r>
              <a:rPr lang="en-GB" altLang="zh-CN" noProof="0" dirty="0" smtClean="0">
                <a:latin typeface="+mj-lt"/>
                <a:ea typeface="宋体" panose="02010600030101010101" pitchFamily="2" charset="-122"/>
                <a:cs typeface="Arial" pitchFamily="34" charset="0"/>
              </a:rPr>
              <a:t>Overseas</a:t>
            </a:r>
            <a:endParaRPr lang="en-GB" altLang="zh-CN" noProof="0" dirty="0" smtClean="0">
              <a:solidFill>
                <a:schemeClr val="tx1"/>
              </a:solidFill>
              <a:latin typeface="+mj-lt"/>
              <a:ea typeface="宋体" panose="02010600030101010101" pitchFamily="2" charset="-122"/>
              <a:cs typeface="Arial" pitchFamily="34" charset="0"/>
            </a:endParaRPr>
          </a:p>
        </p:txBody>
      </p:sp>
    </p:spTree>
    <p:custDataLst>
      <p:tags r:id="rId1"/>
    </p:custDataLst>
    <p:extLst>
      <p:ext uri="{BB962C8B-B14F-4D97-AF65-F5344CB8AC3E}">
        <p14:creationId xmlns:p14="http://schemas.microsoft.com/office/powerpoint/2010/main" val="277219200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en-GB"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sp>
        <p:nvSpPr>
          <p:cNvPr id="3" name="Title 2"/>
          <p:cNvSpPr>
            <a:spLocks noGrp="1"/>
          </p:cNvSpPr>
          <p:nvPr>
            <p:ph type="title"/>
          </p:nvPr>
        </p:nvSpPr>
        <p:spPr/>
        <p:txBody>
          <a:bodyPr/>
          <a:lstStyle/>
          <a:p>
            <a:r>
              <a:rPr lang="en-GB" altLang="zh-CN" dirty="0" smtClean="0"/>
              <a:t>Reasonable </a:t>
            </a:r>
            <a:r>
              <a:rPr lang="en-GB" altLang="zh-CN" dirty="0"/>
              <a:t>C</a:t>
            </a:r>
            <a:r>
              <a:rPr lang="en-GB" altLang="zh-CN" dirty="0" smtClean="0"/>
              <a:t>ommercial Purpose Assessment</a:t>
            </a:r>
            <a:br>
              <a:rPr lang="en-GB" altLang="zh-CN" dirty="0" smtClean="0"/>
            </a:br>
            <a:r>
              <a:rPr lang="en-GB" altLang="zh-CN" dirty="0" smtClean="0"/>
              <a:t>- </a:t>
            </a:r>
            <a:r>
              <a:rPr lang="en-GB" altLang="zh-CN" dirty="0"/>
              <a:t>Seven General Factors</a:t>
            </a:r>
            <a:endParaRPr lang="en-GB" b="0" i="0" dirty="0">
              <a:latin typeface="宋体" panose="02010600030101010101" pitchFamily="2" charset="-122"/>
              <a:ea typeface="宋体" panose="02010600030101010101" pitchFamily="2" charset="-122"/>
            </a:endParaRPr>
          </a:p>
        </p:txBody>
      </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en-GB" sz="1100" noProof="1" smtClean="0">
                <a:latin typeface="+mj-lt"/>
              </a:rPr>
              <a:t>12</a:t>
            </a:r>
            <a:endParaRPr lang="en-GB" sz="1100" noProof="1" smtClean="0">
              <a:latin typeface="+mj-lt"/>
            </a:endParaRP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en-GB" altLang="zh-CN" sz="1100" noProof="1" smtClean="0">
                <a:solidFill>
                  <a:schemeClr val="tx1"/>
                </a:solidFill>
                <a:latin typeface="+mj-lt"/>
                <a:ea typeface="宋体" panose="02010600030101010101" pitchFamily="2" charset="-122"/>
              </a:rPr>
              <a:t>Overview of PRC GAAR</a:t>
            </a:r>
            <a:endParaRPr lang="en-GB" sz="1100" noProof="1" smtClean="0">
              <a:solidFill>
                <a:schemeClr val="tx1"/>
              </a:solidFill>
              <a:latin typeface="+mj-lt"/>
              <a:ea typeface="宋体" panose="02010600030101010101" pitchFamily="2" charset="-122"/>
            </a:endParaRP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en-GB" altLang="zh-CN" sz="900" noProof="1" smtClean="0">
                <a:solidFill>
                  <a:schemeClr val="tx1"/>
                </a:solidFill>
              </a:rPr>
              <a:t>-1 Part II  Indirect Equity Transfer </a:t>
            </a:r>
            <a:endParaRPr lang="en-GB" sz="900" noProof="1" smtClean="0">
              <a:solidFill>
                <a:schemeClr val="tx1"/>
              </a:solidFill>
            </a:endParaRPr>
          </a:p>
        </p:txBody>
      </p:sp>
      <p:grpSp>
        <p:nvGrpSpPr>
          <p:cNvPr id="86" name="Group 85"/>
          <p:cNvGrpSpPr/>
          <p:nvPr/>
        </p:nvGrpSpPr>
        <p:grpSpPr>
          <a:xfrm rot="10800000">
            <a:off x="451637" y="3110161"/>
            <a:ext cx="2471892" cy="2544288"/>
            <a:chOff x="2364391" y="1268226"/>
            <a:chExt cx="3340680" cy="3545061"/>
          </a:xfrm>
        </p:grpSpPr>
        <p:sp>
          <p:nvSpPr>
            <p:cNvPr id="87" name="Freeform 86"/>
            <p:cNvSpPr/>
            <p:nvPr/>
          </p:nvSpPr>
          <p:spPr>
            <a:xfrm>
              <a:off x="3608873" y="2829857"/>
              <a:ext cx="1751270" cy="1751270"/>
            </a:xfrm>
            <a:custGeom>
              <a:avLst/>
              <a:gdLst>
                <a:gd name="connsiteX0" fmla="*/ 1243059 w 1751270"/>
                <a:gd name="connsiteY0" fmla="*/ 279220 h 1751270"/>
                <a:gd name="connsiteX1" fmla="*/ 1379280 w 1751270"/>
                <a:gd name="connsiteY1" fmla="*/ 164911 h 1751270"/>
                <a:gd name="connsiteX2" fmla="*/ 1488105 w 1751270"/>
                <a:gd name="connsiteY2" fmla="*/ 256226 h 1751270"/>
                <a:gd name="connsiteX3" fmla="*/ 1399187 w 1751270"/>
                <a:gd name="connsiteY3" fmla="*/ 410227 h 1751270"/>
                <a:gd name="connsiteX4" fmla="*/ 1540467 w 1751270"/>
                <a:gd name="connsiteY4" fmla="*/ 654930 h 1751270"/>
                <a:gd name="connsiteX5" fmla="*/ 1718294 w 1751270"/>
                <a:gd name="connsiteY5" fmla="*/ 654925 h 1751270"/>
                <a:gd name="connsiteX6" fmla="*/ 1742963 w 1751270"/>
                <a:gd name="connsiteY6" fmla="*/ 794828 h 1751270"/>
                <a:gd name="connsiteX7" fmla="*/ 1575858 w 1751270"/>
                <a:gd name="connsiteY7" fmla="*/ 855644 h 1751270"/>
                <a:gd name="connsiteX8" fmla="*/ 1526792 w 1751270"/>
                <a:gd name="connsiteY8" fmla="*/ 1133910 h 1751270"/>
                <a:gd name="connsiteX9" fmla="*/ 1663019 w 1751270"/>
                <a:gd name="connsiteY9" fmla="*/ 1248212 h 1751270"/>
                <a:gd name="connsiteX10" fmla="*/ 1591988 w 1751270"/>
                <a:gd name="connsiteY10" fmla="*/ 1371241 h 1751270"/>
                <a:gd name="connsiteX11" fmla="*/ 1424887 w 1751270"/>
                <a:gd name="connsiteY11" fmla="*/ 1310416 h 1751270"/>
                <a:gd name="connsiteX12" fmla="*/ 1208434 w 1751270"/>
                <a:gd name="connsiteY12" fmla="*/ 1492041 h 1751270"/>
                <a:gd name="connsiteX13" fmla="*/ 1239318 w 1751270"/>
                <a:gd name="connsiteY13" fmla="*/ 1667166 h 1751270"/>
                <a:gd name="connsiteX14" fmla="*/ 1105824 w 1751270"/>
                <a:gd name="connsiteY14" fmla="*/ 1715754 h 1751270"/>
                <a:gd name="connsiteX15" fmla="*/ 1016915 w 1751270"/>
                <a:gd name="connsiteY15" fmla="*/ 1561748 h 1751270"/>
                <a:gd name="connsiteX16" fmla="*/ 734356 w 1751270"/>
                <a:gd name="connsiteY16" fmla="*/ 1561748 h 1751270"/>
                <a:gd name="connsiteX17" fmla="*/ 645446 w 1751270"/>
                <a:gd name="connsiteY17" fmla="*/ 1715754 h 1751270"/>
                <a:gd name="connsiteX18" fmla="*/ 511952 w 1751270"/>
                <a:gd name="connsiteY18" fmla="*/ 1667166 h 1751270"/>
                <a:gd name="connsiteX19" fmla="*/ 542836 w 1751270"/>
                <a:gd name="connsiteY19" fmla="*/ 1492041 h 1751270"/>
                <a:gd name="connsiteX20" fmla="*/ 326383 w 1751270"/>
                <a:gd name="connsiteY20" fmla="*/ 1310416 h 1751270"/>
                <a:gd name="connsiteX21" fmla="*/ 159282 w 1751270"/>
                <a:gd name="connsiteY21" fmla="*/ 1371241 h 1751270"/>
                <a:gd name="connsiteX22" fmla="*/ 88251 w 1751270"/>
                <a:gd name="connsiteY22" fmla="*/ 1248212 h 1751270"/>
                <a:gd name="connsiteX23" fmla="*/ 224478 w 1751270"/>
                <a:gd name="connsiteY23" fmla="*/ 1133911 h 1751270"/>
                <a:gd name="connsiteX24" fmla="*/ 175412 w 1751270"/>
                <a:gd name="connsiteY24" fmla="*/ 855645 h 1751270"/>
                <a:gd name="connsiteX25" fmla="*/ 8307 w 1751270"/>
                <a:gd name="connsiteY25" fmla="*/ 794828 h 1751270"/>
                <a:gd name="connsiteX26" fmla="*/ 32976 w 1751270"/>
                <a:gd name="connsiteY26" fmla="*/ 654925 h 1751270"/>
                <a:gd name="connsiteX27" fmla="*/ 210804 w 1751270"/>
                <a:gd name="connsiteY27" fmla="*/ 654930 h 1751270"/>
                <a:gd name="connsiteX28" fmla="*/ 352083 w 1751270"/>
                <a:gd name="connsiteY28" fmla="*/ 410227 h 1751270"/>
                <a:gd name="connsiteX29" fmla="*/ 263165 w 1751270"/>
                <a:gd name="connsiteY29" fmla="*/ 256226 h 1751270"/>
                <a:gd name="connsiteX30" fmla="*/ 371990 w 1751270"/>
                <a:gd name="connsiteY30" fmla="*/ 164911 h 1751270"/>
                <a:gd name="connsiteX31" fmla="*/ 508211 w 1751270"/>
                <a:gd name="connsiteY31" fmla="*/ 279220 h 1751270"/>
                <a:gd name="connsiteX32" fmla="*/ 773730 w 1751270"/>
                <a:gd name="connsiteY32" fmla="*/ 182579 h 1751270"/>
                <a:gd name="connsiteX33" fmla="*/ 804605 w 1751270"/>
                <a:gd name="connsiteY33" fmla="*/ 7452 h 1751270"/>
                <a:gd name="connsiteX34" fmla="*/ 946665 w 1751270"/>
                <a:gd name="connsiteY34" fmla="*/ 7452 h 1751270"/>
                <a:gd name="connsiteX35" fmla="*/ 977540 w 1751270"/>
                <a:gd name="connsiteY35" fmla="*/ 182579 h 1751270"/>
                <a:gd name="connsiteX36" fmla="*/ 1243059 w 1751270"/>
                <a:gd name="connsiteY36" fmla="*/ 279220 h 1751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751270" h="1751270">
                  <a:moveTo>
                    <a:pt x="1243059" y="279220"/>
                  </a:moveTo>
                  <a:lnTo>
                    <a:pt x="1379280" y="164911"/>
                  </a:lnTo>
                  <a:lnTo>
                    <a:pt x="1488105" y="256226"/>
                  </a:lnTo>
                  <a:lnTo>
                    <a:pt x="1399187" y="410227"/>
                  </a:lnTo>
                  <a:cubicBezTo>
                    <a:pt x="1462413" y="481352"/>
                    <a:pt x="1510484" y="564613"/>
                    <a:pt x="1540467" y="654930"/>
                  </a:cubicBezTo>
                  <a:lnTo>
                    <a:pt x="1718294" y="654925"/>
                  </a:lnTo>
                  <a:lnTo>
                    <a:pt x="1742963" y="794828"/>
                  </a:lnTo>
                  <a:lnTo>
                    <a:pt x="1575858" y="855644"/>
                  </a:lnTo>
                  <a:cubicBezTo>
                    <a:pt x="1578574" y="950769"/>
                    <a:pt x="1561879" y="1045451"/>
                    <a:pt x="1526792" y="1133910"/>
                  </a:cubicBezTo>
                  <a:lnTo>
                    <a:pt x="1663019" y="1248212"/>
                  </a:lnTo>
                  <a:lnTo>
                    <a:pt x="1591988" y="1371241"/>
                  </a:lnTo>
                  <a:lnTo>
                    <a:pt x="1424887" y="1310416"/>
                  </a:lnTo>
                  <a:cubicBezTo>
                    <a:pt x="1365822" y="1385032"/>
                    <a:pt x="1292173" y="1446831"/>
                    <a:pt x="1208434" y="1492041"/>
                  </a:cubicBezTo>
                  <a:lnTo>
                    <a:pt x="1239318" y="1667166"/>
                  </a:lnTo>
                  <a:lnTo>
                    <a:pt x="1105824" y="1715754"/>
                  </a:lnTo>
                  <a:lnTo>
                    <a:pt x="1016915" y="1561748"/>
                  </a:lnTo>
                  <a:cubicBezTo>
                    <a:pt x="923706" y="1580941"/>
                    <a:pt x="827565" y="1580941"/>
                    <a:pt x="734356" y="1561748"/>
                  </a:cubicBezTo>
                  <a:lnTo>
                    <a:pt x="645446" y="1715754"/>
                  </a:lnTo>
                  <a:lnTo>
                    <a:pt x="511952" y="1667166"/>
                  </a:lnTo>
                  <a:lnTo>
                    <a:pt x="542836" y="1492041"/>
                  </a:lnTo>
                  <a:cubicBezTo>
                    <a:pt x="459097" y="1446830"/>
                    <a:pt x="385448" y="1385031"/>
                    <a:pt x="326383" y="1310416"/>
                  </a:cubicBezTo>
                  <a:lnTo>
                    <a:pt x="159282" y="1371241"/>
                  </a:lnTo>
                  <a:lnTo>
                    <a:pt x="88251" y="1248212"/>
                  </a:lnTo>
                  <a:lnTo>
                    <a:pt x="224478" y="1133911"/>
                  </a:lnTo>
                  <a:cubicBezTo>
                    <a:pt x="189391" y="1045451"/>
                    <a:pt x="172696" y="950770"/>
                    <a:pt x="175412" y="855645"/>
                  </a:cubicBezTo>
                  <a:lnTo>
                    <a:pt x="8307" y="794828"/>
                  </a:lnTo>
                  <a:lnTo>
                    <a:pt x="32976" y="654925"/>
                  </a:lnTo>
                  <a:lnTo>
                    <a:pt x="210804" y="654930"/>
                  </a:lnTo>
                  <a:cubicBezTo>
                    <a:pt x="240787" y="564613"/>
                    <a:pt x="288858" y="481351"/>
                    <a:pt x="352083" y="410227"/>
                  </a:cubicBezTo>
                  <a:lnTo>
                    <a:pt x="263165" y="256226"/>
                  </a:lnTo>
                  <a:lnTo>
                    <a:pt x="371990" y="164911"/>
                  </a:lnTo>
                  <a:lnTo>
                    <a:pt x="508211" y="279220"/>
                  </a:lnTo>
                  <a:cubicBezTo>
                    <a:pt x="589234" y="229305"/>
                    <a:pt x="679578" y="196423"/>
                    <a:pt x="773730" y="182579"/>
                  </a:cubicBezTo>
                  <a:lnTo>
                    <a:pt x="804605" y="7452"/>
                  </a:lnTo>
                  <a:lnTo>
                    <a:pt x="946665" y="7452"/>
                  </a:lnTo>
                  <a:lnTo>
                    <a:pt x="977540" y="182579"/>
                  </a:lnTo>
                  <a:cubicBezTo>
                    <a:pt x="1071692" y="196423"/>
                    <a:pt x="1162036" y="229305"/>
                    <a:pt x="1243059" y="279220"/>
                  </a:cubicBezTo>
                  <a:close/>
                </a:path>
              </a:pathLst>
            </a:custGeom>
            <a:ln/>
          </p:spPr>
          <p:style>
            <a:lnRef idx="1">
              <a:schemeClr val="accent2"/>
            </a:lnRef>
            <a:fillRef idx="3">
              <a:schemeClr val="accent2"/>
            </a:fillRef>
            <a:effectRef idx="2">
              <a:schemeClr val="accent2"/>
            </a:effectRef>
            <a:fontRef idx="minor">
              <a:schemeClr val="lt1"/>
            </a:fontRef>
          </p:style>
          <p:txBody>
            <a:bodyPr spcFirstLastPara="0" vert="horz" wrap="square" lIns="377483" tIns="435627" rIns="377483" bIns="466254" numCol="1" spcCol="1270" anchor="ctr" anchorCtr="0">
              <a:noAutofit/>
            </a:bodyPr>
            <a:lstStyle/>
            <a:p>
              <a:pPr marL="0" marR="0" lvl="0" indent="0" algn="ctr" defTabSz="888896" eaLnBrk="1" fontAlgn="auto" latinLnBrk="0" hangingPunct="1">
                <a:lnSpc>
                  <a:spcPct val="90000"/>
                </a:lnSpc>
                <a:spcBef>
                  <a:spcPct val="0"/>
                </a:spcBef>
                <a:spcAft>
                  <a:spcPct val="35000"/>
                </a:spcAft>
                <a:buClrTx/>
                <a:buSzTx/>
                <a:buFontTx/>
                <a:buNone/>
                <a:tabLst/>
                <a:defRPr/>
              </a:pPr>
              <a:endParaRPr kumimoji="0" lang="en-GB" altLang="zh-CN" sz="1600" b="1" i="0" u="none" strike="noStrike" kern="0" cap="none" spc="0" normalizeH="0" baseline="0" noProof="0" dirty="0" smtClean="0">
                <a:ln>
                  <a:noFill/>
                </a:ln>
                <a:solidFill>
                  <a:srgbClr val="FFFFFF"/>
                </a:solidFill>
                <a:effectLst/>
                <a:uLnTx/>
                <a:uFillTx/>
                <a:latin typeface="宋体" panose="02010600030101010101" pitchFamily="2" charset="-122"/>
                <a:ea typeface="宋体" panose="02010600030101010101" pitchFamily="2" charset="-122"/>
              </a:endParaRPr>
            </a:p>
          </p:txBody>
        </p:sp>
        <p:sp>
          <p:nvSpPr>
            <p:cNvPr id="88" name="Freeform 87"/>
            <p:cNvSpPr/>
            <p:nvPr/>
          </p:nvSpPr>
          <p:spPr>
            <a:xfrm>
              <a:off x="2589952" y="2415920"/>
              <a:ext cx="1273651" cy="1273651"/>
            </a:xfrm>
            <a:custGeom>
              <a:avLst/>
              <a:gdLst>
                <a:gd name="connsiteX0" fmla="*/ 953006 w 1273651"/>
                <a:gd name="connsiteY0" fmla="*/ 322583 h 1273651"/>
                <a:gd name="connsiteX1" fmla="*/ 1140912 w 1273651"/>
                <a:gd name="connsiteY1" fmla="*/ 265952 h 1273651"/>
                <a:gd name="connsiteX2" fmla="*/ 1210055 w 1273651"/>
                <a:gd name="connsiteY2" fmla="*/ 385710 h 1273651"/>
                <a:gd name="connsiteX3" fmla="*/ 1067057 w 1273651"/>
                <a:gd name="connsiteY3" fmla="*/ 520127 h 1273651"/>
                <a:gd name="connsiteX4" fmla="*/ 1067057 w 1273651"/>
                <a:gd name="connsiteY4" fmla="*/ 753525 h 1273651"/>
                <a:gd name="connsiteX5" fmla="*/ 1210055 w 1273651"/>
                <a:gd name="connsiteY5" fmla="*/ 887941 h 1273651"/>
                <a:gd name="connsiteX6" fmla="*/ 1140912 w 1273651"/>
                <a:gd name="connsiteY6" fmla="*/ 1007699 h 1273651"/>
                <a:gd name="connsiteX7" fmla="*/ 953006 w 1273651"/>
                <a:gd name="connsiteY7" fmla="*/ 951068 h 1273651"/>
                <a:gd name="connsiteX8" fmla="*/ 750877 w 1273651"/>
                <a:gd name="connsiteY8" fmla="*/ 1067767 h 1273651"/>
                <a:gd name="connsiteX9" fmla="*/ 705968 w 1273651"/>
                <a:gd name="connsiteY9" fmla="*/ 1258814 h 1273651"/>
                <a:gd name="connsiteX10" fmla="*/ 567683 w 1273651"/>
                <a:gd name="connsiteY10" fmla="*/ 1258814 h 1273651"/>
                <a:gd name="connsiteX11" fmla="*/ 522774 w 1273651"/>
                <a:gd name="connsiteY11" fmla="*/ 1067766 h 1273651"/>
                <a:gd name="connsiteX12" fmla="*/ 320645 w 1273651"/>
                <a:gd name="connsiteY12" fmla="*/ 951067 h 1273651"/>
                <a:gd name="connsiteX13" fmla="*/ 132739 w 1273651"/>
                <a:gd name="connsiteY13" fmla="*/ 1007699 h 1273651"/>
                <a:gd name="connsiteX14" fmla="*/ 63596 w 1273651"/>
                <a:gd name="connsiteY14" fmla="*/ 887941 h 1273651"/>
                <a:gd name="connsiteX15" fmla="*/ 206594 w 1273651"/>
                <a:gd name="connsiteY15" fmla="*/ 753524 h 1273651"/>
                <a:gd name="connsiteX16" fmla="*/ 206594 w 1273651"/>
                <a:gd name="connsiteY16" fmla="*/ 520126 h 1273651"/>
                <a:gd name="connsiteX17" fmla="*/ 63596 w 1273651"/>
                <a:gd name="connsiteY17" fmla="*/ 385710 h 1273651"/>
                <a:gd name="connsiteX18" fmla="*/ 132739 w 1273651"/>
                <a:gd name="connsiteY18" fmla="*/ 265952 h 1273651"/>
                <a:gd name="connsiteX19" fmla="*/ 320645 w 1273651"/>
                <a:gd name="connsiteY19" fmla="*/ 322583 h 1273651"/>
                <a:gd name="connsiteX20" fmla="*/ 522774 w 1273651"/>
                <a:gd name="connsiteY20" fmla="*/ 205884 h 1273651"/>
                <a:gd name="connsiteX21" fmla="*/ 567683 w 1273651"/>
                <a:gd name="connsiteY21" fmla="*/ 14837 h 1273651"/>
                <a:gd name="connsiteX22" fmla="*/ 705968 w 1273651"/>
                <a:gd name="connsiteY22" fmla="*/ 14837 h 1273651"/>
                <a:gd name="connsiteX23" fmla="*/ 750877 w 1273651"/>
                <a:gd name="connsiteY23" fmla="*/ 205885 h 1273651"/>
                <a:gd name="connsiteX24" fmla="*/ 953006 w 1273651"/>
                <a:gd name="connsiteY24" fmla="*/ 322584 h 1273651"/>
                <a:gd name="connsiteX25" fmla="*/ 953006 w 1273651"/>
                <a:gd name="connsiteY25" fmla="*/ 322583 h 1273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73651" h="1273651">
                  <a:moveTo>
                    <a:pt x="953006" y="322583"/>
                  </a:moveTo>
                  <a:lnTo>
                    <a:pt x="1140912" y="265952"/>
                  </a:lnTo>
                  <a:lnTo>
                    <a:pt x="1210055" y="385710"/>
                  </a:lnTo>
                  <a:lnTo>
                    <a:pt x="1067057" y="520127"/>
                  </a:lnTo>
                  <a:cubicBezTo>
                    <a:pt x="1087785" y="596546"/>
                    <a:pt x="1087785" y="677106"/>
                    <a:pt x="1067057" y="753525"/>
                  </a:cubicBezTo>
                  <a:lnTo>
                    <a:pt x="1210055" y="887941"/>
                  </a:lnTo>
                  <a:lnTo>
                    <a:pt x="1140912" y="1007699"/>
                  </a:lnTo>
                  <a:lnTo>
                    <a:pt x="953006" y="951068"/>
                  </a:lnTo>
                  <a:cubicBezTo>
                    <a:pt x="897190" y="1007229"/>
                    <a:pt x="827422" y="1047509"/>
                    <a:pt x="750877" y="1067767"/>
                  </a:cubicBezTo>
                  <a:lnTo>
                    <a:pt x="705968" y="1258814"/>
                  </a:lnTo>
                  <a:lnTo>
                    <a:pt x="567683" y="1258814"/>
                  </a:lnTo>
                  <a:lnTo>
                    <a:pt x="522774" y="1067766"/>
                  </a:lnTo>
                  <a:cubicBezTo>
                    <a:pt x="446229" y="1047508"/>
                    <a:pt x="376462" y="1007228"/>
                    <a:pt x="320645" y="951067"/>
                  </a:cubicBezTo>
                  <a:lnTo>
                    <a:pt x="132739" y="1007699"/>
                  </a:lnTo>
                  <a:lnTo>
                    <a:pt x="63596" y="887941"/>
                  </a:lnTo>
                  <a:lnTo>
                    <a:pt x="206594" y="753524"/>
                  </a:lnTo>
                  <a:cubicBezTo>
                    <a:pt x="185866" y="677105"/>
                    <a:pt x="185866" y="596545"/>
                    <a:pt x="206594" y="520126"/>
                  </a:cubicBezTo>
                  <a:lnTo>
                    <a:pt x="63596" y="385710"/>
                  </a:lnTo>
                  <a:lnTo>
                    <a:pt x="132739" y="265952"/>
                  </a:lnTo>
                  <a:lnTo>
                    <a:pt x="320645" y="322583"/>
                  </a:lnTo>
                  <a:cubicBezTo>
                    <a:pt x="376461" y="266422"/>
                    <a:pt x="446229" y="226142"/>
                    <a:pt x="522774" y="205884"/>
                  </a:cubicBezTo>
                  <a:lnTo>
                    <a:pt x="567683" y="14837"/>
                  </a:lnTo>
                  <a:lnTo>
                    <a:pt x="705968" y="14837"/>
                  </a:lnTo>
                  <a:lnTo>
                    <a:pt x="750877" y="205885"/>
                  </a:lnTo>
                  <a:cubicBezTo>
                    <a:pt x="827422" y="226143"/>
                    <a:pt x="897189" y="266423"/>
                    <a:pt x="953006" y="322584"/>
                  </a:cubicBezTo>
                  <a:lnTo>
                    <a:pt x="953006" y="322583"/>
                  </a:lnTo>
                  <a:close/>
                </a:path>
              </a:pathLst>
            </a:custGeom>
            <a:gradFill flip="none" rotWithShape="1">
              <a:gsLst>
                <a:gs pos="0">
                  <a:srgbClr val="E0301E">
                    <a:hueOff val="-82470"/>
                    <a:satOff val="-13187"/>
                    <a:lumOff val="-12353"/>
                    <a:shade val="30000"/>
                    <a:satMod val="115000"/>
                  </a:srgbClr>
                </a:gs>
                <a:gs pos="50000">
                  <a:srgbClr val="E0301E">
                    <a:hueOff val="-82470"/>
                    <a:satOff val="-13187"/>
                    <a:lumOff val="-12353"/>
                    <a:shade val="67500"/>
                    <a:satMod val="115000"/>
                  </a:srgbClr>
                </a:gs>
                <a:gs pos="100000">
                  <a:srgbClr val="E0301E">
                    <a:hueOff val="-82470"/>
                    <a:satOff val="-13187"/>
                    <a:lumOff val="-12353"/>
                    <a:shade val="100000"/>
                    <a:satMod val="115000"/>
                  </a:srgbClr>
                </a:gs>
              </a:gsLst>
              <a:path path="circle">
                <a:fillToRect l="100000" t="100000"/>
              </a:path>
              <a:tileRect r="-100000" b="-100000"/>
            </a:gradFill>
            <a:ln w="25400" cap="flat" cmpd="sng" algn="ctr">
              <a:solidFill>
                <a:srgbClr val="FFFFFF">
                  <a:hueOff val="0"/>
                  <a:satOff val="0"/>
                  <a:lumOff val="0"/>
                  <a:alphaOff val="0"/>
                </a:srgbClr>
              </a:solidFill>
              <a:prstDash val="solid"/>
            </a:ln>
            <a:effectLst/>
          </p:spPr>
          <p:txBody>
            <a:bodyPr spcFirstLastPara="0" vert="horz" wrap="square" lIns="347315" tIns="349253" rIns="347315" bIns="349253" numCol="1" spcCol="1270" anchor="ctr" anchorCtr="0">
              <a:noAutofit/>
            </a:bodyPr>
            <a:lstStyle/>
            <a:p>
              <a:pPr marL="0" marR="0" lvl="0" indent="0" algn="ctr" defTabSz="933341" eaLnBrk="1" fontAlgn="auto" latinLnBrk="0" hangingPunct="1">
                <a:lnSpc>
                  <a:spcPct val="90000"/>
                </a:lnSpc>
                <a:spcBef>
                  <a:spcPct val="0"/>
                </a:spcBef>
                <a:spcAft>
                  <a:spcPct val="35000"/>
                </a:spcAft>
                <a:buClrTx/>
                <a:buSzTx/>
                <a:buFontTx/>
                <a:buNone/>
                <a:tabLst/>
                <a:defRPr/>
              </a:pPr>
              <a:endParaRPr kumimoji="0" lang="en-GB" altLang="zh-CN" sz="1600" b="0" i="0" u="none" strike="noStrike" kern="0" cap="none" spc="0" normalizeH="0" baseline="0" noProof="0" dirty="0" smtClean="0">
                <a:ln>
                  <a:noFill/>
                </a:ln>
                <a:solidFill>
                  <a:srgbClr val="FFFFFF"/>
                </a:solidFill>
                <a:effectLst/>
                <a:uLnTx/>
                <a:uFillTx/>
                <a:latin typeface="宋体" panose="02010600030101010101" pitchFamily="2" charset="-122"/>
                <a:ea typeface="宋体" panose="02010600030101010101" pitchFamily="2" charset="-122"/>
              </a:endParaRPr>
            </a:p>
          </p:txBody>
        </p:sp>
        <p:sp>
          <p:nvSpPr>
            <p:cNvPr id="89" name="Freeform 88"/>
            <p:cNvSpPr/>
            <p:nvPr/>
          </p:nvSpPr>
          <p:spPr>
            <a:xfrm>
              <a:off x="3163095" y="1396999"/>
              <a:ext cx="1528382" cy="1528382"/>
            </a:xfrm>
            <a:custGeom>
              <a:avLst/>
              <a:gdLst>
                <a:gd name="connsiteX0" fmla="*/ 933751 w 1247918"/>
                <a:gd name="connsiteY0" fmla="*/ 316066 h 1247918"/>
                <a:gd name="connsiteX1" fmla="*/ 1117861 w 1247918"/>
                <a:gd name="connsiteY1" fmla="*/ 260579 h 1247918"/>
                <a:gd name="connsiteX2" fmla="*/ 1185607 w 1247918"/>
                <a:gd name="connsiteY2" fmla="*/ 377918 h 1247918"/>
                <a:gd name="connsiteX3" fmla="*/ 1045498 w 1247918"/>
                <a:gd name="connsiteY3" fmla="*/ 509618 h 1247918"/>
                <a:gd name="connsiteX4" fmla="*/ 1045498 w 1247918"/>
                <a:gd name="connsiteY4" fmla="*/ 738300 h 1247918"/>
                <a:gd name="connsiteX5" fmla="*/ 1185607 w 1247918"/>
                <a:gd name="connsiteY5" fmla="*/ 870000 h 1247918"/>
                <a:gd name="connsiteX6" fmla="*/ 1117861 w 1247918"/>
                <a:gd name="connsiteY6" fmla="*/ 987339 h 1247918"/>
                <a:gd name="connsiteX7" fmla="*/ 933751 w 1247918"/>
                <a:gd name="connsiteY7" fmla="*/ 931852 h 1247918"/>
                <a:gd name="connsiteX8" fmla="*/ 735706 w 1247918"/>
                <a:gd name="connsiteY8" fmla="*/ 1046193 h 1247918"/>
                <a:gd name="connsiteX9" fmla="*/ 691705 w 1247918"/>
                <a:gd name="connsiteY9" fmla="*/ 1233381 h 1247918"/>
                <a:gd name="connsiteX10" fmla="*/ 556213 w 1247918"/>
                <a:gd name="connsiteY10" fmla="*/ 1233381 h 1247918"/>
                <a:gd name="connsiteX11" fmla="*/ 512212 w 1247918"/>
                <a:gd name="connsiteY11" fmla="*/ 1046193 h 1247918"/>
                <a:gd name="connsiteX12" fmla="*/ 314167 w 1247918"/>
                <a:gd name="connsiteY12" fmla="*/ 931852 h 1247918"/>
                <a:gd name="connsiteX13" fmla="*/ 130057 w 1247918"/>
                <a:gd name="connsiteY13" fmla="*/ 987339 h 1247918"/>
                <a:gd name="connsiteX14" fmla="*/ 62311 w 1247918"/>
                <a:gd name="connsiteY14" fmla="*/ 870000 h 1247918"/>
                <a:gd name="connsiteX15" fmla="*/ 202420 w 1247918"/>
                <a:gd name="connsiteY15" fmla="*/ 738300 h 1247918"/>
                <a:gd name="connsiteX16" fmla="*/ 202420 w 1247918"/>
                <a:gd name="connsiteY16" fmla="*/ 509618 h 1247918"/>
                <a:gd name="connsiteX17" fmla="*/ 62311 w 1247918"/>
                <a:gd name="connsiteY17" fmla="*/ 377918 h 1247918"/>
                <a:gd name="connsiteX18" fmla="*/ 130057 w 1247918"/>
                <a:gd name="connsiteY18" fmla="*/ 260579 h 1247918"/>
                <a:gd name="connsiteX19" fmla="*/ 314167 w 1247918"/>
                <a:gd name="connsiteY19" fmla="*/ 316066 h 1247918"/>
                <a:gd name="connsiteX20" fmla="*/ 512212 w 1247918"/>
                <a:gd name="connsiteY20" fmla="*/ 201725 h 1247918"/>
                <a:gd name="connsiteX21" fmla="*/ 556213 w 1247918"/>
                <a:gd name="connsiteY21" fmla="*/ 14537 h 1247918"/>
                <a:gd name="connsiteX22" fmla="*/ 691705 w 1247918"/>
                <a:gd name="connsiteY22" fmla="*/ 14537 h 1247918"/>
                <a:gd name="connsiteX23" fmla="*/ 735706 w 1247918"/>
                <a:gd name="connsiteY23" fmla="*/ 201725 h 1247918"/>
                <a:gd name="connsiteX24" fmla="*/ 933751 w 1247918"/>
                <a:gd name="connsiteY24" fmla="*/ 316066 h 1247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47918" h="1247918">
                  <a:moveTo>
                    <a:pt x="803219" y="315665"/>
                  </a:moveTo>
                  <a:lnTo>
                    <a:pt x="936696" y="232997"/>
                  </a:lnTo>
                  <a:lnTo>
                    <a:pt x="1014922" y="311223"/>
                  </a:lnTo>
                  <a:lnTo>
                    <a:pt x="932253" y="444700"/>
                  </a:lnTo>
                  <a:cubicBezTo>
                    <a:pt x="964093" y="499460"/>
                    <a:pt x="980774" y="561712"/>
                    <a:pt x="980579" y="625055"/>
                  </a:cubicBezTo>
                  <a:lnTo>
                    <a:pt x="1118911" y="699315"/>
                  </a:lnTo>
                  <a:lnTo>
                    <a:pt x="1090278" y="806174"/>
                  </a:lnTo>
                  <a:lnTo>
                    <a:pt x="933350" y="801320"/>
                  </a:lnTo>
                  <a:cubicBezTo>
                    <a:pt x="901846" y="856274"/>
                    <a:pt x="856275" y="901846"/>
                    <a:pt x="801320" y="933349"/>
                  </a:cubicBezTo>
                  <a:lnTo>
                    <a:pt x="806175" y="1090278"/>
                  </a:lnTo>
                  <a:lnTo>
                    <a:pt x="699315" y="1118911"/>
                  </a:lnTo>
                  <a:lnTo>
                    <a:pt x="625055" y="980579"/>
                  </a:lnTo>
                  <a:cubicBezTo>
                    <a:pt x="561712" y="980774"/>
                    <a:pt x="499459" y="964094"/>
                    <a:pt x="444699" y="932253"/>
                  </a:cubicBezTo>
                  <a:lnTo>
                    <a:pt x="311222" y="1014921"/>
                  </a:lnTo>
                  <a:lnTo>
                    <a:pt x="232996" y="936695"/>
                  </a:lnTo>
                  <a:lnTo>
                    <a:pt x="315665" y="803218"/>
                  </a:lnTo>
                  <a:cubicBezTo>
                    <a:pt x="283825" y="748458"/>
                    <a:pt x="267144" y="686206"/>
                    <a:pt x="267339" y="622863"/>
                  </a:cubicBezTo>
                  <a:lnTo>
                    <a:pt x="129007" y="548603"/>
                  </a:lnTo>
                  <a:lnTo>
                    <a:pt x="157640" y="441744"/>
                  </a:lnTo>
                  <a:lnTo>
                    <a:pt x="314568" y="446598"/>
                  </a:lnTo>
                  <a:cubicBezTo>
                    <a:pt x="346072" y="391644"/>
                    <a:pt x="391643" y="346072"/>
                    <a:pt x="446598" y="314569"/>
                  </a:cubicBezTo>
                  <a:lnTo>
                    <a:pt x="441743" y="157640"/>
                  </a:lnTo>
                  <a:lnTo>
                    <a:pt x="548603" y="129007"/>
                  </a:lnTo>
                  <a:lnTo>
                    <a:pt x="622863" y="267339"/>
                  </a:lnTo>
                  <a:cubicBezTo>
                    <a:pt x="686206" y="267144"/>
                    <a:pt x="748459" y="283824"/>
                    <a:pt x="803219" y="315665"/>
                  </a:cubicBezTo>
                  <a:close/>
                </a:path>
              </a:pathLst>
            </a:custGeom>
            <a:ln/>
          </p:spPr>
          <p:style>
            <a:lnRef idx="1">
              <a:schemeClr val="accent1"/>
            </a:lnRef>
            <a:fillRef idx="3">
              <a:schemeClr val="accent1"/>
            </a:fillRef>
            <a:effectRef idx="2">
              <a:schemeClr val="accent1"/>
            </a:effectRef>
            <a:fontRef idx="minor">
              <a:schemeClr val="lt1"/>
            </a:fontRef>
          </p:style>
          <p:txBody>
            <a:bodyPr spcFirstLastPara="0" vert="horz" wrap="square" lIns="443147" tIns="443147" rIns="443147" bIns="443147" numCol="1" spcCol="1270" anchor="ctr" anchorCtr="0">
              <a:noAutofit/>
            </a:bodyPr>
            <a:lstStyle/>
            <a:p>
              <a:pPr marL="0" marR="0" lvl="0" indent="0" algn="ctr" defTabSz="1022230" eaLnBrk="1" fontAlgn="auto" latinLnBrk="0" hangingPunct="1">
                <a:lnSpc>
                  <a:spcPct val="90000"/>
                </a:lnSpc>
                <a:spcBef>
                  <a:spcPct val="0"/>
                </a:spcBef>
                <a:spcAft>
                  <a:spcPct val="35000"/>
                </a:spcAft>
                <a:buClrTx/>
                <a:buSzTx/>
                <a:buFontTx/>
                <a:buNone/>
                <a:tabLst/>
                <a:defRPr/>
              </a:pPr>
              <a:endParaRPr kumimoji="0" lang="en-GB" altLang="zh-CN" sz="1600" b="0" i="0" u="none" strike="noStrike" kern="0" cap="none" spc="0" normalizeH="0" baseline="0" noProof="0" dirty="0" smtClean="0">
                <a:ln>
                  <a:noFill/>
                </a:ln>
                <a:solidFill>
                  <a:srgbClr val="FFFFFF"/>
                </a:solidFill>
                <a:effectLst/>
                <a:uLnTx/>
                <a:uFillTx/>
                <a:latin typeface="宋体" panose="02010600030101010101" pitchFamily="2" charset="-122"/>
                <a:ea typeface="宋体" panose="02010600030101010101" pitchFamily="2" charset="-122"/>
              </a:endParaRPr>
            </a:p>
          </p:txBody>
        </p:sp>
        <p:sp>
          <p:nvSpPr>
            <p:cNvPr id="90" name="Circular Arrow 89"/>
            <p:cNvSpPr/>
            <p:nvPr/>
          </p:nvSpPr>
          <p:spPr>
            <a:xfrm>
              <a:off x="3463445" y="2571661"/>
              <a:ext cx="2241626" cy="2241626"/>
            </a:xfrm>
            <a:prstGeom prst="circularArrow">
              <a:avLst>
                <a:gd name="adj1" fmla="val 4687"/>
                <a:gd name="adj2" fmla="val 299029"/>
                <a:gd name="adj3" fmla="val 2486059"/>
                <a:gd name="adj4" fmla="val 15927727"/>
                <a:gd name="adj5" fmla="val 5469"/>
              </a:avLst>
            </a:prstGeom>
            <a:solidFill>
              <a:srgbClr val="E0301E">
                <a:hueOff val="0"/>
                <a:satOff val="0"/>
                <a:lumOff val="0"/>
                <a:alphaOff val="0"/>
              </a:srgbClr>
            </a:solidFill>
            <a:ln>
              <a:noFill/>
            </a:ln>
            <a:effectLst/>
          </p:spPr>
          <p:txBody>
            <a:bodyPr/>
            <a:lstStyle/>
            <a:p>
              <a:endParaRPr lang="en-GB" altLang="zh-CN" dirty="0"/>
            </a:p>
          </p:txBody>
        </p:sp>
        <p:sp>
          <p:nvSpPr>
            <p:cNvPr id="91" name="Shape 90"/>
            <p:cNvSpPr/>
            <p:nvPr/>
          </p:nvSpPr>
          <p:spPr>
            <a:xfrm>
              <a:off x="2364391" y="2138445"/>
              <a:ext cx="1628681" cy="1628681"/>
            </a:xfrm>
            <a:prstGeom prst="leftCircularArrow">
              <a:avLst>
                <a:gd name="adj1" fmla="val 6452"/>
                <a:gd name="adj2" fmla="val 429999"/>
                <a:gd name="adj3" fmla="val 10489124"/>
                <a:gd name="adj4" fmla="val 14837806"/>
                <a:gd name="adj5" fmla="val 7527"/>
              </a:avLst>
            </a:prstGeom>
            <a:solidFill>
              <a:srgbClr val="E0301E">
                <a:hueOff val="-82470"/>
                <a:satOff val="-13187"/>
                <a:lumOff val="-12353"/>
                <a:alphaOff val="0"/>
              </a:srgbClr>
            </a:solidFill>
            <a:ln>
              <a:noFill/>
            </a:ln>
            <a:effectLst/>
          </p:spPr>
          <p:txBody>
            <a:bodyPr/>
            <a:lstStyle/>
            <a:p>
              <a:endParaRPr lang="en-GB" altLang="zh-CN" dirty="0"/>
            </a:p>
          </p:txBody>
        </p:sp>
        <p:sp>
          <p:nvSpPr>
            <p:cNvPr id="92" name="Circular Arrow 91"/>
            <p:cNvSpPr/>
            <p:nvPr/>
          </p:nvSpPr>
          <p:spPr>
            <a:xfrm>
              <a:off x="3014670" y="1268226"/>
              <a:ext cx="1756046" cy="1756046"/>
            </a:xfrm>
            <a:prstGeom prst="circularArrow">
              <a:avLst>
                <a:gd name="adj1" fmla="val 5984"/>
                <a:gd name="adj2" fmla="val 394124"/>
                <a:gd name="adj3" fmla="val 13313824"/>
                <a:gd name="adj4" fmla="val 10508221"/>
                <a:gd name="adj5" fmla="val 6981"/>
              </a:avLst>
            </a:prstGeom>
            <a:solidFill>
              <a:srgbClr val="E0301E">
                <a:hueOff val="-164941"/>
                <a:satOff val="-26375"/>
                <a:lumOff val="-24706"/>
                <a:alphaOff val="0"/>
              </a:srgbClr>
            </a:solidFill>
            <a:ln>
              <a:noFill/>
            </a:ln>
            <a:effectLst/>
          </p:spPr>
          <p:txBody>
            <a:bodyPr/>
            <a:lstStyle/>
            <a:p>
              <a:endParaRPr lang="en-GB" altLang="zh-CN" dirty="0"/>
            </a:p>
          </p:txBody>
        </p:sp>
      </p:grpSp>
      <p:sp>
        <p:nvSpPr>
          <p:cNvPr id="93" name="TextBox 92"/>
          <p:cNvSpPr txBox="1"/>
          <p:nvPr/>
        </p:nvSpPr>
        <p:spPr>
          <a:xfrm>
            <a:off x="976949" y="3707180"/>
            <a:ext cx="1247840" cy="670128"/>
          </a:xfrm>
          <a:prstGeom prst="rect">
            <a:avLst/>
          </a:prstGeom>
          <a:noFill/>
        </p:spPr>
        <p:txBody>
          <a:bodyPr wrap="square" lIns="0" tIns="0" rIns="0" bIns="0" rtlCol="0">
            <a:noAutofit/>
          </a:bodyPr>
          <a:lstStyle/>
          <a:p>
            <a:pPr indent="-274288" defTabSz="914400">
              <a:spcAft>
                <a:spcPts val="900"/>
              </a:spcAft>
            </a:pPr>
            <a:r>
              <a:rPr lang="en-GB" altLang="zh-CN" sz="1400" b="1" dirty="0" smtClean="0">
                <a:solidFill>
                  <a:srgbClr val="FFFFFF"/>
                </a:solidFill>
                <a:latin typeface="+mj-lt"/>
                <a:ea typeface="宋体" panose="02010600030101010101" pitchFamily="2" charset="-122"/>
              </a:rPr>
              <a:t>Holistic approach</a:t>
            </a:r>
            <a:endParaRPr lang="en-GB" altLang="zh-CN" sz="1400" b="1" dirty="0">
              <a:solidFill>
                <a:srgbClr val="FFFFFF"/>
              </a:solidFill>
              <a:latin typeface="+mj-lt"/>
              <a:ea typeface="宋体" panose="02010600030101010101" pitchFamily="2" charset="-122"/>
            </a:endParaRPr>
          </a:p>
        </p:txBody>
      </p:sp>
      <p:graphicFrame>
        <p:nvGraphicFramePr>
          <p:cNvPr id="94" name="Diagram 93"/>
          <p:cNvGraphicFramePr/>
          <p:nvPr>
            <p:extLst>
              <p:ext uri="{D42A27DB-BD31-4B8C-83A1-F6EECF244321}">
                <p14:modId xmlns:p14="http://schemas.microsoft.com/office/powerpoint/2010/main" val="4239523920"/>
              </p:ext>
            </p:extLst>
          </p:nvPr>
        </p:nvGraphicFramePr>
        <p:xfrm>
          <a:off x="2379406" y="2054352"/>
          <a:ext cx="7141407" cy="4876800"/>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95" name="Oval 94"/>
          <p:cNvSpPr>
            <a:spLocks noChangeAspect="1"/>
          </p:cNvSpPr>
          <p:nvPr/>
        </p:nvSpPr>
        <p:spPr>
          <a:xfrm>
            <a:off x="2544675" y="2325869"/>
            <a:ext cx="360000" cy="360000"/>
          </a:xfrm>
          <a:prstGeom prst="ellipse">
            <a:avLst/>
          </a:prstGeom>
          <a:solidFill>
            <a:schemeClr val="accent1"/>
          </a:solidFill>
          <a:ln w="25400">
            <a:noFill/>
          </a:ln>
        </p:spPr>
        <p:txBody>
          <a:bodyPr vert="horz" wrap="none" lIns="0" tIns="0" rIns="0" bIns="0" rtlCol="0" anchor="ctr" anchorCtr="1">
            <a:noAutofit/>
          </a:bodyPr>
          <a:lstStyle/>
          <a:p>
            <a:pPr algn="ctr"/>
            <a:r>
              <a:rPr lang="en-GB" sz="1600" b="1" dirty="0" smtClean="0">
                <a:solidFill>
                  <a:schemeClr val="bg1"/>
                </a:solidFill>
                <a:latin typeface="+mj-lt"/>
              </a:rPr>
              <a:t>1</a:t>
            </a:r>
            <a:endParaRPr lang="en-GB" sz="1200" b="1" dirty="0" smtClean="0">
              <a:solidFill>
                <a:schemeClr val="bg1"/>
              </a:solidFill>
              <a:latin typeface="+mj-lt"/>
            </a:endParaRPr>
          </a:p>
        </p:txBody>
      </p:sp>
      <p:sp>
        <p:nvSpPr>
          <p:cNvPr id="96" name="Oval 95"/>
          <p:cNvSpPr>
            <a:spLocks noChangeAspect="1"/>
          </p:cNvSpPr>
          <p:nvPr/>
        </p:nvSpPr>
        <p:spPr>
          <a:xfrm>
            <a:off x="2932956" y="2988337"/>
            <a:ext cx="360000" cy="360000"/>
          </a:xfrm>
          <a:prstGeom prst="ellipse">
            <a:avLst/>
          </a:prstGeom>
          <a:ln/>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1">
            <a:noAutofit/>
          </a:bodyPr>
          <a:lstStyle/>
          <a:p>
            <a:pPr algn="ctr"/>
            <a:r>
              <a:rPr lang="en-GB" sz="1600" b="1" dirty="0">
                <a:solidFill>
                  <a:schemeClr val="bg1"/>
                </a:solidFill>
                <a:latin typeface="+mj-lt"/>
              </a:rPr>
              <a:t>2</a:t>
            </a:r>
            <a:endParaRPr lang="en-GB" sz="1200" b="1" dirty="0" smtClean="0">
              <a:solidFill>
                <a:schemeClr val="bg1"/>
              </a:solidFill>
              <a:latin typeface="+mj-lt"/>
            </a:endParaRPr>
          </a:p>
        </p:txBody>
      </p:sp>
      <p:sp>
        <p:nvSpPr>
          <p:cNvPr id="97" name="Oval 96"/>
          <p:cNvSpPr>
            <a:spLocks noChangeAspect="1"/>
          </p:cNvSpPr>
          <p:nvPr/>
        </p:nvSpPr>
        <p:spPr>
          <a:xfrm>
            <a:off x="3136866" y="3659841"/>
            <a:ext cx="360000" cy="360000"/>
          </a:xfrm>
          <a:prstGeom prst="ellipse">
            <a:avLst/>
          </a:prstGeom>
          <a:ln/>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1">
            <a:noAutofit/>
          </a:bodyPr>
          <a:lstStyle/>
          <a:p>
            <a:pPr algn="ctr"/>
            <a:r>
              <a:rPr lang="en-GB" sz="1600" b="1" dirty="0">
                <a:solidFill>
                  <a:schemeClr val="bg1"/>
                </a:solidFill>
                <a:latin typeface="+mj-lt"/>
              </a:rPr>
              <a:t>3</a:t>
            </a:r>
            <a:endParaRPr lang="en-GB" sz="1200" b="1" dirty="0" smtClean="0">
              <a:solidFill>
                <a:schemeClr val="bg1"/>
              </a:solidFill>
              <a:latin typeface="+mj-lt"/>
            </a:endParaRPr>
          </a:p>
        </p:txBody>
      </p:sp>
      <p:sp>
        <p:nvSpPr>
          <p:cNvPr id="98" name="Oval 97"/>
          <p:cNvSpPr>
            <a:spLocks noChangeAspect="1"/>
          </p:cNvSpPr>
          <p:nvPr/>
        </p:nvSpPr>
        <p:spPr>
          <a:xfrm>
            <a:off x="3226112" y="4311968"/>
            <a:ext cx="360000" cy="360000"/>
          </a:xfrm>
          <a:prstGeom prst="ellipse">
            <a:avLst/>
          </a:prstGeom>
          <a:ln/>
        </p:spPr>
        <p:style>
          <a:lnRef idx="1">
            <a:schemeClr val="accent1"/>
          </a:lnRef>
          <a:fillRef idx="3">
            <a:schemeClr val="accent1"/>
          </a:fillRef>
          <a:effectRef idx="2">
            <a:schemeClr val="accent1"/>
          </a:effectRef>
          <a:fontRef idx="minor">
            <a:schemeClr val="lt1"/>
          </a:fontRef>
        </p:style>
        <p:txBody>
          <a:bodyPr vert="horz" wrap="none" lIns="0" tIns="0" rIns="0" bIns="36000" rtlCol="0" anchor="ctr" anchorCtr="1">
            <a:noAutofit/>
          </a:bodyPr>
          <a:lstStyle/>
          <a:p>
            <a:pPr algn="ctr"/>
            <a:r>
              <a:rPr lang="en-GB" sz="1600" b="1" dirty="0" smtClean="0">
                <a:solidFill>
                  <a:schemeClr val="bg1"/>
                </a:solidFill>
                <a:latin typeface="+mj-lt"/>
              </a:rPr>
              <a:t>4</a:t>
            </a:r>
            <a:endParaRPr lang="en-GB" sz="1200" b="1" dirty="0" smtClean="0">
              <a:solidFill>
                <a:schemeClr val="bg1"/>
              </a:solidFill>
              <a:latin typeface="+mj-lt"/>
            </a:endParaRPr>
          </a:p>
        </p:txBody>
      </p:sp>
      <p:sp>
        <p:nvSpPr>
          <p:cNvPr id="99" name="Oval 98"/>
          <p:cNvSpPr>
            <a:spLocks noChangeAspect="1"/>
          </p:cNvSpPr>
          <p:nvPr/>
        </p:nvSpPr>
        <p:spPr>
          <a:xfrm>
            <a:off x="3155720" y="4976968"/>
            <a:ext cx="360000" cy="360000"/>
          </a:xfrm>
          <a:prstGeom prst="ellipse">
            <a:avLst/>
          </a:prstGeom>
          <a:ln/>
        </p:spPr>
        <p:style>
          <a:lnRef idx="1">
            <a:schemeClr val="accent1"/>
          </a:lnRef>
          <a:fillRef idx="3">
            <a:schemeClr val="accent1"/>
          </a:fillRef>
          <a:effectRef idx="2">
            <a:schemeClr val="accent1"/>
          </a:effectRef>
          <a:fontRef idx="minor">
            <a:schemeClr val="lt1"/>
          </a:fontRef>
        </p:style>
        <p:txBody>
          <a:bodyPr vert="horz" wrap="none" lIns="0" tIns="0" rIns="0" bIns="36000" rtlCol="0" anchor="ctr" anchorCtr="1">
            <a:noAutofit/>
          </a:bodyPr>
          <a:lstStyle/>
          <a:p>
            <a:pPr algn="ctr"/>
            <a:r>
              <a:rPr lang="en-GB" sz="1600" b="1" dirty="0">
                <a:solidFill>
                  <a:schemeClr val="bg1"/>
                </a:solidFill>
                <a:latin typeface="+mj-lt"/>
              </a:rPr>
              <a:t>5</a:t>
            </a:r>
            <a:endParaRPr lang="en-GB" sz="1200" b="1" dirty="0" smtClean="0">
              <a:solidFill>
                <a:schemeClr val="bg1"/>
              </a:solidFill>
              <a:latin typeface="+mj-lt"/>
            </a:endParaRPr>
          </a:p>
        </p:txBody>
      </p:sp>
      <p:sp>
        <p:nvSpPr>
          <p:cNvPr id="100" name="Oval 99"/>
          <p:cNvSpPr>
            <a:spLocks noChangeAspect="1"/>
          </p:cNvSpPr>
          <p:nvPr/>
        </p:nvSpPr>
        <p:spPr>
          <a:xfrm>
            <a:off x="2951810" y="5644135"/>
            <a:ext cx="360000" cy="360000"/>
          </a:xfrm>
          <a:prstGeom prst="ellipse">
            <a:avLst/>
          </a:prstGeom>
          <a:ln/>
        </p:spPr>
        <p:style>
          <a:lnRef idx="1">
            <a:schemeClr val="accent1"/>
          </a:lnRef>
          <a:fillRef idx="3">
            <a:schemeClr val="accent1"/>
          </a:fillRef>
          <a:effectRef idx="2">
            <a:schemeClr val="accent1"/>
          </a:effectRef>
          <a:fontRef idx="minor">
            <a:schemeClr val="lt1"/>
          </a:fontRef>
        </p:style>
        <p:txBody>
          <a:bodyPr vert="horz" wrap="none" lIns="0" tIns="0" rIns="0" bIns="36000" rtlCol="0" anchor="ctr" anchorCtr="1">
            <a:noAutofit/>
          </a:bodyPr>
          <a:lstStyle/>
          <a:p>
            <a:pPr algn="ctr"/>
            <a:r>
              <a:rPr lang="en-GB" sz="1600" b="1" dirty="0">
                <a:solidFill>
                  <a:schemeClr val="bg1"/>
                </a:solidFill>
                <a:latin typeface="+mj-lt"/>
              </a:rPr>
              <a:t>6</a:t>
            </a:r>
            <a:endParaRPr lang="en-GB" sz="1200" b="1" dirty="0" smtClean="0">
              <a:solidFill>
                <a:schemeClr val="bg1"/>
              </a:solidFill>
              <a:latin typeface="+mj-lt"/>
            </a:endParaRPr>
          </a:p>
        </p:txBody>
      </p:sp>
      <p:sp>
        <p:nvSpPr>
          <p:cNvPr id="101" name="Oval 100"/>
          <p:cNvSpPr>
            <a:spLocks noChangeAspect="1"/>
          </p:cNvSpPr>
          <p:nvPr/>
        </p:nvSpPr>
        <p:spPr>
          <a:xfrm>
            <a:off x="2535248" y="6301027"/>
            <a:ext cx="360000" cy="360000"/>
          </a:xfrm>
          <a:prstGeom prst="ellipse">
            <a:avLst/>
          </a:prstGeom>
          <a:ln/>
        </p:spPr>
        <p:style>
          <a:lnRef idx="1">
            <a:schemeClr val="accent1"/>
          </a:lnRef>
          <a:fillRef idx="3">
            <a:schemeClr val="accent1"/>
          </a:fillRef>
          <a:effectRef idx="2">
            <a:schemeClr val="accent1"/>
          </a:effectRef>
          <a:fontRef idx="minor">
            <a:schemeClr val="lt1"/>
          </a:fontRef>
        </p:style>
        <p:txBody>
          <a:bodyPr vert="horz" wrap="none" lIns="0" tIns="0" rIns="0" bIns="36000" rtlCol="0" anchor="ctr" anchorCtr="1">
            <a:noAutofit/>
          </a:bodyPr>
          <a:lstStyle/>
          <a:p>
            <a:pPr algn="ctr"/>
            <a:r>
              <a:rPr lang="en-GB" sz="1600" b="1" dirty="0">
                <a:solidFill>
                  <a:schemeClr val="bg1"/>
                </a:solidFill>
                <a:latin typeface="+mj-lt"/>
              </a:rPr>
              <a:t>7</a:t>
            </a:r>
            <a:endParaRPr lang="en-GB" sz="1200" b="1" dirty="0" smtClean="0">
              <a:solidFill>
                <a:schemeClr val="bg1"/>
              </a:solidFill>
              <a:latin typeface="+mj-lt"/>
            </a:endParaRPr>
          </a:p>
        </p:txBody>
      </p:sp>
      <p:grpSp>
        <p:nvGrpSpPr>
          <p:cNvPr id="113" name="Group 112"/>
          <p:cNvGrpSpPr/>
          <p:nvPr>
            <p:custDataLst>
              <p:tags r:id="rId6"/>
            </p:custDataLst>
          </p:nvPr>
        </p:nvGrpSpPr>
        <p:grpSpPr>
          <a:xfrm>
            <a:off x="5283980" y="704088"/>
            <a:ext cx="4236835" cy="138499"/>
            <a:chOff x="5283980" y="704088"/>
            <a:chExt cx="4236835" cy="138499"/>
          </a:xfrm>
        </p:grpSpPr>
        <p:sp>
          <p:nvSpPr>
            <p:cNvPr id="114" name="745">
              <a:hlinkClick r:id="rId18" action="ppaction://hlinksldjump"/>
            </p:cNvPr>
            <p:cNvSpPr txBox="1"/>
            <p:nvPr>
              <p:custDataLst>
                <p:tags r:id="rId7"/>
              </p:custDataLst>
            </p:nvPr>
          </p:nvSpPr>
          <p:spPr>
            <a:xfrm>
              <a:off x="7868824" y="704088"/>
              <a:ext cx="1651991" cy="138499"/>
            </a:xfrm>
            <a:prstGeom prst="rect">
              <a:avLst/>
            </a:prstGeom>
            <a:noFill/>
            <a:ln>
              <a:noFill/>
            </a:ln>
          </p:spPr>
          <p:txBody>
            <a:bodyPr wrap="none" lIns="27432" tIns="0" rIns="27432" bIns="0" rtlCol="0">
              <a:spAutoFit/>
            </a:bodyPr>
            <a:lstStyle/>
            <a:p>
              <a:r>
                <a:rPr lang="en-US" sz="900" noProof="1" smtClean="0">
                  <a:solidFill>
                    <a:schemeClr val="tx2"/>
                  </a:solidFill>
                  <a:cs typeface="Arial" pitchFamily="34" charset="0"/>
                </a:rPr>
                <a:t>Part II  Indirect Equity Transfer </a:t>
              </a:r>
              <a:endParaRPr lang="en-GB" sz="900" noProof="1" smtClean="0">
                <a:solidFill>
                  <a:schemeClr val="tx2"/>
                </a:solidFill>
                <a:cs typeface="Arial" pitchFamily="34" charset="0"/>
              </a:endParaRPr>
            </a:p>
          </p:txBody>
        </p:sp>
        <p:cxnSp>
          <p:nvCxnSpPr>
            <p:cNvPr id="115" name="Divider1"/>
            <p:cNvCxnSpPr/>
            <p:nvPr>
              <p:custDataLst>
                <p:tags r:id="rId8"/>
              </p:custDataLst>
            </p:nvPr>
          </p:nvCxnSpPr>
          <p:spPr>
            <a:xfrm>
              <a:off x="7843424"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16" name="638">
              <a:hlinkClick r:id="rId19" action="ppaction://hlinksldjump"/>
            </p:cNvPr>
            <p:cNvSpPr txBox="1"/>
            <p:nvPr>
              <p:custDataLst>
                <p:tags r:id="rId9"/>
              </p:custDataLst>
            </p:nvPr>
          </p:nvSpPr>
          <p:spPr>
            <a:xfrm>
              <a:off x="5787725" y="704088"/>
              <a:ext cx="2030299" cy="138499"/>
            </a:xfrm>
            <a:prstGeom prst="rect">
              <a:avLst/>
            </a:prstGeom>
            <a:noFill/>
            <a:ln>
              <a:noFill/>
            </a:ln>
          </p:spPr>
          <p:txBody>
            <a:bodyPr wrap="none" lIns="27432" tIns="0" rIns="27432" bIns="0" rtlCol="0">
              <a:spAutoFit/>
            </a:bodyPr>
            <a:lstStyle/>
            <a:p>
              <a:r>
                <a:rPr lang="en-US" sz="900" noProof="1" smtClean="0">
                  <a:solidFill>
                    <a:schemeClr val="tx1"/>
                  </a:solidFill>
                  <a:latin typeface="+mn-lt"/>
                  <a:cs typeface="Arial" pitchFamily="34" charset="0"/>
                </a:rPr>
                <a:t>Part I  Brief Introduction to PRC GAAR</a:t>
              </a:r>
              <a:endParaRPr lang="en-GB" sz="900" noProof="1" smtClean="0">
                <a:solidFill>
                  <a:schemeClr val="tx1"/>
                </a:solidFill>
                <a:latin typeface="+mn-lt"/>
                <a:cs typeface="Arial" pitchFamily="34" charset="0"/>
              </a:endParaRPr>
            </a:p>
          </p:txBody>
        </p:sp>
        <p:cxnSp>
          <p:nvCxnSpPr>
            <p:cNvPr id="117" name="Divider2"/>
            <p:cNvCxnSpPr/>
            <p:nvPr>
              <p:custDataLst>
                <p:tags r:id="rId10"/>
              </p:custDataLst>
            </p:nvPr>
          </p:nvCxnSpPr>
          <p:spPr>
            <a:xfrm>
              <a:off x="5762325"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18" name="735">
              <a:hlinkClick r:id="rId20" action="ppaction://hlinksldjump"/>
            </p:cNvPr>
            <p:cNvSpPr txBox="1"/>
            <p:nvPr>
              <p:custDataLst>
                <p:tags r:id="rId11"/>
              </p:custDataLst>
            </p:nvPr>
          </p:nvSpPr>
          <p:spPr>
            <a:xfrm>
              <a:off x="5283980" y="704088"/>
              <a:ext cx="452945" cy="138499"/>
            </a:xfrm>
            <a:prstGeom prst="rect">
              <a:avLst/>
            </a:prstGeom>
            <a:noFill/>
            <a:ln>
              <a:noFill/>
            </a:ln>
          </p:spPr>
          <p:txBody>
            <a:bodyPr wrap="none" lIns="27432" tIns="0" rIns="27432" bIns="0" rtlCol="0">
              <a:spAutoFit/>
            </a:bodyPr>
            <a:lstStyle/>
            <a:p>
              <a:r>
                <a:rPr lang="en-GB" sz="900" noProof="1" smtClean="0">
                  <a:solidFill>
                    <a:schemeClr val="tx1"/>
                  </a:solidFill>
                  <a:latin typeface="+mn-lt"/>
                  <a:cs typeface="Arial" pitchFamily="34" charset="0"/>
                </a:rPr>
                <a:t>Agenda</a:t>
              </a:r>
              <a:endParaRPr lang="en-GB" sz="900" noProof="1" smtClean="0">
                <a:solidFill>
                  <a:schemeClr val="tx1"/>
                </a:solidFill>
                <a:latin typeface="+mn-lt"/>
                <a:cs typeface="Arial" pitchFamily="34" charset="0"/>
              </a:endParaRPr>
            </a:p>
          </p:txBody>
        </p:sp>
      </p:grpSp>
    </p:spTree>
    <p:custDataLst>
      <p:tags r:id="rId1"/>
    </p:custDataLst>
    <p:extLst>
      <p:ext uri="{BB962C8B-B14F-4D97-AF65-F5344CB8AC3E}">
        <p14:creationId xmlns:p14="http://schemas.microsoft.com/office/powerpoint/2010/main" val="420736176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en-GB"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sp>
        <p:nvSpPr>
          <p:cNvPr id="3" name="Title 2"/>
          <p:cNvSpPr>
            <a:spLocks noGrp="1"/>
          </p:cNvSpPr>
          <p:nvPr>
            <p:ph type="title"/>
          </p:nvPr>
        </p:nvSpPr>
        <p:spPr/>
        <p:txBody>
          <a:bodyPr/>
          <a:lstStyle/>
          <a:p>
            <a:r>
              <a:rPr lang="en-GB" altLang="zh-CN" dirty="0" smtClean="0"/>
              <a:t>Reasonable </a:t>
            </a:r>
            <a:r>
              <a:rPr lang="en-GB" altLang="zh-CN" dirty="0"/>
              <a:t>C</a:t>
            </a:r>
            <a:r>
              <a:rPr lang="en-GB" altLang="zh-CN" dirty="0" smtClean="0"/>
              <a:t>ommercial Purpose Assessment (Cont’d) </a:t>
            </a:r>
            <a:br>
              <a:rPr lang="en-GB" altLang="zh-CN" dirty="0" smtClean="0"/>
            </a:br>
            <a:r>
              <a:rPr lang="en-GB" altLang="zh-CN" dirty="0"/>
              <a:t> </a:t>
            </a:r>
            <a:r>
              <a:rPr lang="en-GB" altLang="zh-CN" dirty="0" smtClean="0"/>
              <a:t>- </a:t>
            </a:r>
            <a:r>
              <a:rPr lang="en-GB" altLang="zh-CN" dirty="0"/>
              <a:t>Four </a:t>
            </a:r>
            <a:r>
              <a:rPr lang="en-US" altLang="zh-CN" dirty="0"/>
              <a:t>Un</a:t>
            </a:r>
            <a:r>
              <a:rPr lang="en-GB" altLang="zh-CN" dirty="0"/>
              <a:t>favourable </a:t>
            </a:r>
            <a:r>
              <a:rPr lang="en-US" altLang="zh-CN" dirty="0" smtClean="0"/>
              <a:t>Tests </a:t>
            </a:r>
            <a:r>
              <a:rPr lang="en-GB" altLang="zh-CN" dirty="0" smtClean="0"/>
              <a:t> </a:t>
            </a:r>
            <a:endParaRPr lang="en-GB" b="0" i="0" dirty="0">
              <a:latin typeface="宋体" panose="02010600030101010101" pitchFamily="2" charset="-122"/>
              <a:ea typeface="宋体" panose="02010600030101010101" pitchFamily="2" charset="-122"/>
            </a:endParaRPr>
          </a:p>
        </p:txBody>
      </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en-GB" sz="1100" noProof="1" smtClean="0">
                <a:latin typeface="+mj-lt"/>
              </a:rPr>
              <a:t>13</a:t>
            </a:r>
            <a:endParaRPr lang="en-GB" sz="1100" noProof="1" smtClean="0">
              <a:latin typeface="+mj-lt"/>
            </a:endParaRP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en-GB" altLang="zh-CN" sz="1100" noProof="1" smtClean="0">
                <a:solidFill>
                  <a:schemeClr val="tx1"/>
                </a:solidFill>
                <a:latin typeface="+mj-lt"/>
                <a:ea typeface="宋体" panose="02010600030101010101" pitchFamily="2" charset="-122"/>
              </a:rPr>
              <a:t>Overview of PRC GAAR</a:t>
            </a:r>
            <a:endParaRPr lang="en-GB" sz="1100" noProof="1" smtClean="0">
              <a:solidFill>
                <a:schemeClr val="tx1"/>
              </a:solidFill>
              <a:latin typeface="+mj-lt"/>
              <a:ea typeface="宋体" panose="02010600030101010101" pitchFamily="2" charset="-122"/>
            </a:endParaRP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en-GB" altLang="zh-CN" sz="900" noProof="1" smtClean="0">
                <a:solidFill>
                  <a:schemeClr val="tx1"/>
                </a:solidFill>
              </a:rPr>
              <a:t>-1 Part II  Indirect Equity Transfer </a:t>
            </a:r>
            <a:endParaRPr lang="en-GB" sz="900" noProof="1" smtClean="0">
              <a:solidFill>
                <a:schemeClr val="tx1"/>
              </a:solidFill>
            </a:endParaRPr>
          </a:p>
        </p:txBody>
      </p:sp>
      <p:graphicFrame>
        <p:nvGraphicFramePr>
          <p:cNvPr id="63" name="Diagram 62"/>
          <p:cNvGraphicFramePr/>
          <p:nvPr>
            <p:extLst>
              <p:ext uri="{D42A27DB-BD31-4B8C-83A1-F6EECF244321}">
                <p14:modId xmlns:p14="http://schemas.microsoft.com/office/powerpoint/2010/main" val="635481539"/>
              </p:ext>
            </p:extLst>
          </p:nvPr>
        </p:nvGraphicFramePr>
        <p:xfrm>
          <a:off x="1065788" y="2123998"/>
          <a:ext cx="7776864" cy="3044551"/>
        </p:xfrm>
        <a:graphic>
          <a:graphicData uri="http://schemas.openxmlformats.org/drawingml/2006/diagram">
            <dgm:relIds xmlns:dgm="http://schemas.openxmlformats.org/drawingml/2006/diagram" xmlns:r="http://schemas.openxmlformats.org/officeDocument/2006/relationships" r:dm="rId13" r:lo="rId14" r:qs="rId15" r:cs="rId16"/>
          </a:graphicData>
        </a:graphic>
      </p:graphicFrame>
      <p:sp>
        <p:nvSpPr>
          <p:cNvPr id="64" name="Rectangle 63"/>
          <p:cNvSpPr/>
          <p:nvPr/>
        </p:nvSpPr>
        <p:spPr>
          <a:xfrm>
            <a:off x="4968009" y="5378435"/>
            <a:ext cx="3935827" cy="1226575"/>
          </a:xfrm>
          <a:prstGeom prst="rect">
            <a:avLst/>
          </a:prstGeom>
          <a:solidFill>
            <a:srgbClr val="E0301E"/>
          </a:solidFill>
          <a:ln w="3175" cap="flat" cmpd="sng" algn="ctr">
            <a:solidFill>
              <a:srgbClr val="E0301E"/>
            </a:solidFill>
            <a:prstDash val="solid"/>
          </a:ln>
          <a:effectLst/>
        </p:spPr>
        <p:txBody>
          <a:bodyPr lIns="91429" tIns="45714" rIns="91429" bIns="45714" rtlCol="0" anchor="ctr"/>
          <a:lstStyle/>
          <a:p>
            <a:pPr marL="174604" lvl="0" indent="-174604" defTabSz="914400">
              <a:buFont typeface="Arial" panose="020B0604020202020204" pitchFamily="34" charset="0"/>
              <a:buChar char="•"/>
              <a:defRPr/>
            </a:pPr>
            <a:r>
              <a:rPr lang="en-GB" altLang="zh-CN" sz="1400" b="1" kern="0" dirty="0" smtClean="0">
                <a:solidFill>
                  <a:srgbClr val="FFFFFF"/>
                </a:solidFill>
                <a:latin typeface="+mj-lt"/>
                <a:ea typeface="宋体" panose="02010600030101010101" pitchFamily="2" charset="-122"/>
              </a:rPr>
              <a:t>Is it safe if the indirect transfer does not fall into the unfavourable tests?</a:t>
            </a:r>
          </a:p>
          <a:p>
            <a:pPr marL="174604" lvl="0" indent="-174604" defTabSz="914400">
              <a:buFont typeface="Arial" panose="020B0604020202020204" pitchFamily="34" charset="0"/>
              <a:buChar char="•"/>
              <a:defRPr/>
            </a:pPr>
            <a:r>
              <a:rPr lang="en-GB" altLang="zh-CN" sz="1400" b="1" kern="0" dirty="0" smtClean="0">
                <a:solidFill>
                  <a:srgbClr val="FFFFFF"/>
                </a:solidFill>
                <a:latin typeface="+mj-lt"/>
                <a:ea typeface="宋体" panose="02010600030101010101" pitchFamily="2" charset="-122"/>
              </a:rPr>
              <a:t>Any chance of surviving the GAAR attack if it falls into any unfavourable tests?</a:t>
            </a:r>
            <a:endParaRPr lang="en-GB" altLang="zh-CN" sz="1400" b="1" kern="0" dirty="0">
              <a:solidFill>
                <a:srgbClr val="FFFFFF"/>
              </a:solidFill>
              <a:latin typeface="+mj-lt"/>
              <a:ea typeface="宋体" panose="02010600030101010101" pitchFamily="2" charset="-122"/>
            </a:endParaRPr>
          </a:p>
        </p:txBody>
      </p:sp>
      <p:sp>
        <p:nvSpPr>
          <p:cNvPr id="65" name="TextBox 64"/>
          <p:cNvSpPr txBox="1"/>
          <p:nvPr/>
        </p:nvSpPr>
        <p:spPr>
          <a:xfrm rot="238260">
            <a:off x="4546690" y="4921706"/>
            <a:ext cx="1440160" cy="672187"/>
          </a:xfrm>
          <a:prstGeom prst="rect">
            <a:avLst/>
          </a:prstGeom>
          <a:noFill/>
        </p:spPr>
        <p:txBody>
          <a:bodyPr vert="horz" wrap="square" lIns="0" tIns="0" rIns="0" bIns="0" rtlCol="0">
            <a:noAutofit/>
          </a:bodyPr>
          <a:lstStyle/>
          <a:p>
            <a:pPr defTabSz="914400">
              <a:spcAft>
                <a:spcPts val="900"/>
              </a:spcAft>
            </a:pPr>
            <a:r>
              <a:rPr lang="zh-CN" altLang="en-GB" sz="8800" b="1" dirty="0" smtClean="0">
                <a:solidFill>
                  <a:srgbClr val="A32020"/>
                </a:solidFill>
                <a:latin typeface="宋体" panose="02010600030101010101" pitchFamily="2" charset="-122"/>
                <a:ea typeface="宋体" panose="02010600030101010101" pitchFamily="2" charset="-122"/>
              </a:rPr>
              <a:t>？</a:t>
            </a:r>
            <a:endParaRPr lang="en-GB" altLang="zh-CN" sz="8800" b="1" dirty="0">
              <a:solidFill>
                <a:srgbClr val="A32020"/>
              </a:solidFill>
              <a:latin typeface="宋体" panose="02010600030101010101" pitchFamily="2" charset="-122"/>
              <a:ea typeface="宋体" panose="02010600030101010101" pitchFamily="2" charset="-122"/>
            </a:endParaRPr>
          </a:p>
        </p:txBody>
      </p:sp>
      <p:grpSp>
        <p:nvGrpSpPr>
          <p:cNvPr id="84" name="Group 83"/>
          <p:cNvGrpSpPr/>
          <p:nvPr>
            <p:custDataLst>
              <p:tags r:id="rId6"/>
            </p:custDataLst>
          </p:nvPr>
        </p:nvGrpSpPr>
        <p:grpSpPr>
          <a:xfrm>
            <a:off x="5283980" y="704088"/>
            <a:ext cx="4236835" cy="138499"/>
            <a:chOff x="5283980" y="704088"/>
            <a:chExt cx="4236835" cy="138499"/>
          </a:xfrm>
        </p:grpSpPr>
        <p:sp>
          <p:nvSpPr>
            <p:cNvPr id="85" name="745">
              <a:hlinkClick r:id="rId18" action="ppaction://hlinksldjump"/>
            </p:cNvPr>
            <p:cNvSpPr txBox="1"/>
            <p:nvPr>
              <p:custDataLst>
                <p:tags r:id="rId7"/>
              </p:custDataLst>
            </p:nvPr>
          </p:nvSpPr>
          <p:spPr>
            <a:xfrm>
              <a:off x="7868824" y="704088"/>
              <a:ext cx="1651991" cy="138499"/>
            </a:xfrm>
            <a:prstGeom prst="rect">
              <a:avLst/>
            </a:prstGeom>
            <a:noFill/>
            <a:ln>
              <a:noFill/>
            </a:ln>
          </p:spPr>
          <p:txBody>
            <a:bodyPr wrap="none" lIns="27432" tIns="0" rIns="27432" bIns="0" rtlCol="0">
              <a:spAutoFit/>
            </a:bodyPr>
            <a:lstStyle/>
            <a:p>
              <a:r>
                <a:rPr lang="en-US" sz="900" noProof="1" smtClean="0">
                  <a:solidFill>
                    <a:schemeClr val="tx2"/>
                  </a:solidFill>
                  <a:cs typeface="Arial" pitchFamily="34" charset="0"/>
                </a:rPr>
                <a:t>Part II  Indirect Equity Transfer </a:t>
              </a:r>
              <a:endParaRPr lang="en-GB" sz="900" noProof="1" smtClean="0">
                <a:solidFill>
                  <a:schemeClr val="tx2"/>
                </a:solidFill>
                <a:cs typeface="Arial" pitchFamily="34" charset="0"/>
              </a:endParaRPr>
            </a:p>
          </p:txBody>
        </p:sp>
        <p:cxnSp>
          <p:nvCxnSpPr>
            <p:cNvPr id="86" name="Divider1"/>
            <p:cNvCxnSpPr/>
            <p:nvPr>
              <p:custDataLst>
                <p:tags r:id="rId8"/>
              </p:custDataLst>
            </p:nvPr>
          </p:nvCxnSpPr>
          <p:spPr>
            <a:xfrm>
              <a:off x="7843424"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87" name="638">
              <a:hlinkClick r:id="rId19" action="ppaction://hlinksldjump"/>
            </p:cNvPr>
            <p:cNvSpPr txBox="1"/>
            <p:nvPr>
              <p:custDataLst>
                <p:tags r:id="rId9"/>
              </p:custDataLst>
            </p:nvPr>
          </p:nvSpPr>
          <p:spPr>
            <a:xfrm>
              <a:off x="5787725" y="704088"/>
              <a:ext cx="2030299" cy="138499"/>
            </a:xfrm>
            <a:prstGeom prst="rect">
              <a:avLst/>
            </a:prstGeom>
            <a:noFill/>
            <a:ln>
              <a:noFill/>
            </a:ln>
          </p:spPr>
          <p:txBody>
            <a:bodyPr wrap="none" lIns="27432" tIns="0" rIns="27432" bIns="0" rtlCol="0">
              <a:spAutoFit/>
            </a:bodyPr>
            <a:lstStyle/>
            <a:p>
              <a:r>
                <a:rPr lang="en-US" sz="900" noProof="1" smtClean="0">
                  <a:solidFill>
                    <a:schemeClr val="tx1"/>
                  </a:solidFill>
                  <a:latin typeface="+mn-lt"/>
                  <a:cs typeface="Arial" pitchFamily="34" charset="0"/>
                </a:rPr>
                <a:t>Part I  Brief Introduction to PRC GAAR</a:t>
              </a:r>
              <a:endParaRPr lang="en-GB" sz="900" noProof="1" smtClean="0">
                <a:solidFill>
                  <a:schemeClr val="tx1"/>
                </a:solidFill>
                <a:latin typeface="+mn-lt"/>
                <a:cs typeface="Arial" pitchFamily="34" charset="0"/>
              </a:endParaRPr>
            </a:p>
          </p:txBody>
        </p:sp>
        <p:cxnSp>
          <p:nvCxnSpPr>
            <p:cNvPr id="88" name="Divider2"/>
            <p:cNvCxnSpPr/>
            <p:nvPr>
              <p:custDataLst>
                <p:tags r:id="rId10"/>
              </p:custDataLst>
            </p:nvPr>
          </p:nvCxnSpPr>
          <p:spPr>
            <a:xfrm>
              <a:off x="5762325"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89" name="735">
              <a:hlinkClick r:id="rId20" action="ppaction://hlinksldjump"/>
            </p:cNvPr>
            <p:cNvSpPr txBox="1"/>
            <p:nvPr>
              <p:custDataLst>
                <p:tags r:id="rId11"/>
              </p:custDataLst>
            </p:nvPr>
          </p:nvSpPr>
          <p:spPr>
            <a:xfrm>
              <a:off x="5283980" y="704088"/>
              <a:ext cx="452945" cy="138499"/>
            </a:xfrm>
            <a:prstGeom prst="rect">
              <a:avLst/>
            </a:prstGeom>
            <a:noFill/>
            <a:ln>
              <a:noFill/>
            </a:ln>
          </p:spPr>
          <p:txBody>
            <a:bodyPr wrap="none" lIns="27432" tIns="0" rIns="27432" bIns="0" rtlCol="0">
              <a:spAutoFit/>
            </a:bodyPr>
            <a:lstStyle/>
            <a:p>
              <a:r>
                <a:rPr lang="en-GB" sz="900" noProof="1" smtClean="0">
                  <a:solidFill>
                    <a:schemeClr val="tx1"/>
                  </a:solidFill>
                  <a:latin typeface="+mn-lt"/>
                  <a:cs typeface="Arial" pitchFamily="34" charset="0"/>
                </a:rPr>
                <a:t>Agenda</a:t>
              </a:r>
              <a:endParaRPr lang="en-GB" sz="900" noProof="1" smtClean="0">
                <a:solidFill>
                  <a:schemeClr val="tx1"/>
                </a:solidFill>
                <a:latin typeface="+mn-lt"/>
                <a:cs typeface="Arial" pitchFamily="34" charset="0"/>
              </a:endParaRPr>
            </a:p>
          </p:txBody>
        </p:sp>
      </p:grpSp>
    </p:spTree>
    <p:custDataLst>
      <p:tags r:id="rId1"/>
    </p:custDataLst>
    <p:extLst>
      <p:ext uri="{BB962C8B-B14F-4D97-AF65-F5344CB8AC3E}">
        <p14:creationId xmlns:p14="http://schemas.microsoft.com/office/powerpoint/2010/main" val="110338415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en-GB"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sp>
        <p:nvSpPr>
          <p:cNvPr id="3" name="Title 2"/>
          <p:cNvSpPr>
            <a:spLocks noGrp="1"/>
          </p:cNvSpPr>
          <p:nvPr>
            <p:ph type="title"/>
          </p:nvPr>
        </p:nvSpPr>
        <p:spPr/>
        <p:txBody>
          <a:bodyPr/>
          <a:lstStyle/>
          <a:p>
            <a:r>
              <a:rPr lang="en-GB" altLang="zh-CN" dirty="0" smtClean="0"/>
              <a:t>Safe Harbour Rule</a:t>
            </a:r>
            <a:endParaRPr lang="en-GB" b="0" i="0" dirty="0">
              <a:latin typeface="宋体" panose="02010600030101010101" pitchFamily="2" charset="-122"/>
              <a:ea typeface="宋体" panose="02010600030101010101" pitchFamily="2" charset="-122"/>
            </a:endParaRPr>
          </a:p>
        </p:txBody>
      </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en-GB" sz="1100" noProof="1" smtClean="0">
                <a:latin typeface="+mj-lt"/>
              </a:rPr>
              <a:t>14</a:t>
            </a:r>
            <a:endParaRPr lang="en-GB" sz="1100" noProof="1" smtClean="0">
              <a:latin typeface="+mj-lt"/>
            </a:endParaRP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en-GB" altLang="zh-CN" sz="1100" noProof="1" smtClean="0">
                <a:solidFill>
                  <a:schemeClr val="tx1"/>
                </a:solidFill>
                <a:latin typeface="+mj-lt"/>
                <a:ea typeface="宋体" panose="02010600030101010101" pitchFamily="2" charset="-122"/>
              </a:rPr>
              <a:t>Overview of PRC GAAR</a:t>
            </a:r>
            <a:endParaRPr lang="en-GB" sz="1100" noProof="1" smtClean="0">
              <a:solidFill>
                <a:schemeClr val="tx1"/>
              </a:solidFill>
              <a:latin typeface="+mj-lt"/>
              <a:ea typeface="宋体" panose="02010600030101010101" pitchFamily="2" charset="-122"/>
            </a:endParaRP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en-GB" altLang="zh-CN" sz="900" noProof="1" smtClean="0">
                <a:solidFill>
                  <a:schemeClr val="tx1"/>
                </a:solidFill>
              </a:rPr>
              <a:t>-1 Part II  Indirect Equity Transfer </a:t>
            </a:r>
            <a:endParaRPr lang="en-GB" sz="900" noProof="1" smtClean="0">
              <a:solidFill>
                <a:schemeClr val="tx1"/>
              </a:solidFill>
            </a:endParaRPr>
          </a:p>
        </p:txBody>
      </p:sp>
      <p:sp>
        <p:nvSpPr>
          <p:cNvPr id="63" name="Rectangle 62"/>
          <p:cNvSpPr/>
          <p:nvPr/>
        </p:nvSpPr>
        <p:spPr bwMode="ltGray">
          <a:xfrm>
            <a:off x="562046" y="2112804"/>
            <a:ext cx="8956858" cy="454827"/>
          </a:xfrm>
          <a:prstGeom prst="rect">
            <a:avLst/>
          </a:prstGeom>
          <a:solidFill>
            <a:srgbClr val="FFFFFF">
              <a:lumMod val="95000"/>
            </a:srgbClr>
          </a:solidFill>
          <a:ln w="3175" cap="flat" cmpd="sng" algn="ctr">
            <a:noFill/>
            <a:prstDash val="solid"/>
          </a:ln>
          <a:effectLst/>
        </p:spPr>
        <p:txBody>
          <a:bodyPr lIns="91429" tIns="45714" rIns="91429" bIns="45714"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zh-CN" sz="1400" b="0" i="0" u="none" strike="noStrike" kern="0" cap="none" spc="0" normalizeH="0" baseline="0" noProof="0" dirty="0" err="1" smtClean="0">
              <a:ln>
                <a:noFill/>
              </a:ln>
              <a:solidFill>
                <a:srgbClr val="FFFFFF"/>
              </a:solidFill>
              <a:effectLst/>
              <a:uLnTx/>
              <a:uFillTx/>
              <a:latin typeface="宋体" panose="02010600030101010101" pitchFamily="2" charset="-122"/>
              <a:ea typeface="宋体" panose="02010600030101010101" pitchFamily="2" charset="-122"/>
            </a:endParaRPr>
          </a:p>
        </p:txBody>
      </p:sp>
      <p:sp>
        <p:nvSpPr>
          <p:cNvPr id="64" name="Rectangle 63"/>
          <p:cNvSpPr/>
          <p:nvPr/>
        </p:nvSpPr>
        <p:spPr>
          <a:xfrm>
            <a:off x="1141268" y="2188308"/>
            <a:ext cx="8551915" cy="307764"/>
          </a:xfrm>
          <a:prstGeom prst="rect">
            <a:avLst/>
          </a:prstGeom>
        </p:spPr>
        <p:txBody>
          <a:bodyPr wrap="square" lIns="91429" tIns="45714" rIns="91429" bIns="45714">
            <a:spAutoFit/>
          </a:bodyPr>
          <a:lstStyle/>
          <a:p>
            <a:pPr defTabSz="914400">
              <a:buClr>
                <a:srgbClr val="A32020"/>
              </a:buClr>
            </a:pPr>
            <a:r>
              <a:rPr lang="en-GB" altLang="zh-CN" sz="1400" dirty="0" smtClean="0">
                <a:solidFill>
                  <a:srgbClr val="000000"/>
                </a:solidFill>
                <a:latin typeface="+mj-lt"/>
                <a:ea typeface="宋体" panose="02010600030101010101" pitchFamily="2" charset="-122"/>
              </a:rPr>
              <a:t>The </a:t>
            </a:r>
            <a:r>
              <a:rPr lang="en-GB" altLang="zh-CN" sz="1400" dirty="0" smtClean="0">
                <a:solidFill>
                  <a:srgbClr val="000000"/>
                </a:solidFill>
                <a:latin typeface="+mj-lt"/>
                <a:ea typeface="宋体" panose="02010600030101010101" pitchFamily="2" charset="-122"/>
              </a:rPr>
              <a:t>Non-TRE transfers </a:t>
            </a:r>
            <a:r>
              <a:rPr lang="en-GB" altLang="zh-CN" sz="1400" dirty="0" smtClean="0">
                <a:solidFill>
                  <a:srgbClr val="000000"/>
                </a:solidFill>
                <a:latin typeface="+mj-lt"/>
                <a:ea typeface="宋体" panose="02010600030101010101" pitchFamily="2" charset="-122"/>
              </a:rPr>
              <a:t>shares of a listed overseas company that it purchased from public stock exchanges  </a:t>
            </a:r>
            <a:endParaRPr lang="en-GB" altLang="zh-CN" sz="1400" dirty="0">
              <a:solidFill>
                <a:srgbClr val="000000"/>
              </a:solidFill>
              <a:latin typeface="+mj-lt"/>
              <a:ea typeface="宋体" panose="02010600030101010101" pitchFamily="2" charset="-122"/>
            </a:endParaRPr>
          </a:p>
        </p:txBody>
      </p:sp>
      <p:grpSp>
        <p:nvGrpSpPr>
          <p:cNvPr id="65" name="Group 64"/>
          <p:cNvGrpSpPr/>
          <p:nvPr/>
        </p:nvGrpSpPr>
        <p:grpSpPr>
          <a:xfrm>
            <a:off x="808332" y="2188308"/>
            <a:ext cx="451301" cy="443900"/>
            <a:chOff x="664315" y="1760964"/>
            <a:chExt cx="451301" cy="443900"/>
          </a:xfrm>
        </p:grpSpPr>
        <p:sp>
          <p:nvSpPr>
            <p:cNvPr id="66" name="Rectangle 65"/>
            <p:cNvSpPr/>
            <p:nvPr/>
          </p:nvSpPr>
          <p:spPr bwMode="ltGray">
            <a:xfrm>
              <a:off x="664315" y="1760964"/>
              <a:ext cx="260928" cy="299884"/>
            </a:xfrm>
            <a:prstGeom prst="rect">
              <a:avLst/>
            </a:prstGeom>
            <a:solidFill>
              <a:srgbClr val="A32020"/>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zh-CN" sz="1400" b="0" i="0" u="none" strike="noStrike" kern="0" cap="none" spc="0" normalizeH="0" baseline="0" noProof="0" dirty="0" err="1" smtClean="0">
                <a:ln>
                  <a:noFill/>
                </a:ln>
                <a:solidFill>
                  <a:srgbClr val="FFFFFF"/>
                </a:solidFill>
                <a:effectLst/>
                <a:uLnTx/>
                <a:uFillTx/>
                <a:latin typeface="宋体" panose="02010600030101010101" pitchFamily="2" charset="-122"/>
                <a:ea typeface="宋体" panose="02010600030101010101" pitchFamily="2" charset="-122"/>
              </a:endParaRPr>
            </a:p>
          </p:txBody>
        </p:sp>
        <p:sp>
          <p:nvSpPr>
            <p:cNvPr id="67" name="TextBox 66"/>
            <p:cNvSpPr txBox="1"/>
            <p:nvPr/>
          </p:nvSpPr>
          <p:spPr>
            <a:xfrm>
              <a:off x="736323" y="1777343"/>
              <a:ext cx="379293" cy="427521"/>
            </a:xfrm>
            <a:prstGeom prst="rect">
              <a:avLst/>
            </a:prstGeom>
            <a:noFill/>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900"/>
                </a:spcAft>
                <a:buClrTx/>
                <a:buSzTx/>
                <a:buFontTx/>
                <a:buNone/>
                <a:tabLst/>
                <a:defRPr/>
              </a:pPr>
              <a:r>
                <a:rPr kumimoji="0" lang="en-GB" altLang="zh-CN" sz="1400" b="1" i="0" u="none" strike="noStrike" kern="0" cap="none" spc="0" normalizeH="0" baseline="0" noProof="0" dirty="0" smtClean="0">
                  <a:ln>
                    <a:noFill/>
                  </a:ln>
                  <a:solidFill>
                    <a:srgbClr val="FFFFFF"/>
                  </a:solidFill>
                  <a:effectLst/>
                  <a:uLnTx/>
                  <a:uFillTx/>
                  <a:latin typeface="宋体" panose="02010600030101010101" pitchFamily="2" charset="-122"/>
                  <a:ea typeface="宋体" panose="02010600030101010101" pitchFamily="2" charset="-122"/>
                </a:rPr>
                <a:t>1</a:t>
              </a:r>
            </a:p>
          </p:txBody>
        </p:sp>
      </p:grpSp>
      <p:sp>
        <p:nvSpPr>
          <p:cNvPr id="68" name="Rectangle 67"/>
          <p:cNvSpPr/>
          <p:nvPr/>
        </p:nvSpPr>
        <p:spPr bwMode="ltGray">
          <a:xfrm>
            <a:off x="562046" y="2783353"/>
            <a:ext cx="8979352" cy="3828625"/>
          </a:xfrm>
          <a:prstGeom prst="rect">
            <a:avLst/>
          </a:prstGeom>
          <a:solidFill>
            <a:srgbClr val="FFFFFF">
              <a:lumMod val="95000"/>
            </a:srgbClr>
          </a:solidFill>
          <a:ln w="3175" cap="flat" cmpd="sng" algn="ctr">
            <a:noFill/>
            <a:prstDash val="solid"/>
          </a:ln>
          <a:effectLst/>
        </p:spPr>
        <p:txBody>
          <a:bodyPr lIns="91429" tIns="45714" rIns="91429" bIns="45714"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zh-CN" sz="1400" b="0" i="0" u="none" strike="noStrike" kern="0" cap="none" spc="0" normalizeH="0" baseline="0" noProof="0" dirty="0" err="1" smtClean="0">
              <a:ln>
                <a:noFill/>
              </a:ln>
              <a:solidFill>
                <a:srgbClr val="FFFFFF"/>
              </a:solidFill>
              <a:effectLst/>
              <a:uLnTx/>
              <a:uFillTx/>
              <a:latin typeface="宋体" panose="02010600030101010101" pitchFamily="2" charset="-122"/>
              <a:ea typeface="宋体" panose="02010600030101010101" pitchFamily="2" charset="-122"/>
            </a:endParaRPr>
          </a:p>
        </p:txBody>
      </p:sp>
      <p:sp>
        <p:nvSpPr>
          <p:cNvPr id="69" name="Rectangle 68"/>
          <p:cNvSpPr/>
          <p:nvPr/>
        </p:nvSpPr>
        <p:spPr>
          <a:xfrm>
            <a:off x="1257611" y="2843426"/>
            <a:ext cx="7246640" cy="307764"/>
          </a:xfrm>
          <a:prstGeom prst="rect">
            <a:avLst/>
          </a:prstGeom>
        </p:spPr>
        <p:txBody>
          <a:bodyPr wrap="square" lIns="91429" tIns="45714" rIns="91429" bIns="45714">
            <a:spAutoFit/>
          </a:bodyPr>
          <a:lstStyle/>
          <a:p>
            <a:pPr defTabSz="914400">
              <a:buClr>
                <a:srgbClr val="DC6900"/>
              </a:buClr>
            </a:pPr>
            <a:r>
              <a:rPr lang="en-GB" altLang="zh-CN" sz="1400" dirty="0" smtClean="0">
                <a:solidFill>
                  <a:srgbClr val="000000"/>
                </a:solidFill>
                <a:latin typeface="+mj-lt"/>
                <a:ea typeface="宋体" panose="02010600030101010101" pitchFamily="2" charset="-122"/>
              </a:rPr>
              <a:t>Eligibility to tax treaty protection</a:t>
            </a:r>
            <a:endParaRPr lang="en-GB" altLang="zh-CN" sz="1400" dirty="0">
              <a:solidFill>
                <a:srgbClr val="000000"/>
              </a:solidFill>
              <a:latin typeface="+mj-lt"/>
              <a:ea typeface="宋体" panose="02010600030101010101" pitchFamily="2" charset="-122"/>
            </a:endParaRPr>
          </a:p>
        </p:txBody>
      </p:sp>
      <p:grpSp>
        <p:nvGrpSpPr>
          <p:cNvPr id="76" name="Group 75"/>
          <p:cNvGrpSpPr/>
          <p:nvPr/>
        </p:nvGrpSpPr>
        <p:grpSpPr>
          <a:xfrm>
            <a:off x="808332" y="2847930"/>
            <a:ext cx="451301" cy="443900"/>
            <a:chOff x="664315" y="1760964"/>
            <a:chExt cx="451301" cy="443900"/>
          </a:xfrm>
        </p:grpSpPr>
        <p:sp>
          <p:nvSpPr>
            <p:cNvPr id="77" name="Rectangle 76"/>
            <p:cNvSpPr/>
            <p:nvPr/>
          </p:nvSpPr>
          <p:spPr bwMode="ltGray">
            <a:xfrm>
              <a:off x="664315" y="1760964"/>
              <a:ext cx="260928" cy="299884"/>
            </a:xfrm>
            <a:prstGeom prst="rect">
              <a:avLst/>
            </a:prstGeom>
            <a:solidFill>
              <a:srgbClr val="DC6900"/>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zh-CN" sz="1400" b="0" i="0" u="none" strike="noStrike" kern="0" cap="none" spc="0" normalizeH="0" baseline="0" noProof="0" dirty="0" err="1" smtClean="0">
                <a:ln>
                  <a:noFill/>
                </a:ln>
                <a:solidFill>
                  <a:srgbClr val="FFFFFF"/>
                </a:solidFill>
                <a:effectLst/>
                <a:uLnTx/>
                <a:uFillTx/>
                <a:latin typeface="宋体" panose="02010600030101010101" pitchFamily="2" charset="-122"/>
                <a:ea typeface="宋体" panose="02010600030101010101" pitchFamily="2" charset="-122"/>
              </a:endParaRPr>
            </a:p>
          </p:txBody>
        </p:sp>
        <p:sp>
          <p:nvSpPr>
            <p:cNvPr id="78" name="TextBox 77"/>
            <p:cNvSpPr txBox="1"/>
            <p:nvPr/>
          </p:nvSpPr>
          <p:spPr>
            <a:xfrm>
              <a:off x="736323" y="1777343"/>
              <a:ext cx="379293" cy="427521"/>
            </a:xfrm>
            <a:prstGeom prst="rect">
              <a:avLst/>
            </a:prstGeom>
            <a:noFill/>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900"/>
                </a:spcAft>
                <a:buClrTx/>
                <a:buSzTx/>
                <a:buFontTx/>
                <a:buNone/>
                <a:tabLst/>
                <a:defRPr/>
              </a:pPr>
              <a:r>
                <a:rPr kumimoji="0" lang="en-GB" altLang="zh-CN" sz="1400" b="1" i="0" u="none" strike="noStrike" kern="0" cap="none" spc="0" normalizeH="0" baseline="0" noProof="0" dirty="0" smtClean="0">
                  <a:ln>
                    <a:noFill/>
                  </a:ln>
                  <a:solidFill>
                    <a:srgbClr val="FFFFFF"/>
                  </a:solidFill>
                  <a:effectLst/>
                  <a:uLnTx/>
                  <a:uFillTx/>
                  <a:latin typeface="宋体" panose="02010600030101010101" pitchFamily="2" charset="-122"/>
                  <a:ea typeface="宋体" panose="02010600030101010101" pitchFamily="2" charset="-122"/>
                </a:rPr>
                <a:t>2</a:t>
              </a:r>
            </a:p>
          </p:txBody>
        </p:sp>
      </p:grpSp>
      <p:sp>
        <p:nvSpPr>
          <p:cNvPr id="79" name="Rectangle 78"/>
          <p:cNvSpPr/>
          <p:nvPr/>
        </p:nvSpPr>
        <p:spPr bwMode="ltGray">
          <a:xfrm>
            <a:off x="5541341" y="3511855"/>
            <a:ext cx="3398400" cy="2964530"/>
          </a:xfrm>
          <a:prstGeom prst="rect">
            <a:avLst/>
          </a:prstGeom>
          <a:solidFill>
            <a:srgbClr val="FFB600">
              <a:lumMod val="20000"/>
              <a:lumOff val="80000"/>
            </a:srgbClr>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zh-CN" sz="1400" b="0" i="0" u="none" strike="noStrike" kern="0" cap="none" spc="0" normalizeH="0" baseline="0" noProof="0" dirty="0" err="1" smtClean="0">
              <a:ln>
                <a:noFill/>
              </a:ln>
              <a:solidFill>
                <a:srgbClr val="FFFFFF"/>
              </a:solidFill>
              <a:effectLst/>
              <a:uLnTx/>
              <a:uFillTx/>
              <a:latin typeface="宋体" panose="02010600030101010101" pitchFamily="2" charset="-122"/>
              <a:ea typeface="宋体" panose="02010600030101010101" pitchFamily="2" charset="-122"/>
            </a:endParaRPr>
          </a:p>
        </p:txBody>
      </p:sp>
      <p:cxnSp>
        <p:nvCxnSpPr>
          <p:cNvPr id="80" name="Straight Connector 79"/>
          <p:cNvCxnSpPr/>
          <p:nvPr/>
        </p:nvCxnSpPr>
        <p:spPr>
          <a:xfrm>
            <a:off x="5595529" y="5663771"/>
            <a:ext cx="3250095" cy="0"/>
          </a:xfrm>
          <a:prstGeom prst="line">
            <a:avLst/>
          </a:prstGeom>
          <a:noFill/>
          <a:ln w="15875" cap="flat" cmpd="sng" algn="ctr">
            <a:solidFill>
              <a:srgbClr val="0070C0"/>
            </a:solidFill>
            <a:prstDash val="dash"/>
          </a:ln>
          <a:effectLst/>
        </p:spPr>
      </p:cxnSp>
      <p:cxnSp>
        <p:nvCxnSpPr>
          <p:cNvPr id="81" name="Straight Arrow Connector 80"/>
          <p:cNvCxnSpPr>
            <a:stCxn id="104" idx="2"/>
            <a:endCxn id="83" idx="0"/>
          </p:cNvCxnSpPr>
          <p:nvPr/>
        </p:nvCxnSpPr>
        <p:spPr>
          <a:xfrm>
            <a:off x="6649099" y="4467091"/>
            <a:ext cx="4132" cy="372878"/>
          </a:xfrm>
          <a:prstGeom prst="straightConnector1">
            <a:avLst/>
          </a:prstGeom>
          <a:noFill/>
          <a:ln w="15875" cap="flat" cmpd="sng" algn="ctr">
            <a:solidFill>
              <a:srgbClr val="A32020">
                <a:shade val="95000"/>
                <a:satMod val="105000"/>
              </a:srgbClr>
            </a:solidFill>
            <a:prstDash val="solid"/>
            <a:tailEnd type="triangle"/>
          </a:ln>
          <a:effectLst/>
        </p:spPr>
      </p:cxnSp>
      <p:cxnSp>
        <p:nvCxnSpPr>
          <p:cNvPr id="82" name="Straight Arrow Connector 81"/>
          <p:cNvCxnSpPr>
            <a:stCxn id="83" idx="2"/>
            <a:endCxn id="105" idx="0"/>
          </p:cNvCxnSpPr>
          <p:nvPr/>
        </p:nvCxnSpPr>
        <p:spPr>
          <a:xfrm>
            <a:off x="6653231" y="5361969"/>
            <a:ext cx="2310" cy="499949"/>
          </a:xfrm>
          <a:prstGeom prst="straightConnector1">
            <a:avLst/>
          </a:prstGeom>
          <a:noFill/>
          <a:ln w="15875" cap="flat" cmpd="sng" algn="ctr">
            <a:solidFill>
              <a:srgbClr val="A32020">
                <a:shade val="95000"/>
                <a:satMod val="105000"/>
              </a:srgbClr>
            </a:solidFill>
            <a:prstDash val="solid"/>
            <a:tailEnd type="triangle"/>
          </a:ln>
          <a:effectLst/>
        </p:spPr>
      </p:cxnSp>
      <p:sp>
        <p:nvSpPr>
          <p:cNvPr id="83" name="Rectangle 82"/>
          <p:cNvSpPr/>
          <p:nvPr/>
        </p:nvSpPr>
        <p:spPr bwMode="ltGray">
          <a:xfrm>
            <a:off x="6068231" y="4839969"/>
            <a:ext cx="1170000" cy="522000"/>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r>
              <a:rPr lang="en-GB" altLang="zh-CN" sz="1200" kern="0" dirty="0" smtClean="0">
                <a:solidFill>
                  <a:srgbClr val="FFFFFF"/>
                </a:solidFill>
                <a:latin typeface="+mj-lt"/>
                <a:ea typeface="宋体" panose="02010600030101010101" pitchFamily="2" charset="-122"/>
              </a:rPr>
              <a:t>Intermediate Holding Company</a:t>
            </a:r>
            <a:endParaRPr lang="en-GB" altLang="zh-CN" sz="1200" kern="0" dirty="0">
              <a:solidFill>
                <a:srgbClr val="FFFFFF"/>
              </a:solidFill>
              <a:latin typeface="+mj-lt"/>
              <a:ea typeface="宋体" panose="02010600030101010101" pitchFamily="2" charset="-122"/>
            </a:endParaRPr>
          </a:p>
        </p:txBody>
      </p:sp>
      <p:sp>
        <p:nvSpPr>
          <p:cNvPr id="86" name="Curved Up Arrow 85"/>
          <p:cNvSpPr/>
          <p:nvPr/>
        </p:nvSpPr>
        <p:spPr bwMode="ltGray">
          <a:xfrm rot="18948521">
            <a:off x="7418207" y="4808389"/>
            <a:ext cx="1138830" cy="503173"/>
          </a:xfrm>
          <a:prstGeom prst="curvedUpArrow">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zh-CN" sz="1400" b="0" i="0" u="none" strike="noStrike" kern="0" cap="none" spc="0" normalizeH="0" baseline="0" noProof="0" dirty="0" err="1" smtClean="0">
              <a:ln>
                <a:noFill/>
              </a:ln>
              <a:solidFill>
                <a:srgbClr val="FFFFFF"/>
              </a:solidFill>
              <a:effectLst/>
              <a:uLnTx/>
              <a:uFillTx/>
              <a:latin typeface="宋体" panose="02010600030101010101" pitchFamily="2" charset="-122"/>
              <a:ea typeface="宋体" panose="02010600030101010101" pitchFamily="2" charset="-122"/>
            </a:endParaRPr>
          </a:p>
        </p:txBody>
      </p:sp>
      <p:sp>
        <p:nvSpPr>
          <p:cNvPr id="87" name="TextBox 86"/>
          <p:cNvSpPr txBox="1"/>
          <p:nvPr/>
        </p:nvSpPr>
        <p:spPr>
          <a:xfrm>
            <a:off x="5631510" y="3584636"/>
            <a:ext cx="3456384" cy="395271"/>
          </a:xfrm>
          <a:prstGeom prst="rect">
            <a:avLst/>
          </a:prstGeom>
          <a:noFill/>
        </p:spPr>
        <p:txBody>
          <a:bodyPr vert="horz" wrap="square" lIns="0" tIns="0" rIns="0" bIns="0" rtlCol="0">
            <a:noAutofit/>
          </a:bodyPr>
          <a:lstStyle/>
          <a:p>
            <a:pPr lvl="0" defTabSz="914400">
              <a:spcAft>
                <a:spcPts val="900"/>
              </a:spcAft>
              <a:defRPr/>
            </a:pPr>
            <a:r>
              <a:rPr lang="en-GB" altLang="zh-CN" sz="1200" b="1" dirty="0" smtClean="0">
                <a:solidFill>
                  <a:srgbClr val="000000"/>
                </a:solidFill>
                <a:latin typeface="+mj-lt"/>
                <a:ea typeface="宋体" panose="02010600030101010101" pitchFamily="2" charset="-122"/>
              </a:rPr>
              <a:t>Indirect transfer: </a:t>
            </a:r>
            <a:r>
              <a:rPr lang="en-GB" altLang="zh-CN" sz="1200" dirty="0" smtClean="0">
                <a:solidFill>
                  <a:srgbClr val="000000"/>
                </a:solidFill>
                <a:latin typeface="+mj-lt"/>
                <a:ea typeface="宋体" panose="02010600030101010101" pitchFamily="2" charset="-122"/>
              </a:rPr>
              <a:t>Safe Harbour rules available </a:t>
            </a:r>
            <a:endParaRPr lang="en-GB" altLang="zh-CN" sz="1200" dirty="0">
              <a:solidFill>
                <a:srgbClr val="000000"/>
              </a:solidFill>
              <a:latin typeface="+mj-lt"/>
              <a:ea typeface="宋体" panose="02010600030101010101" pitchFamily="2" charset="-122"/>
            </a:endParaRPr>
          </a:p>
        </p:txBody>
      </p:sp>
      <p:sp>
        <p:nvSpPr>
          <p:cNvPr id="88" name="TextBox 87"/>
          <p:cNvSpPr txBox="1"/>
          <p:nvPr/>
        </p:nvSpPr>
        <p:spPr>
          <a:xfrm>
            <a:off x="6756296" y="4584209"/>
            <a:ext cx="535065" cy="190197"/>
          </a:xfrm>
          <a:prstGeom prst="rect">
            <a:avLst/>
          </a:prstGeom>
          <a:noFill/>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900"/>
              </a:spcAft>
              <a:buClrTx/>
              <a:buSzTx/>
              <a:buFontTx/>
              <a:buNone/>
              <a:tabLst/>
              <a:defRPr/>
            </a:pPr>
            <a:r>
              <a:rPr kumimoji="0" lang="en-GB" altLang="zh-CN" b="1" i="0" u="none" strike="noStrike" kern="0" cap="none" spc="0" normalizeH="0" baseline="0" noProof="0" dirty="0" smtClean="0">
                <a:ln>
                  <a:noFill/>
                </a:ln>
                <a:solidFill>
                  <a:srgbClr val="000000"/>
                </a:solidFill>
                <a:effectLst/>
                <a:uLnTx/>
                <a:uFillTx/>
                <a:latin typeface="宋体" panose="02010600030101010101" pitchFamily="2" charset="-122"/>
                <a:ea typeface="宋体" panose="02010600030101010101" pitchFamily="2" charset="-122"/>
              </a:rPr>
              <a:t>100%</a:t>
            </a:r>
          </a:p>
        </p:txBody>
      </p:sp>
      <p:sp>
        <p:nvSpPr>
          <p:cNvPr id="89" name="TextBox 88"/>
          <p:cNvSpPr txBox="1"/>
          <p:nvPr/>
        </p:nvSpPr>
        <p:spPr>
          <a:xfrm>
            <a:off x="6720754" y="5426789"/>
            <a:ext cx="535065" cy="190197"/>
          </a:xfrm>
          <a:prstGeom prst="rect">
            <a:avLst/>
          </a:prstGeom>
          <a:noFill/>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900"/>
              </a:spcAft>
              <a:buClrTx/>
              <a:buSzTx/>
              <a:buFontTx/>
              <a:buNone/>
              <a:tabLst/>
              <a:defRPr/>
            </a:pPr>
            <a:r>
              <a:rPr kumimoji="0" lang="en-GB" altLang="zh-CN" b="1" i="0" u="none" strike="noStrike" kern="0" cap="none" spc="0" normalizeH="0" baseline="0" noProof="0" dirty="0" smtClean="0">
                <a:ln>
                  <a:noFill/>
                </a:ln>
                <a:solidFill>
                  <a:srgbClr val="000000"/>
                </a:solidFill>
                <a:effectLst/>
                <a:uLnTx/>
                <a:uFillTx/>
                <a:latin typeface="宋体" panose="02010600030101010101" pitchFamily="2" charset="-122"/>
                <a:ea typeface="宋体" panose="02010600030101010101" pitchFamily="2" charset="-122"/>
              </a:rPr>
              <a:t>24%</a:t>
            </a:r>
          </a:p>
        </p:txBody>
      </p:sp>
      <p:sp>
        <p:nvSpPr>
          <p:cNvPr id="90" name="Multiply 89"/>
          <p:cNvSpPr/>
          <p:nvPr/>
        </p:nvSpPr>
        <p:spPr bwMode="ltGray">
          <a:xfrm>
            <a:off x="6556590" y="4508025"/>
            <a:ext cx="185015" cy="197635"/>
          </a:xfrm>
          <a:prstGeom prst="mathMultiply">
            <a:avLst/>
          </a:prstGeom>
          <a:solidFill>
            <a:srgbClr val="A32020"/>
          </a:solidFill>
          <a:ln w="3175" cap="flat" cmpd="sng" algn="ctr">
            <a:solidFill>
              <a:srgbClr val="A3202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zh-CN" sz="1400" b="0" i="0" u="none" strike="noStrike" kern="0" cap="none" spc="0" normalizeH="0" baseline="0" noProof="0" dirty="0" err="1" smtClean="0">
              <a:ln>
                <a:noFill/>
              </a:ln>
              <a:solidFill>
                <a:srgbClr val="FFFFFF"/>
              </a:solidFill>
              <a:effectLst/>
              <a:uLnTx/>
              <a:uFillTx/>
              <a:latin typeface="宋体" panose="02010600030101010101" pitchFamily="2" charset="-122"/>
              <a:ea typeface="宋体" panose="02010600030101010101" pitchFamily="2" charset="-122"/>
            </a:endParaRPr>
          </a:p>
        </p:txBody>
      </p:sp>
      <p:sp>
        <p:nvSpPr>
          <p:cNvPr id="91" name="Rectangle 90"/>
          <p:cNvSpPr/>
          <p:nvPr/>
        </p:nvSpPr>
        <p:spPr bwMode="ltGray">
          <a:xfrm>
            <a:off x="990711" y="3544291"/>
            <a:ext cx="3398912" cy="2964531"/>
          </a:xfrm>
          <a:prstGeom prst="rect">
            <a:avLst/>
          </a:prstGeom>
          <a:solidFill>
            <a:srgbClr val="FFB600">
              <a:lumMod val="20000"/>
              <a:lumOff val="80000"/>
            </a:srgbClr>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zh-CN" sz="1400" b="0" i="0" u="none" strike="noStrike" kern="0" cap="none" spc="0" normalizeH="0" baseline="0" noProof="0" dirty="0" err="1" smtClean="0">
              <a:ln>
                <a:noFill/>
              </a:ln>
              <a:solidFill>
                <a:srgbClr val="FFFFFF"/>
              </a:solidFill>
              <a:effectLst/>
              <a:uLnTx/>
              <a:uFillTx/>
              <a:latin typeface="宋体" panose="02010600030101010101" pitchFamily="2" charset="-122"/>
              <a:ea typeface="宋体" panose="02010600030101010101" pitchFamily="2" charset="-122"/>
            </a:endParaRPr>
          </a:p>
        </p:txBody>
      </p:sp>
      <p:cxnSp>
        <p:nvCxnSpPr>
          <p:cNvPr id="92" name="Straight Connector 91"/>
          <p:cNvCxnSpPr/>
          <p:nvPr/>
        </p:nvCxnSpPr>
        <p:spPr>
          <a:xfrm flipV="1">
            <a:off x="1088208" y="5674203"/>
            <a:ext cx="3255706" cy="18072"/>
          </a:xfrm>
          <a:prstGeom prst="line">
            <a:avLst/>
          </a:prstGeom>
          <a:noFill/>
          <a:ln w="15875" cap="flat" cmpd="sng" algn="ctr">
            <a:solidFill>
              <a:srgbClr val="0070C0"/>
            </a:solidFill>
            <a:prstDash val="dash"/>
          </a:ln>
          <a:effectLst/>
        </p:spPr>
      </p:cxnSp>
      <p:sp>
        <p:nvSpPr>
          <p:cNvPr id="93" name="TextBox 92"/>
          <p:cNvSpPr txBox="1"/>
          <p:nvPr/>
        </p:nvSpPr>
        <p:spPr>
          <a:xfrm>
            <a:off x="1075087" y="5489611"/>
            <a:ext cx="978246" cy="262624"/>
          </a:xfrm>
          <a:prstGeom prst="rect">
            <a:avLst/>
          </a:prstGeom>
          <a:noFill/>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900"/>
              </a:spcAft>
              <a:buClrTx/>
              <a:buSzTx/>
              <a:buFontTx/>
              <a:buNone/>
              <a:tabLst/>
              <a:defRPr/>
            </a:pPr>
            <a:r>
              <a:rPr lang="en-GB" altLang="zh-CN" kern="0" dirty="0" smtClean="0">
                <a:solidFill>
                  <a:srgbClr val="000000"/>
                </a:solidFill>
                <a:latin typeface="+mj-lt"/>
                <a:ea typeface="宋体" panose="02010600030101010101" pitchFamily="2" charset="-122"/>
              </a:rPr>
              <a:t>Overseas</a:t>
            </a:r>
            <a:endParaRPr kumimoji="0" lang="en-GB" altLang="zh-CN" b="0" i="0" u="none" strike="noStrike" kern="0" cap="none" spc="0" normalizeH="0" baseline="0" noProof="0" dirty="0" smtClean="0">
              <a:ln>
                <a:noFill/>
              </a:ln>
              <a:solidFill>
                <a:srgbClr val="000000"/>
              </a:solidFill>
              <a:effectLst/>
              <a:uLnTx/>
              <a:uFillTx/>
              <a:latin typeface="+mj-lt"/>
              <a:ea typeface="宋体" panose="02010600030101010101" pitchFamily="2" charset="-122"/>
            </a:endParaRPr>
          </a:p>
        </p:txBody>
      </p:sp>
      <p:sp>
        <p:nvSpPr>
          <p:cNvPr id="94" name="TextBox 93"/>
          <p:cNvSpPr txBox="1"/>
          <p:nvPr/>
        </p:nvSpPr>
        <p:spPr>
          <a:xfrm>
            <a:off x="1072325" y="5723500"/>
            <a:ext cx="432256" cy="247330"/>
          </a:xfrm>
          <a:prstGeom prst="rect">
            <a:avLst/>
          </a:prstGeom>
          <a:noFill/>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900"/>
              </a:spcAft>
              <a:buClrTx/>
              <a:buSzTx/>
              <a:buFontTx/>
              <a:buNone/>
              <a:tabLst/>
              <a:defRPr/>
            </a:pPr>
            <a:r>
              <a:rPr lang="en-GB" altLang="zh-CN" kern="0" dirty="0" smtClean="0">
                <a:solidFill>
                  <a:srgbClr val="000000"/>
                </a:solidFill>
                <a:latin typeface="+mj-lt"/>
                <a:ea typeface="宋体" panose="02010600030101010101" pitchFamily="2" charset="-122"/>
              </a:rPr>
              <a:t>China</a:t>
            </a:r>
            <a:endParaRPr kumimoji="0" lang="en-GB" altLang="zh-CN" b="0" i="0" u="none" strike="noStrike" kern="0" cap="none" spc="0" normalizeH="0" baseline="0" noProof="0" dirty="0" smtClean="0">
              <a:ln>
                <a:noFill/>
              </a:ln>
              <a:solidFill>
                <a:srgbClr val="000000"/>
              </a:solidFill>
              <a:effectLst/>
              <a:uLnTx/>
              <a:uFillTx/>
              <a:latin typeface="+mj-lt"/>
              <a:ea typeface="宋体" panose="02010600030101010101" pitchFamily="2" charset="-122"/>
            </a:endParaRPr>
          </a:p>
        </p:txBody>
      </p:sp>
      <p:sp>
        <p:nvSpPr>
          <p:cNvPr id="95" name="Rectangle 94"/>
          <p:cNvSpPr/>
          <p:nvPr/>
        </p:nvSpPr>
        <p:spPr bwMode="ltGray">
          <a:xfrm>
            <a:off x="1473010" y="5858747"/>
            <a:ext cx="1143461" cy="52200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ltLang="zh-CN" sz="1200" kern="0" dirty="0" smtClean="0">
                <a:solidFill>
                  <a:srgbClr val="FFFFFF"/>
                </a:solidFill>
                <a:latin typeface="+mj-lt"/>
                <a:ea typeface="宋体" panose="02010600030101010101" pitchFamily="2" charset="-122"/>
              </a:rPr>
              <a:t>Company C</a:t>
            </a:r>
            <a:endParaRPr kumimoji="0" lang="en-GB" altLang="zh-CN" sz="1200" i="0" u="none" strike="noStrike" kern="0" cap="none" spc="0" normalizeH="0" baseline="0" noProof="0" dirty="0" smtClean="0">
              <a:ln>
                <a:noFill/>
              </a:ln>
              <a:solidFill>
                <a:srgbClr val="FFFFFF"/>
              </a:solidFill>
              <a:effectLst/>
              <a:uLnTx/>
              <a:uFillTx/>
              <a:latin typeface="+mj-lt"/>
              <a:ea typeface="宋体" panose="02010600030101010101" pitchFamily="2" charset="-122"/>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zh-CN" altLang="en-GB" sz="1200" i="0" u="none" strike="noStrike" kern="0" cap="none" spc="0" normalizeH="0" baseline="0" noProof="0" dirty="0" smtClean="0">
                <a:ln>
                  <a:noFill/>
                </a:ln>
                <a:solidFill>
                  <a:srgbClr val="FFFFFF"/>
                </a:solidFill>
                <a:effectLst/>
                <a:uLnTx/>
                <a:uFillTx/>
                <a:latin typeface="+mj-lt"/>
                <a:ea typeface="宋体" panose="02010600030101010101" pitchFamily="2" charset="-122"/>
              </a:rPr>
              <a:t>（</a:t>
            </a:r>
            <a:r>
              <a:rPr lang="en-GB" altLang="zh-CN" sz="1200" kern="0" dirty="0" smtClean="0">
                <a:solidFill>
                  <a:srgbClr val="FFFFFF"/>
                </a:solidFill>
                <a:latin typeface="+mj-lt"/>
                <a:ea typeface="宋体" panose="02010600030101010101" pitchFamily="2" charset="-122"/>
              </a:rPr>
              <a:t>China</a:t>
            </a:r>
            <a:r>
              <a:rPr kumimoji="0" lang="zh-CN" altLang="en-GB" sz="1200" i="0" u="none" strike="noStrike" kern="0" cap="none" spc="0" normalizeH="0" baseline="0" noProof="0" dirty="0" smtClean="0">
                <a:ln>
                  <a:noFill/>
                </a:ln>
                <a:solidFill>
                  <a:srgbClr val="FFFFFF"/>
                </a:solidFill>
                <a:effectLst/>
                <a:uLnTx/>
                <a:uFillTx/>
                <a:latin typeface="+mj-lt"/>
                <a:ea typeface="宋体" panose="02010600030101010101" pitchFamily="2" charset="-122"/>
              </a:rPr>
              <a:t>）</a:t>
            </a:r>
            <a:endParaRPr kumimoji="0" lang="en-GB" altLang="zh-CN" sz="1200" i="0" u="none" strike="noStrike" kern="0" cap="none" spc="0" normalizeH="0" baseline="0" noProof="0" dirty="0" smtClean="0">
              <a:ln>
                <a:noFill/>
              </a:ln>
              <a:solidFill>
                <a:srgbClr val="FFFFFF"/>
              </a:solidFill>
              <a:effectLst/>
              <a:uLnTx/>
              <a:uFillTx/>
              <a:latin typeface="+mj-lt"/>
              <a:ea typeface="宋体" panose="02010600030101010101" pitchFamily="2" charset="-122"/>
            </a:endParaRPr>
          </a:p>
        </p:txBody>
      </p:sp>
      <p:cxnSp>
        <p:nvCxnSpPr>
          <p:cNvPr id="96" name="Straight Arrow Connector 95"/>
          <p:cNvCxnSpPr>
            <a:stCxn id="98" idx="2"/>
            <a:endCxn id="95" idx="0"/>
          </p:cNvCxnSpPr>
          <p:nvPr/>
        </p:nvCxnSpPr>
        <p:spPr>
          <a:xfrm flipH="1">
            <a:off x="2044741" y="4540806"/>
            <a:ext cx="13269" cy="1317941"/>
          </a:xfrm>
          <a:prstGeom prst="straightConnector1">
            <a:avLst/>
          </a:prstGeom>
          <a:noFill/>
          <a:ln w="15875" cap="flat" cmpd="sng" algn="ctr">
            <a:solidFill>
              <a:srgbClr val="A32020">
                <a:shade val="95000"/>
                <a:satMod val="105000"/>
              </a:srgbClr>
            </a:solidFill>
            <a:prstDash val="solid"/>
            <a:tailEnd type="triangle"/>
          </a:ln>
          <a:effectLst/>
        </p:spPr>
      </p:cxnSp>
      <p:sp>
        <p:nvSpPr>
          <p:cNvPr id="97" name="Curved Up Arrow 96"/>
          <p:cNvSpPr/>
          <p:nvPr/>
        </p:nvSpPr>
        <p:spPr bwMode="ltGray">
          <a:xfrm rot="17399090">
            <a:off x="2642853" y="5166611"/>
            <a:ext cx="1292885" cy="414909"/>
          </a:xfrm>
          <a:prstGeom prst="curvedUpArrow">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zh-CN" sz="1400" b="0" i="0" u="none" strike="noStrike" kern="0" cap="none" spc="0" normalizeH="0" baseline="0" noProof="0" dirty="0" err="1" smtClean="0">
              <a:ln>
                <a:noFill/>
              </a:ln>
              <a:solidFill>
                <a:srgbClr val="FFFFFF"/>
              </a:solidFill>
              <a:effectLst/>
              <a:uLnTx/>
              <a:uFillTx/>
              <a:latin typeface="宋体" panose="02010600030101010101" pitchFamily="2" charset="-122"/>
              <a:ea typeface="宋体" panose="02010600030101010101" pitchFamily="2" charset="-122"/>
            </a:endParaRPr>
          </a:p>
        </p:txBody>
      </p:sp>
      <p:sp>
        <p:nvSpPr>
          <p:cNvPr id="98" name="Rectangle 97"/>
          <p:cNvSpPr/>
          <p:nvPr/>
        </p:nvSpPr>
        <p:spPr bwMode="ltGray">
          <a:xfrm>
            <a:off x="1445352" y="4017191"/>
            <a:ext cx="1225316" cy="52361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GB" altLang="zh-CN" sz="1200" kern="0" dirty="0" smtClean="0">
                <a:solidFill>
                  <a:srgbClr val="FFFFFF"/>
                </a:solidFill>
                <a:latin typeface="+mj-lt"/>
                <a:ea typeface="宋体" panose="02010600030101010101" pitchFamily="2" charset="-122"/>
              </a:rPr>
              <a:t>Company </a:t>
            </a:r>
            <a:r>
              <a:rPr lang="en-GB" altLang="zh-CN" sz="1200" kern="0" dirty="0" smtClean="0">
                <a:solidFill>
                  <a:srgbClr val="FFFFFF"/>
                </a:solidFill>
                <a:latin typeface="+mj-lt"/>
                <a:ea typeface="宋体" panose="02010600030101010101" pitchFamily="2" charset="-122"/>
              </a:rPr>
              <a:t>A</a:t>
            </a:r>
            <a:endParaRPr kumimoji="0" lang="en-GB" altLang="zh-CN" sz="1200" b="0" i="0" u="none" strike="noStrike" kern="0" cap="none" spc="0" normalizeH="0" baseline="0" noProof="0" dirty="0" smtClean="0">
              <a:ln>
                <a:noFill/>
              </a:ln>
              <a:solidFill>
                <a:srgbClr val="FFFFFF"/>
              </a:solidFill>
              <a:effectLst/>
              <a:uLnTx/>
              <a:uFillTx/>
              <a:latin typeface="+mj-lt"/>
              <a:ea typeface="宋体" panose="02010600030101010101" pitchFamily="2" charset="-122"/>
            </a:endParaRPr>
          </a:p>
        </p:txBody>
      </p:sp>
      <p:sp>
        <p:nvSpPr>
          <p:cNvPr id="99" name="TextBox 98"/>
          <p:cNvSpPr txBox="1"/>
          <p:nvPr/>
        </p:nvSpPr>
        <p:spPr>
          <a:xfrm>
            <a:off x="2099042" y="5446330"/>
            <a:ext cx="535065" cy="215961"/>
          </a:xfrm>
          <a:prstGeom prst="rect">
            <a:avLst/>
          </a:prstGeom>
          <a:noFill/>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900"/>
              </a:spcAft>
              <a:buClrTx/>
              <a:buSzTx/>
              <a:buFontTx/>
              <a:buNone/>
              <a:tabLst/>
              <a:defRPr/>
            </a:pPr>
            <a:r>
              <a:rPr kumimoji="0" lang="en-GB" altLang="zh-CN" b="1" i="0" u="none" strike="noStrike" kern="0" cap="none" spc="0" normalizeH="0" baseline="0" noProof="0" dirty="0" smtClean="0">
                <a:ln>
                  <a:noFill/>
                </a:ln>
                <a:solidFill>
                  <a:srgbClr val="000000"/>
                </a:solidFill>
                <a:effectLst/>
                <a:uLnTx/>
                <a:uFillTx/>
                <a:latin typeface="宋体" panose="02010600030101010101" pitchFamily="2" charset="-122"/>
                <a:ea typeface="宋体" panose="02010600030101010101" pitchFamily="2" charset="-122"/>
              </a:rPr>
              <a:t>24%</a:t>
            </a:r>
          </a:p>
        </p:txBody>
      </p:sp>
      <p:sp>
        <p:nvSpPr>
          <p:cNvPr id="100" name="Multiply 99"/>
          <p:cNvSpPr/>
          <p:nvPr/>
        </p:nvSpPr>
        <p:spPr bwMode="ltGray">
          <a:xfrm>
            <a:off x="1954667" y="5018807"/>
            <a:ext cx="185015" cy="224406"/>
          </a:xfrm>
          <a:prstGeom prst="mathMultiply">
            <a:avLst/>
          </a:prstGeom>
          <a:solidFill>
            <a:srgbClr val="A32020"/>
          </a:solidFill>
          <a:ln w="3175" cap="flat" cmpd="sng" algn="ctr">
            <a:solidFill>
              <a:srgbClr val="A32020">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zh-CN" sz="1400" b="0" i="0" u="none" strike="noStrike" kern="0" cap="none" spc="0" normalizeH="0" baseline="0" noProof="0" dirty="0" err="1" smtClean="0">
              <a:ln>
                <a:noFill/>
              </a:ln>
              <a:solidFill>
                <a:srgbClr val="FFFFFF"/>
              </a:solidFill>
              <a:effectLst/>
              <a:uLnTx/>
              <a:uFillTx/>
              <a:latin typeface="宋体" panose="02010600030101010101" pitchFamily="2" charset="-122"/>
              <a:ea typeface="宋体" panose="02010600030101010101" pitchFamily="2" charset="-122"/>
            </a:endParaRPr>
          </a:p>
        </p:txBody>
      </p:sp>
      <p:sp>
        <p:nvSpPr>
          <p:cNvPr id="101" name="Rectangle 100"/>
          <p:cNvSpPr/>
          <p:nvPr/>
        </p:nvSpPr>
        <p:spPr bwMode="ltGray">
          <a:xfrm>
            <a:off x="2921620" y="4020888"/>
            <a:ext cx="1170000" cy="52361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r>
              <a:rPr lang="en-GB" altLang="zh-CN" sz="1200" kern="0" dirty="0" smtClean="0">
                <a:solidFill>
                  <a:srgbClr val="FFFFFF"/>
                </a:solidFill>
                <a:latin typeface="+mj-lt"/>
                <a:ea typeface="宋体" panose="02010600030101010101" pitchFamily="2" charset="-122"/>
              </a:rPr>
              <a:t>Company B</a:t>
            </a:r>
            <a:endParaRPr lang="en-GB" altLang="zh-CN" sz="1200" kern="0" dirty="0">
              <a:solidFill>
                <a:srgbClr val="FFFFFF"/>
              </a:solidFill>
              <a:latin typeface="+mj-lt"/>
              <a:ea typeface="宋体" panose="02010600030101010101" pitchFamily="2" charset="-122"/>
            </a:endParaRPr>
          </a:p>
        </p:txBody>
      </p:sp>
      <p:sp>
        <p:nvSpPr>
          <p:cNvPr id="102" name="TextBox 101"/>
          <p:cNvSpPr txBox="1"/>
          <p:nvPr/>
        </p:nvSpPr>
        <p:spPr>
          <a:xfrm>
            <a:off x="1021640" y="3562127"/>
            <a:ext cx="2918859" cy="458761"/>
          </a:xfrm>
          <a:prstGeom prst="rect">
            <a:avLst/>
          </a:prstGeom>
          <a:noFill/>
        </p:spPr>
        <p:txBody>
          <a:bodyPr vert="horz" wrap="square" lIns="0" tIns="0" rIns="0" bIns="0" rtlCol="0">
            <a:noAutofit/>
          </a:bodyPr>
          <a:lstStyle/>
          <a:p>
            <a:pPr defTabSz="914400">
              <a:spcAft>
                <a:spcPts val="900"/>
              </a:spcAft>
            </a:pPr>
            <a:r>
              <a:rPr lang="en-GB" altLang="zh-CN" sz="1200" b="1" dirty="0" smtClean="0">
                <a:solidFill>
                  <a:srgbClr val="000000"/>
                </a:solidFill>
                <a:latin typeface="+mj-lt"/>
                <a:ea typeface="宋体" panose="02010600030101010101" pitchFamily="2" charset="-122"/>
              </a:rPr>
              <a:t>Direct transfer: </a:t>
            </a:r>
            <a:r>
              <a:rPr lang="en-GB" altLang="zh-CN" sz="1200" dirty="0" smtClean="0">
                <a:solidFill>
                  <a:srgbClr val="000000"/>
                </a:solidFill>
                <a:latin typeface="+mj-lt"/>
                <a:ea typeface="宋体" panose="02010600030101010101" pitchFamily="2" charset="-122"/>
              </a:rPr>
              <a:t>exempted from CIT according to applicable Tax Treaty</a:t>
            </a:r>
            <a:endParaRPr lang="en-GB" altLang="zh-CN" sz="1200" dirty="0">
              <a:solidFill>
                <a:srgbClr val="000000"/>
              </a:solidFill>
              <a:latin typeface="+mj-lt"/>
              <a:ea typeface="宋体" panose="02010600030101010101" pitchFamily="2" charset="-122"/>
            </a:endParaRPr>
          </a:p>
        </p:txBody>
      </p:sp>
      <p:sp>
        <p:nvSpPr>
          <p:cNvPr id="103" name="Chevron 102"/>
          <p:cNvSpPr/>
          <p:nvPr/>
        </p:nvSpPr>
        <p:spPr>
          <a:xfrm>
            <a:off x="4602843" y="4877744"/>
            <a:ext cx="561320" cy="297624"/>
          </a:xfrm>
          <a:prstGeom prst="chevron">
            <a:avLst/>
          </a:prstGeom>
          <a:solidFill>
            <a:srgbClr val="DC6900">
              <a:lumMod val="60000"/>
              <a:lumOff val="40000"/>
            </a:srgbClr>
          </a:solidFill>
          <a:ln w="25400" cap="flat" cmpd="sng" algn="ctr">
            <a:solidFill>
              <a:srgbClr val="FFFFFF">
                <a:hueOff val="0"/>
                <a:satOff val="0"/>
                <a:lumOff val="0"/>
                <a:alphaOff val="0"/>
              </a:srgbClr>
            </a:solidFill>
            <a:prstDash val="solid"/>
          </a:ln>
          <a:effectLst/>
        </p:spPr>
        <p:txBody>
          <a:bodyPr spcFirstLastPara="0" vert="horz" wrap="square" lIns="105521" tIns="105521" rIns="1340081" bIns="105521" numCol="1" spcCol="1270" rtlCol="0" anchor="ctr" anchorCtr="0">
            <a:noAutofit/>
          </a:bodyPr>
          <a:lstStyle/>
          <a:p>
            <a:pPr marL="0" marR="0" lvl="0" indent="0" algn="ctr" defTabSz="888896" eaLnBrk="1" fontAlgn="auto" latinLnBrk="0" hangingPunct="1">
              <a:lnSpc>
                <a:spcPct val="90000"/>
              </a:lnSpc>
              <a:spcBef>
                <a:spcPct val="0"/>
              </a:spcBef>
              <a:spcAft>
                <a:spcPct val="35000"/>
              </a:spcAft>
              <a:buClrTx/>
              <a:buSzTx/>
              <a:buFontTx/>
              <a:buNone/>
              <a:tabLst/>
              <a:defRPr/>
            </a:pPr>
            <a:endParaRPr kumimoji="0" lang="en-GB" altLang="zh-CN" sz="1400" b="1" i="0" u="none" strike="noStrike" kern="0" cap="none" spc="0" normalizeH="0" baseline="0" noProof="0" dirty="0" smtClean="0">
              <a:ln>
                <a:noFill/>
              </a:ln>
              <a:solidFill>
                <a:srgbClr val="000000"/>
              </a:solidFill>
              <a:effectLst/>
              <a:uLnTx/>
              <a:uFillTx/>
              <a:latin typeface="宋体" panose="02010600030101010101" pitchFamily="2" charset="-122"/>
              <a:ea typeface="宋体" panose="02010600030101010101" pitchFamily="2" charset="-122"/>
            </a:endParaRPr>
          </a:p>
        </p:txBody>
      </p:sp>
      <p:sp>
        <p:nvSpPr>
          <p:cNvPr id="104" name="Rectangle 103"/>
          <p:cNvSpPr/>
          <p:nvPr/>
        </p:nvSpPr>
        <p:spPr bwMode="ltGray">
          <a:xfrm>
            <a:off x="6063936" y="3943476"/>
            <a:ext cx="1170325" cy="52361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lvl="0" algn="ctr" defTabSz="914400">
              <a:defRPr/>
            </a:pPr>
            <a:r>
              <a:rPr lang="en-GB" altLang="zh-CN" sz="1200" kern="0" dirty="0" smtClean="0">
                <a:solidFill>
                  <a:srgbClr val="FFFFFF"/>
                </a:solidFill>
                <a:latin typeface="+mj-lt"/>
                <a:ea typeface="宋体" panose="02010600030101010101" pitchFamily="2" charset="-122"/>
              </a:rPr>
              <a:t>Company </a:t>
            </a:r>
            <a:r>
              <a:rPr lang="en-GB" altLang="zh-CN" sz="1200" kern="0" dirty="0" smtClean="0">
                <a:solidFill>
                  <a:srgbClr val="FFFFFF"/>
                </a:solidFill>
                <a:latin typeface="+mj-lt"/>
                <a:ea typeface="宋体" panose="02010600030101010101" pitchFamily="2" charset="-122"/>
              </a:rPr>
              <a:t>A</a:t>
            </a:r>
            <a:endParaRPr lang="en-GB" altLang="zh-CN" sz="1200" kern="0" dirty="0" smtClean="0">
              <a:solidFill>
                <a:srgbClr val="FFFFFF"/>
              </a:solidFill>
              <a:latin typeface="+mj-lt"/>
              <a:ea typeface="宋体" panose="02010600030101010101" pitchFamily="2" charset="-122"/>
            </a:endParaRPr>
          </a:p>
        </p:txBody>
      </p:sp>
      <p:sp>
        <p:nvSpPr>
          <p:cNvPr id="105" name="Rectangle 104"/>
          <p:cNvSpPr/>
          <p:nvPr/>
        </p:nvSpPr>
        <p:spPr bwMode="ltGray">
          <a:xfrm>
            <a:off x="6070541" y="5861918"/>
            <a:ext cx="1170000" cy="52200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lvl="0" algn="ctr" defTabSz="914400">
              <a:defRPr/>
            </a:pPr>
            <a:r>
              <a:rPr lang="en-GB" altLang="zh-CN" sz="1200" kern="0" dirty="0" smtClean="0">
                <a:solidFill>
                  <a:srgbClr val="FFFFFF"/>
                </a:solidFill>
                <a:latin typeface="Georgia"/>
                <a:ea typeface="宋体" panose="02010600030101010101" pitchFamily="2" charset="-122"/>
              </a:rPr>
              <a:t>Company C</a:t>
            </a:r>
          </a:p>
          <a:p>
            <a:pPr lvl="0" algn="ctr" defTabSz="914400">
              <a:defRPr/>
            </a:pPr>
            <a:r>
              <a:rPr lang="zh-CN" altLang="en-GB" sz="1200" kern="0" dirty="0" smtClean="0">
                <a:solidFill>
                  <a:srgbClr val="FFFFFF"/>
                </a:solidFill>
                <a:latin typeface="Georgia"/>
                <a:ea typeface="宋体" panose="02010600030101010101" pitchFamily="2" charset="-122"/>
              </a:rPr>
              <a:t>（</a:t>
            </a:r>
            <a:r>
              <a:rPr lang="en-GB" altLang="zh-CN" sz="1200" kern="0" dirty="0" smtClean="0">
                <a:solidFill>
                  <a:srgbClr val="FFFFFF"/>
                </a:solidFill>
                <a:latin typeface="Georgia"/>
                <a:ea typeface="宋体" panose="02010600030101010101" pitchFamily="2" charset="-122"/>
              </a:rPr>
              <a:t>China</a:t>
            </a:r>
            <a:r>
              <a:rPr lang="zh-CN" altLang="en-GB" sz="1200" kern="0" dirty="0" smtClean="0">
                <a:solidFill>
                  <a:srgbClr val="FFFFFF"/>
                </a:solidFill>
                <a:latin typeface="Georgia"/>
                <a:ea typeface="宋体" panose="02010600030101010101" pitchFamily="2" charset="-122"/>
              </a:rPr>
              <a:t>）</a:t>
            </a:r>
            <a:endParaRPr lang="en-GB" altLang="zh-CN" sz="1200" kern="0" dirty="0">
              <a:solidFill>
                <a:srgbClr val="FFFFFF"/>
              </a:solidFill>
              <a:latin typeface="Georgia"/>
              <a:ea typeface="宋体" panose="02010600030101010101" pitchFamily="2" charset="-122"/>
            </a:endParaRPr>
          </a:p>
        </p:txBody>
      </p:sp>
      <p:sp>
        <p:nvSpPr>
          <p:cNvPr id="106" name="Rectangle 105"/>
          <p:cNvSpPr/>
          <p:nvPr/>
        </p:nvSpPr>
        <p:spPr bwMode="ltGray">
          <a:xfrm>
            <a:off x="7453280" y="3949784"/>
            <a:ext cx="1170000" cy="52361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GB" altLang="zh-CN" sz="1400" kern="0" dirty="0" smtClean="0">
              <a:solidFill>
                <a:srgbClr val="FFFFFF"/>
              </a:solidFill>
              <a:latin typeface="宋体" panose="02010600030101010101" pitchFamily="2" charset="-122"/>
              <a:ea typeface="宋体" panose="02010600030101010101" pitchFamily="2" charset="-122"/>
            </a:endParaRPr>
          </a:p>
          <a:p>
            <a:pPr algn="ctr" defTabSz="914400"/>
            <a:r>
              <a:rPr lang="en-GB" altLang="zh-CN" sz="1200" kern="0" dirty="0" smtClean="0">
                <a:solidFill>
                  <a:srgbClr val="FFFFFF"/>
                </a:solidFill>
                <a:latin typeface="+mj-lt"/>
                <a:ea typeface="宋体" panose="02010600030101010101" pitchFamily="2" charset="-122"/>
              </a:rPr>
              <a:t>Company B</a:t>
            </a:r>
          </a:p>
          <a:p>
            <a:pPr algn="ctr" defTabSz="914400"/>
            <a:endParaRPr lang="en-GB" altLang="zh-CN" sz="1400" kern="0" dirty="0">
              <a:solidFill>
                <a:srgbClr val="FFFFFF"/>
              </a:solidFill>
              <a:latin typeface="宋体" panose="02010600030101010101" pitchFamily="2" charset="-122"/>
              <a:ea typeface="宋体" panose="02010600030101010101" pitchFamily="2" charset="-122"/>
            </a:endParaRPr>
          </a:p>
        </p:txBody>
      </p:sp>
      <p:sp>
        <p:nvSpPr>
          <p:cNvPr id="59" name="Rectangle 58"/>
          <p:cNvSpPr/>
          <p:nvPr/>
        </p:nvSpPr>
        <p:spPr>
          <a:xfrm>
            <a:off x="-1571437" y="1432883"/>
            <a:ext cx="748923" cy="261610"/>
          </a:xfrm>
          <a:prstGeom prst="rect">
            <a:avLst/>
          </a:prstGeom>
        </p:spPr>
        <p:txBody>
          <a:bodyPr wrap="none">
            <a:spAutoFit/>
          </a:bodyPr>
          <a:lstStyle/>
          <a:p>
            <a:pPr lvl="0" defTabSz="914400">
              <a:spcAft>
                <a:spcPts val="900"/>
              </a:spcAft>
              <a:defRPr/>
            </a:pPr>
            <a:r>
              <a:rPr lang="en-GB" altLang="zh-CN" kern="0" dirty="0" smtClean="0">
                <a:solidFill>
                  <a:srgbClr val="000000"/>
                </a:solidFill>
                <a:latin typeface="宋体" panose="02010600030101010101" pitchFamily="2" charset="-122"/>
                <a:ea typeface="宋体" panose="02010600030101010101" pitchFamily="2" charset="-122"/>
              </a:rPr>
              <a:t>Overseas</a:t>
            </a:r>
            <a:endParaRPr lang="en-GB" altLang="zh-CN" kern="0" dirty="0">
              <a:solidFill>
                <a:srgbClr val="000000"/>
              </a:solidFill>
              <a:latin typeface="宋体" panose="02010600030101010101" pitchFamily="2" charset="-122"/>
              <a:ea typeface="宋体" panose="02010600030101010101" pitchFamily="2" charset="-122"/>
            </a:endParaRPr>
          </a:p>
        </p:txBody>
      </p:sp>
      <p:sp>
        <p:nvSpPr>
          <p:cNvPr id="113" name="TextBox 112"/>
          <p:cNvSpPr txBox="1"/>
          <p:nvPr/>
        </p:nvSpPr>
        <p:spPr>
          <a:xfrm>
            <a:off x="5559912" y="5454026"/>
            <a:ext cx="1071927" cy="220177"/>
          </a:xfrm>
          <a:prstGeom prst="rect">
            <a:avLst/>
          </a:prstGeom>
          <a:noFill/>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900"/>
              </a:spcAft>
              <a:buClrTx/>
              <a:buSzTx/>
              <a:buFontTx/>
              <a:buNone/>
              <a:tabLst/>
              <a:defRPr/>
            </a:pPr>
            <a:r>
              <a:rPr lang="en-GB" altLang="zh-CN" kern="0" dirty="0" smtClean="0">
                <a:solidFill>
                  <a:srgbClr val="000000"/>
                </a:solidFill>
                <a:latin typeface="+mj-lt"/>
                <a:ea typeface="宋体" panose="02010600030101010101" pitchFamily="2" charset="-122"/>
              </a:rPr>
              <a:t>Overseas</a:t>
            </a:r>
            <a:endParaRPr kumimoji="0" lang="en-GB" altLang="zh-CN" b="0" i="0" u="none" strike="noStrike" kern="0" cap="none" spc="0" normalizeH="0" baseline="0" noProof="0" dirty="0" smtClean="0">
              <a:ln>
                <a:noFill/>
              </a:ln>
              <a:solidFill>
                <a:srgbClr val="000000"/>
              </a:solidFill>
              <a:effectLst/>
              <a:uLnTx/>
              <a:uFillTx/>
              <a:latin typeface="+mj-lt"/>
              <a:ea typeface="宋体" panose="02010600030101010101" pitchFamily="2" charset="-122"/>
            </a:endParaRPr>
          </a:p>
        </p:txBody>
      </p:sp>
      <p:sp>
        <p:nvSpPr>
          <p:cNvPr id="114" name="TextBox 113"/>
          <p:cNvSpPr txBox="1"/>
          <p:nvPr/>
        </p:nvSpPr>
        <p:spPr>
          <a:xfrm>
            <a:off x="5573072" y="5752235"/>
            <a:ext cx="432256" cy="247330"/>
          </a:xfrm>
          <a:prstGeom prst="rect">
            <a:avLst/>
          </a:prstGeom>
          <a:noFill/>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900"/>
              </a:spcAft>
              <a:buClrTx/>
              <a:buSzTx/>
              <a:buFontTx/>
              <a:buNone/>
              <a:tabLst/>
              <a:defRPr/>
            </a:pPr>
            <a:r>
              <a:rPr lang="en-GB" altLang="zh-CN" kern="0" dirty="0" smtClean="0">
                <a:solidFill>
                  <a:srgbClr val="000000"/>
                </a:solidFill>
                <a:latin typeface="+mj-lt"/>
                <a:ea typeface="宋体" panose="02010600030101010101" pitchFamily="2" charset="-122"/>
              </a:rPr>
              <a:t>China</a:t>
            </a:r>
            <a:endParaRPr kumimoji="0" lang="en-GB" altLang="zh-CN" b="0" i="0" u="none" strike="noStrike" kern="0" cap="none" spc="0" normalizeH="0" baseline="0" noProof="0" dirty="0" smtClean="0">
              <a:ln>
                <a:noFill/>
              </a:ln>
              <a:solidFill>
                <a:srgbClr val="000000"/>
              </a:solidFill>
              <a:effectLst/>
              <a:uLnTx/>
              <a:uFillTx/>
              <a:latin typeface="+mj-lt"/>
              <a:ea typeface="宋体" panose="02010600030101010101" pitchFamily="2" charset="-122"/>
            </a:endParaRPr>
          </a:p>
        </p:txBody>
      </p:sp>
      <p:grpSp>
        <p:nvGrpSpPr>
          <p:cNvPr id="127" name="Group 126"/>
          <p:cNvGrpSpPr/>
          <p:nvPr>
            <p:custDataLst>
              <p:tags r:id="rId6"/>
            </p:custDataLst>
          </p:nvPr>
        </p:nvGrpSpPr>
        <p:grpSpPr>
          <a:xfrm>
            <a:off x="5283980" y="704088"/>
            <a:ext cx="4236835" cy="138499"/>
            <a:chOff x="5283980" y="704088"/>
            <a:chExt cx="4236835" cy="138499"/>
          </a:xfrm>
        </p:grpSpPr>
        <p:sp>
          <p:nvSpPr>
            <p:cNvPr id="128" name="745">
              <a:hlinkClick r:id="rId13" action="ppaction://hlinksldjump"/>
            </p:cNvPr>
            <p:cNvSpPr txBox="1"/>
            <p:nvPr>
              <p:custDataLst>
                <p:tags r:id="rId7"/>
              </p:custDataLst>
            </p:nvPr>
          </p:nvSpPr>
          <p:spPr>
            <a:xfrm>
              <a:off x="7868824" y="704088"/>
              <a:ext cx="1651991" cy="138499"/>
            </a:xfrm>
            <a:prstGeom prst="rect">
              <a:avLst/>
            </a:prstGeom>
            <a:noFill/>
            <a:ln>
              <a:noFill/>
            </a:ln>
          </p:spPr>
          <p:txBody>
            <a:bodyPr wrap="none" lIns="27432" tIns="0" rIns="27432" bIns="0" rtlCol="0">
              <a:spAutoFit/>
            </a:bodyPr>
            <a:lstStyle/>
            <a:p>
              <a:r>
                <a:rPr lang="en-US" sz="900" noProof="1" smtClean="0">
                  <a:solidFill>
                    <a:schemeClr val="tx2"/>
                  </a:solidFill>
                  <a:cs typeface="Arial" pitchFamily="34" charset="0"/>
                </a:rPr>
                <a:t>Part II  Indirect Equity Transfer </a:t>
              </a:r>
              <a:endParaRPr lang="en-GB" sz="900" noProof="1" smtClean="0">
                <a:solidFill>
                  <a:schemeClr val="tx2"/>
                </a:solidFill>
                <a:cs typeface="Arial" pitchFamily="34" charset="0"/>
              </a:endParaRPr>
            </a:p>
          </p:txBody>
        </p:sp>
        <p:cxnSp>
          <p:nvCxnSpPr>
            <p:cNvPr id="129" name="Divider1"/>
            <p:cNvCxnSpPr/>
            <p:nvPr>
              <p:custDataLst>
                <p:tags r:id="rId8"/>
              </p:custDataLst>
            </p:nvPr>
          </p:nvCxnSpPr>
          <p:spPr>
            <a:xfrm>
              <a:off x="7843424"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30" name="638">
              <a:hlinkClick r:id="rId14" action="ppaction://hlinksldjump"/>
            </p:cNvPr>
            <p:cNvSpPr txBox="1"/>
            <p:nvPr>
              <p:custDataLst>
                <p:tags r:id="rId9"/>
              </p:custDataLst>
            </p:nvPr>
          </p:nvSpPr>
          <p:spPr>
            <a:xfrm>
              <a:off x="5787725" y="704088"/>
              <a:ext cx="2030299" cy="138499"/>
            </a:xfrm>
            <a:prstGeom prst="rect">
              <a:avLst/>
            </a:prstGeom>
            <a:noFill/>
            <a:ln>
              <a:noFill/>
            </a:ln>
          </p:spPr>
          <p:txBody>
            <a:bodyPr wrap="none" lIns="27432" tIns="0" rIns="27432" bIns="0" rtlCol="0">
              <a:spAutoFit/>
            </a:bodyPr>
            <a:lstStyle/>
            <a:p>
              <a:r>
                <a:rPr lang="en-US" sz="900" noProof="1" smtClean="0">
                  <a:solidFill>
                    <a:schemeClr val="tx1"/>
                  </a:solidFill>
                  <a:latin typeface="+mn-lt"/>
                  <a:cs typeface="Arial" pitchFamily="34" charset="0"/>
                </a:rPr>
                <a:t>Part I  Brief Introduction to PRC GAAR</a:t>
              </a:r>
              <a:endParaRPr lang="en-GB" sz="900" noProof="1" smtClean="0">
                <a:solidFill>
                  <a:schemeClr val="tx1"/>
                </a:solidFill>
                <a:latin typeface="+mn-lt"/>
                <a:cs typeface="Arial" pitchFamily="34" charset="0"/>
              </a:endParaRPr>
            </a:p>
          </p:txBody>
        </p:sp>
        <p:cxnSp>
          <p:nvCxnSpPr>
            <p:cNvPr id="131" name="Divider2"/>
            <p:cNvCxnSpPr/>
            <p:nvPr>
              <p:custDataLst>
                <p:tags r:id="rId10"/>
              </p:custDataLst>
            </p:nvPr>
          </p:nvCxnSpPr>
          <p:spPr>
            <a:xfrm>
              <a:off x="5762325"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32" name="735">
              <a:hlinkClick r:id="rId15" action="ppaction://hlinksldjump"/>
            </p:cNvPr>
            <p:cNvSpPr txBox="1"/>
            <p:nvPr>
              <p:custDataLst>
                <p:tags r:id="rId11"/>
              </p:custDataLst>
            </p:nvPr>
          </p:nvSpPr>
          <p:spPr>
            <a:xfrm>
              <a:off x="5283980" y="704088"/>
              <a:ext cx="452945" cy="138499"/>
            </a:xfrm>
            <a:prstGeom prst="rect">
              <a:avLst/>
            </a:prstGeom>
            <a:noFill/>
            <a:ln>
              <a:noFill/>
            </a:ln>
          </p:spPr>
          <p:txBody>
            <a:bodyPr wrap="none" lIns="27432" tIns="0" rIns="27432" bIns="0" rtlCol="0">
              <a:spAutoFit/>
            </a:bodyPr>
            <a:lstStyle/>
            <a:p>
              <a:r>
                <a:rPr lang="en-GB" sz="900" noProof="1" smtClean="0">
                  <a:solidFill>
                    <a:schemeClr val="tx1"/>
                  </a:solidFill>
                  <a:latin typeface="+mn-lt"/>
                  <a:cs typeface="Arial" pitchFamily="34" charset="0"/>
                </a:rPr>
                <a:t>Agenda</a:t>
              </a:r>
              <a:endParaRPr lang="en-GB" sz="900" noProof="1" smtClean="0">
                <a:solidFill>
                  <a:schemeClr val="tx1"/>
                </a:solidFill>
                <a:latin typeface="+mn-lt"/>
                <a:cs typeface="Arial" pitchFamily="34" charset="0"/>
              </a:endParaRPr>
            </a:p>
          </p:txBody>
        </p:sp>
      </p:grpSp>
    </p:spTree>
    <p:custDataLst>
      <p:tags r:id="rId1"/>
    </p:custDataLst>
    <p:extLst>
      <p:ext uri="{BB962C8B-B14F-4D97-AF65-F5344CB8AC3E}">
        <p14:creationId xmlns:p14="http://schemas.microsoft.com/office/powerpoint/2010/main" val="255991351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en-GB"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sp>
        <p:nvSpPr>
          <p:cNvPr id="3" name="Title 2"/>
          <p:cNvSpPr>
            <a:spLocks noGrp="1"/>
          </p:cNvSpPr>
          <p:nvPr>
            <p:ph type="title"/>
          </p:nvPr>
        </p:nvSpPr>
        <p:spPr/>
        <p:txBody>
          <a:bodyPr/>
          <a:lstStyle/>
          <a:p>
            <a:r>
              <a:rPr lang="en-GB" altLang="zh-CN" dirty="0" smtClean="0"/>
              <a:t>Safe Harbour Rule (</a:t>
            </a:r>
            <a:r>
              <a:rPr lang="en-GB" altLang="zh-CN" dirty="0"/>
              <a:t>Cont’d</a:t>
            </a:r>
            <a:r>
              <a:rPr lang="en-GB" altLang="zh-CN" dirty="0" smtClean="0"/>
              <a:t>)</a:t>
            </a:r>
            <a:endParaRPr lang="en-GB" b="0" i="0" dirty="0">
              <a:latin typeface="宋体" panose="02010600030101010101" pitchFamily="2" charset="-122"/>
              <a:ea typeface="宋体" panose="02010600030101010101" pitchFamily="2" charset="-122"/>
            </a:endParaRPr>
          </a:p>
        </p:txBody>
      </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en-GB" sz="1100" noProof="1" smtClean="0">
                <a:latin typeface="+mj-lt"/>
              </a:rPr>
              <a:t>15</a:t>
            </a:r>
            <a:endParaRPr lang="en-GB" sz="1100" noProof="1" smtClean="0">
              <a:latin typeface="+mj-lt"/>
            </a:endParaRP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en-GB" altLang="zh-CN" sz="1100" noProof="1" smtClean="0">
                <a:solidFill>
                  <a:schemeClr val="tx1"/>
                </a:solidFill>
                <a:latin typeface="+mj-lt"/>
                <a:ea typeface="宋体" panose="02010600030101010101" pitchFamily="2" charset="-122"/>
              </a:rPr>
              <a:t>Overview of PRC GAAR</a:t>
            </a:r>
            <a:endParaRPr lang="en-GB" sz="1100" noProof="1" smtClean="0">
              <a:solidFill>
                <a:schemeClr val="tx1"/>
              </a:solidFill>
              <a:latin typeface="+mj-lt"/>
              <a:ea typeface="宋体" panose="02010600030101010101" pitchFamily="2" charset="-122"/>
            </a:endParaRP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en-GB" altLang="zh-CN" sz="900" noProof="1" smtClean="0">
                <a:solidFill>
                  <a:schemeClr val="tx1"/>
                </a:solidFill>
              </a:rPr>
              <a:t>-1 Part II  Indirect Equity Transfer </a:t>
            </a:r>
            <a:endParaRPr lang="en-GB" sz="900" noProof="1" smtClean="0">
              <a:solidFill>
                <a:schemeClr val="tx1"/>
              </a:solidFill>
            </a:endParaRPr>
          </a:p>
        </p:txBody>
      </p:sp>
      <p:grpSp>
        <p:nvGrpSpPr>
          <p:cNvPr id="63" name="Group 62"/>
          <p:cNvGrpSpPr/>
          <p:nvPr/>
        </p:nvGrpSpPr>
        <p:grpSpPr>
          <a:xfrm>
            <a:off x="533400" y="2153369"/>
            <a:ext cx="8985504" cy="3759625"/>
            <a:chOff x="342116" y="1658215"/>
            <a:chExt cx="7472595" cy="4260908"/>
          </a:xfrm>
        </p:grpSpPr>
        <p:sp>
          <p:nvSpPr>
            <p:cNvPr id="64" name="Rectangle 63"/>
            <p:cNvSpPr/>
            <p:nvPr/>
          </p:nvSpPr>
          <p:spPr bwMode="ltGray">
            <a:xfrm>
              <a:off x="342116" y="1658215"/>
              <a:ext cx="7472595" cy="4260908"/>
            </a:xfrm>
            <a:prstGeom prst="rect">
              <a:avLst/>
            </a:prstGeom>
            <a:solidFill>
              <a:srgbClr val="FFB600">
                <a:lumMod val="20000"/>
                <a:lumOff val="80000"/>
              </a:srgbClr>
            </a:solidFill>
            <a:ln w="3175" cap="flat" cmpd="sng" algn="ctr">
              <a:noFill/>
              <a:prstDash val="solid"/>
            </a:ln>
            <a:effectLst/>
          </p:spPr>
          <p:txBody>
            <a:bodyPr rtlCol="0" anchor="ctr"/>
            <a:lstStyle/>
            <a:p>
              <a:pPr marL="0" marR="0" lvl="0" indent="0" algn="ctr" defTabSz="913972" eaLnBrk="1" fontAlgn="auto" latinLnBrk="0" hangingPunct="1">
                <a:lnSpc>
                  <a:spcPct val="100000"/>
                </a:lnSpc>
                <a:spcBef>
                  <a:spcPts val="0"/>
                </a:spcBef>
                <a:spcAft>
                  <a:spcPts val="0"/>
                </a:spcAft>
                <a:buClrTx/>
                <a:buSzTx/>
                <a:buFontTx/>
                <a:buNone/>
                <a:tabLst/>
                <a:defRPr/>
              </a:pPr>
              <a:endParaRPr kumimoji="0" lang="en-GB" altLang="zh-CN" sz="1600" b="0" i="0" u="none" strike="noStrike" kern="0" cap="none" spc="0" normalizeH="0" baseline="0" noProof="0" dirty="0" err="1" smtClean="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65" name="Rectangle 64"/>
            <p:cNvSpPr/>
            <p:nvPr/>
          </p:nvSpPr>
          <p:spPr>
            <a:xfrm>
              <a:off x="882548" y="1848768"/>
              <a:ext cx="6771103" cy="662745"/>
            </a:xfrm>
            <a:prstGeom prst="rect">
              <a:avLst/>
            </a:prstGeom>
          </p:spPr>
          <p:txBody>
            <a:bodyPr wrap="square">
              <a:spAutoFit/>
            </a:bodyPr>
            <a:lstStyle/>
            <a:p>
              <a:pPr marL="0" marR="0" lvl="0" indent="0" defTabSz="913972" eaLnBrk="1" fontAlgn="auto" latinLnBrk="0" hangingPunct="1">
                <a:lnSpc>
                  <a:spcPct val="100000"/>
                </a:lnSpc>
                <a:spcBef>
                  <a:spcPts val="0"/>
                </a:spcBef>
                <a:spcAft>
                  <a:spcPts val="0"/>
                </a:spcAft>
                <a:buClrTx/>
                <a:buSzTx/>
                <a:buFontTx/>
                <a:buNone/>
                <a:tabLst/>
                <a:defRPr/>
              </a:pPr>
              <a:r>
                <a:rPr kumimoji="0" lang="en-GB" altLang="zh-CN" sz="1600" b="0" i="0" u="none" strike="noStrike" kern="0" cap="none" spc="0" normalizeH="0" baseline="0" noProof="0" dirty="0" smtClean="0">
                  <a:ln>
                    <a:noFill/>
                  </a:ln>
                  <a:solidFill>
                    <a:srgbClr val="000000"/>
                  </a:solidFill>
                  <a:effectLst/>
                  <a:uLnTx/>
                  <a:uFillTx/>
                  <a:latin typeface="+mj-lt"/>
                  <a:ea typeface="宋体" panose="02010600030101010101" pitchFamily="2" charset="-122"/>
                </a:rPr>
                <a:t>Where</a:t>
              </a:r>
              <a:r>
                <a:rPr kumimoji="0" lang="en-GB" altLang="zh-CN" sz="1600" b="0" i="0" u="none" strike="noStrike" kern="0" cap="none" spc="0" normalizeH="0" noProof="0" dirty="0" smtClean="0">
                  <a:ln>
                    <a:noFill/>
                  </a:ln>
                  <a:solidFill>
                    <a:srgbClr val="000000"/>
                  </a:solidFill>
                  <a:effectLst/>
                  <a:uLnTx/>
                  <a:uFillTx/>
                  <a:latin typeface="+mj-lt"/>
                  <a:ea typeface="宋体" panose="02010600030101010101" pitchFamily="2" charset="-122"/>
                </a:rPr>
                <a:t> the following are ALL met for an indirect equity transfer, it shall be considered to be </a:t>
              </a:r>
              <a:r>
                <a:rPr lang="en-GB" altLang="zh-CN" sz="1600" kern="0" dirty="0" smtClean="0">
                  <a:solidFill>
                    <a:srgbClr val="000000"/>
                  </a:solidFill>
                  <a:latin typeface="+mj-lt"/>
                  <a:ea typeface="宋体" panose="02010600030101010101" pitchFamily="2" charset="-122"/>
                </a:rPr>
                <a:t>with</a:t>
              </a:r>
              <a:r>
                <a:rPr kumimoji="0" lang="en-GB" altLang="zh-CN" sz="1600" b="0" i="0" u="none" strike="noStrike" kern="0" cap="none" spc="0" normalizeH="0" noProof="0" dirty="0" smtClean="0">
                  <a:ln>
                    <a:noFill/>
                  </a:ln>
                  <a:solidFill>
                    <a:srgbClr val="000000"/>
                  </a:solidFill>
                  <a:effectLst/>
                  <a:uLnTx/>
                  <a:uFillTx/>
                  <a:latin typeface="+mj-lt"/>
                  <a:ea typeface="宋体" panose="02010600030101010101" pitchFamily="2" charset="-122"/>
                </a:rPr>
                <a:t> reasonable</a:t>
              </a:r>
              <a:r>
                <a:rPr lang="en-GB" altLang="zh-CN" sz="1600" kern="0" dirty="0" smtClean="0">
                  <a:solidFill>
                    <a:srgbClr val="000000"/>
                  </a:solidFill>
                  <a:latin typeface="+mj-lt"/>
                  <a:ea typeface="宋体" panose="02010600030101010101" pitchFamily="2" charset="-122"/>
                </a:rPr>
                <a:t> business purpose:</a:t>
              </a:r>
              <a:endParaRPr kumimoji="0" lang="en-GB" altLang="zh-CN" sz="1600" b="0" i="0" u="none" strike="noStrike" kern="0" cap="none" spc="0" normalizeH="0" baseline="0" noProof="0" dirty="0" smtClean="0">
                <a:ln>
                  <a:noFill/>
                </a:ln>
                <a:solidFill>
                  <a:srgbClr val="000000"/>
                </a:solidFill>
                <a:effectLst/>
                <a:uLnTx/>
                <a:uFillTx/>
                <a:latin typeface="+mj-lt"/>
                <a:ea typeface="宋体" panose="02010600030101010101" pitchFamily="2" charset="-122"/>
              </a:endParaRPr>
            </a:p>
          </p:txBody>
        </p:sp>
        <p:grpSp>
          <p:nvGrpSpPr>
            <p:cNvPr id="66" name="Group 65"/>
            <p:cNvGrpSpPr/>
            <p:nvPr/>
          </p:nvGrpSpPr>
          <p:grpSpPr>
            <a:xfrm>
              <a:off x="431235" y="1873746"/>
              <a:ext cx="451274" cy="427521"/>
              <a:chOff x="339974" y="1737479"/>
              <a:chExt cx="451274" cy="427521"/>
            </a:xfrm>
          </p:grpSpPr>
          <p:sp>
            <p:nvSpPr>
              <p:cNvPr id="67" name="Rectangle 66"/>
              <p:cNvSpPr/>
              <p:nvPr/>
            </p:nvSpPr>
            <p:spPr bwMode="ltGray">
              <a:xfrm>
                <a:off x="339974" y="1754408"/>
                <a:ext cx="260928" cy="299884"/>
              </a:xfrm>
              <a:prstGeom prst="rect">
                <a:avLst/>
              </a:prstGeom>
              <a:solidFill>
                <a:srgbClr val="602320"/>
              </a:solidFill>
              <a:ln w="3175" cap="flat" cmpd="sng" algn="ctr">
                <a:noFill/>
                <a:prstDash val="solid"/>
              </a:ln>
              <a:effectLst/>
            </p:spPr>
            <p:txBody>
              <a:bodyPr rtlCol="0" anchor="ctr"/>
              <a:lstStyle/>
              <a:p>
                <a:pPr marL="0" marR="0" lvl="0" indent="0" algn="ctr" defTabSz="913972" eaLnBrk="1" fontAlgn="auto" latinLnBrk="0" hangingPunct="1">
                  <a:lnSpc>
                    <a:spcPct val="100000"/>
                  </a:lnSpc>
                  <a:spcBef>
                    <a:spcPts val="0"/>
                  </a:spcBef>
                  <a:spcAft>
                    <a:spcPts val="0"/>
                  </a:spcAft>
                  <a:buClrTx/>
                  <a:buSzTx/>
                  <a:buFontTx/>
                  <a:buNone/>
                  <a:tabLst/>
                  <a:defRPr/>
                </a:pPr>
                <a:endParaRPr kumimoji="0" lang="en-GB" altLang="zh-CN" sz="1600" b="0" i="0" u="none" strike="noStrike" kern="0" cap="none" spc="0" normalizeH="0" baseline="0" noProof="0" dirty="0" err="1" smtClean="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68" name="TextBox 67"/>
              <p:cNvSpPr txBox="1"/>
              <p:nvPr/>
            </p:nvSpPr>
            <p:spPr>
              <a:xfrm>
                <a:off x="411955" y="1737479"/>
                <a:ext cx="379293" cy="427521"/>
              </a:xfrm>
              <a:prstGeom prst="rect">
                <a:avLst/>
              </a:prstGeom>
              <a:noFill/>
            </p:spPr>
            <p:txBody>
              <a:bodyPr vert="horz" wrap="square" lIns="0" tIns="0" rIns="0" bIns="0" rtlCol="0">
                <a:noAutofit/>
              </a:bodyPr>
              <a:lstStyle/>
              <a:p>
                <a:pPr marL="0" marR="0" lvl="0" indent="0" defTabSz="913972" eaLnBrk="1" fontAlgn="auto" latinLnBrk="0" hangingPunct="1">
                  <a:lnSpc>
                    <a:spcPct val="100000"/>
                  </a:lnSpc>
                  <a:spcBef>
                    <a:spcPts val="0"/>
                  </a:spcBef>
                  <a:spcAft>
                    <a:spcPts val="808"/>
                  </a:spcAft>
                  <a:buClrTx/>
                  <a:buSzTx/>
                  <a:buFontTx/>
                  <a:buNone/>
                  <a:tabLst/>
                  <a:defRPr/>
                </a:pPr>
                <a:r>
                  <a:rPr kumimoji="0" lang="en-GB" altLang="zh-CN" sz="1600" b="1" i="0" u="none" strike="noStrike" kern="0" cap="none" spc="0" normalizeH="0" baseline="0" noProof="0" dirty="0" smtClean="0">
                    <a:ln>
                      <a:noFill/>
                    </a:ln>
                    <a:solidFill>
                      <a:srgbClr val="FFFFFF"/>
                    </a:solidFill>
                    <a:effectLst/>
                    <a:uLnTx/>
                    <a:uFillTx/>
                    <a:latin typeface="宋体" panose="02010600030101010101" pitchFamily="2" charset="-122"/>
                    <a:ea typeface="宋体" panose="02010600030101010101" pitchFamily="2" charset="-122"/>
                  </a:rPr>
                  <a:t>3</a:t>
                </a:r>
              </a:p>
            </p:txBody>
          </p:sp>
        </p:grpSp>
      </p:grpSp>
      <p:sp>
        <p:nvSpPr>
          <p:cNvPr id="69" name="Rectangle 68"/>
          <p:cNvSpPr/>
          <p:nvPr/>
        </p:nvSpPr>
        <p:spPr>
          <a:xfrm>
            <a:off x="1183200" y="2919921"/>
            <a:ext cx="7806439" cy="1816639"/>
          </a:xfrm>
          <a:prstGeom prst="rect">
            <a:avLst/>
          </a:prstGeom>
        </p:spPr>
        <p:txBody>
          <a:bodyPr wrap="square" lIns="82030" tIns="41015" rIns="82030" bIns="41015">
            <a:spAutoFit/>
          </a:bodyPr>
          <a:lstStyle/>
          <a:p>
            <a:pPr marL="307610" indent="-307610" defTabSz="913972" hangingPunct="0">
              <a:spcBef>
                <a:spcPts val="538"/>
              </a:spcBef>
              <a:spcAft>
                <a:spcPts val="538"/>
              </a:spcAft>
              <a:buFont typeface="+mj-lt"/>
              <a:buAutoNum type="arabicParenR"/>
            </a:pPr>
            <a:r>
              <a:rPr lang="en-GB" altLang="zh-CN" sz="1600" dirty="0" smtClean="0">
                <a:solidFill>
                  <a:srgbClr val="000000"/>
                </a:solidFill>
                <a:latin typeface="+mj-lt"/>
                <a:ea typeface="宋体" panose="02010600030101010101" pitchFamily="2" charset="-122"/>
              </a:rPr>
              <a:t>Over 80% </a:t>
            </a:r>
            <a:r>
              <a:rPr lang="en-GB" altLang="zh-CN" sz="1600" dirty="0" smtClean="0">
                <a:solidFill>
                  <a:srgbClr val="000000"/>
                </a:solidFill>
                <a:latin typeface="+mj-lt"/>
                <a:ea typeface="宋体" panose="02010600030101010101" pitchFamily="2" charset="-122"/>
              </a:rPr>
              <a:t>(or 100% </a:t>
            </a:r>
            <a:r>
              <a:rPr lang="en-GB" altLang="zh-CN" sz="1600" dirty="0" smtClean="0">
                <a:latin typeface="+mj-lt"/>
                <a:ea typeface="宋体" panose="02010600030101010101" pitchFamily="2" charset="-122"/>
              </a:rPr>
              <a:t>if </a:t>
            </a:r>
            <a:r>
              <a:rPr lang="en-GB" altLang="zh-CN" sz="1600" dirty="0">
                <a:latin typeface="+mj-lt"/>
                <a:ea typeface="宋体" panose="02010600030101010101" pitchFamily="2" charset="-122"/>
              </a:rPr>
              <a:t>over 50% of the value of the foreign company attributable to immovable properties in China</a:t>
            </a:r>
            <a:r>
              <a:rPr lang="en-GB" altLang="zh-CN" sz="1600" dirty="0" smtClean="0">
                <a:latin typeface="+mj-lt"/>
                <a:ea typeface="宋体" panose="02010600030101010101" pitchFamily="2" charset="-122"/>
              </a:rPr>
              <a:t>) direct or indirect ownership or common ownership</a:t>
            </a:r>
            <a:endParaRPr lang="zh-CN" altLang="en-GB" sz="1600" dirty="0">
              <a:latin typeface="+mj-lt"/>
              <a:ea typeface="宋体" panose="02010600030101010101" pitchFamily="2" charset="-122"/>
            </a:endParaRPr>
          </a:p>
          <a:p>
            <a:pPr marL="307610" indent="-307610" defTabSz="913972" hangingPunct="0">
              <a:spcBef>
                <a:spcPts val="538"/>
              </a:spcBef>
              <a:spcAft>
                <a:spcPts val="538"/>
              </a:spcAft>
              <a:buFont typeface="+mj-lt"/>
              <a:buAutoNum type="arabicParenR"/>
            </a:pPr>
            <a:r>
              <a:rPr lang="en-GB" altLang="zh-CN" sz="1600" dirty="0" smtClean="0">
                <a:solidFill>
                  <a:srgbClr val="000000"/>
                </a:solidFill>
                <a:latin typeface="+mj-lt"/>
                <a:ea typeface="宋体" panose="02010600030101010101" pitchFamily="2" charset="-122"/>
              </a:rPr>
              <a:t>100</a:t>
            </a:r>
            <a:r>
              <a:rPr lang="en-GB" altLang="zh-CN" sz="1600" dirty="0" smtClean="0">
                <a:solidFill>
                  <a:srgbClr val="000000"/>
                </a:solidFill>
                <a:latin typeface="+mj-lt"/>
                <a:ea typeface="宋体" panose="02010600030101010101" pitchFamily="2" charset="-122"/>
              </a:rPr>
              <a:t>% equity payment</a:t>
            </a:r>
            <a:r>
              <a:rPr lang="zh-CN" altLang="en-GB" sz="1600" dirty="0" smtClean="0">
                <a:solidFill>
                  <a:srgbClr val="000000"/>
                </a:solidFill>
                <a:latin typeface="+mj-lt"/>
                <a:ea typeface="宋体" panose="02010600030101010101" pitchFamily="2" charset="-122"/>
              </a:rPr>
              <a:t>（</a:t>
            </a:r>
            <a:r>
              <a:rPr lang="en-GB" altLang="zh-CN" sz="1600" dirty="0" smtClean="0">
                <a:solidFill>
                  <a:srgbClr val="FF0000"/>
                </a:solidFill>
                <a:latin typeface="+mj-lt"/>
                <a:ea typeface="宋体" panose="02010600030101010101" pitchFamily="2" charset="-122"/>
              </a:rPr>
              <a:t>not including shares of listed companies</a:t>
            </a:r>
            <a:r>
              <a:rPr lang="zh-CN" altLang="en-GB" sz="1600" dirty="0" smtClean="0">
                <a:solidFill>
                  <a:srgbClr val="000000"/>
                </a:solidFill>
                <a:latin typeface="+mj-lt"/>
                <a:ea typeface="宋体" panose="02010600030101010101" pitchFamily="2" charset="-122"/>
              </a:rPr>
              <a:t>）</a:t>
            </a:r>
            <a:endParaRPr lang="en-GB" altLang="zh-CN" sz="1600" dirty="0" smtClean="0">
              <a:solidFill>
                <a:srgbClr val="000000"/>
              </a:solidFill>
              <a:latin typeface="+mj-lt"/>
              <a:ea typeface="宋体" panose="02010600030101010101" pitchFamily="2" charset="-122"/>
            </a:endParaRPr>
          </a:p>
          <a:p>
            <a:pPr marL="307610" indent="-307610" defTabSz="913972" hangingPunct="0">
              <a:spcBef>
                <a:spcPts val="538"/>
              </a:spcBef>
              <a:spcAft>
                <a:spcPts val="538"/>
              </a:spcAft>
              <a:buFont typeface="+mj-lt"/>
              <a:buAutoNum type="arabicParenR"/>
            </a:pPr>
            <a:r>
              <a:rPr lang="en-GB" altLang="zh-CN" sz="1600" dirty="0" smtClean="0">
                <a:solidFill>
                  <a:srgbClr val="000000"/>
                </a:solidFill>
                <a:latin typeface="+mj-lt"/>
                <a:ea typeface="宋体" panose="02010600030101010101" pitchFamily="2" charset="-122"/>
              </a:rPr>
              <a:t>Current indirect equity transfer shall not result in China CIT reduction on the gain arising from subsequent indirect transfers. </a:t>
            </a:r>
          </a:p>
        </p:txBody>
      </p:sp>
      <p:grpSp>
        <p:nvGrpSpPr>
          <p:cNvPr id="88" name="Group 87"/>
          <p:cNvGrpSpPr/>
          <p:nvPr>
            <p:custDataLst>
              <p:tags r:id="rId6"/>
            </p:custDataLst>
          </p:nvPr>
        </p:nvGrpSpPr>
        <p:grpSpPr>
          <a:xfrm>
            <a:off x="5283980" y="704088"/>
            <a:ext cx="4236835" cy="138499"/>
            <a:chOff x="5283980" y="704088"/>
            <a:chExt cx="4236835" cy="138499"/>
          </a:xfrm>
        </p:grpSpPr>
        <p:sp>
          <p:nvSpPr>
            <p:cNvPr id="89" name="745">
              <a:hlinkClick r:id="rId13" action="ppaction://hlinksldjump"/>
            </p:cNvPr>
            <p:cNvSpPr txBox="1"/>
            <p:nvPr>
              <p:custDataLst>
                <p:tags r:id="rId7"/>
              </p:custDataLst>
            </p:nvPr>
          </p:nvSpPr>
          <p:spPr>
            <a:xfrm>
              <a:off x="7868824" y="704088"/>
              <a:ext cx="1651991" cy="138499"/>
            </a:xfrm>
            <a:prstGeom prst="rect">
              <a:avLst/>
            </a:prstGeom>
            <a:noFill/>
            <a:ln>
              <a:noFill/>
            </a:ln>
          </p:spPr>
          <p:txBody>
            <a:bodyPr wrap="none" lIns="27432" tIns="0" rIns="27432" bIns="0" rtlCol="0">
              <a:spAutoFit/>
            </a:bodyPr>
            <a:lstStyle/>
            <a:p>
              <a:r>
                <a:rPr lang="en-US" sz="900" noProof="1" smtClean="0">
                  <a:solidFill>
                    <a:schemeClr val="tx2"/>
                  </a:solidFill>
                  <a:cs typeface="Arial" pitchFamily="34" charset="0"/>
                </a:rPr>
                <a:t>Part II  Indirect Equity Transfer </a:t>
              </a:r>
              <a:endParaRPr lang="en-GB" sz="900" noProof="1" smtClean="0">
                <a:solidFill>
                  <a:schemeClr val="tx2"/>
                </a:solidFill>
                <a:cs typeface="Arial" pitchFamily="34" charset="0"/>
              </a:endParaRPr>
            </a:p>
          </p:txBody>
        </p:sp>
        <p:cxnSp>
          <p:nvCxnSpPr>
            <p:cNvPr id="90" name="Divider1"/>
            <p:cNvCxnSpPr/>
            <p:nvPr>
              <p:custDataLst>
                <p:tags r:id="rId8"/>
              </p:custDataLst>
            </p:nvPr>
          </p:nvCxnSpPr>
          <p:spPr>
            <a:xfrm>
              <a:off x="7843424"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91" name="638">
              <a:hlinkClick r:id="rId14" action="ppaction://hlinksldjump"/>
            </p:cNvPr>
            <p:cNvSpPr txBox="1"/>
            <p:nvPr>
              <p:custDataLst>
                <p:tags r:id="rId9"/>
              </p:custDataLst>
            </p:nvPr>
          </p:nvSpPr>
          <p:spPr>
            <a:xfrm>
              <a:off x="5787725" y="704088"/>
              <a:ext cx="2030299" cy="138499"/>
            </a:xfrm>
            <a:prstGeom prst="rect">
              <a:avLst/>
            </a:prstGeom>
            <a:noFill/>
            <a:ln>
              <a:noFill/>
            </a:ln>
          </p:spPr>
          <p:txBody>
            <a:bodyPr wrap="none" lIns="27432" tIns="0" rIns="27432" bIns="0" rtlCol="0">
              <a:spAutoFit/>
            </a:bodyPr>
            <a:lstStyle/>
            <a:p>
              <a:r>
                <a:rPr lang="en-US" sz="900" noProof="1" smtClean="0">
                  <a:solidFill>
                    <a:schemeClr val="tx1"/>
                  </a:solidFill>
                  <a:latin typeface="+mn-lt"/>
                  <a:cs typeface="Arial" pitchFamily="34" charset="0"/>
                </a:rPr>
                <a:t>Part I  Brief Introduction to PRC GAAR</a:t>
              </a:r>
              <a:endParaRPr lang="en-GB" sz="900" noProof="1" smtClean="0">
                <a:solidFill>
                  <a:schemeClr val="tx1"/>
                </a:solidFill>
                <a:latin typeface="+mn-lt"/>
                <a:cs typeface="Arial" pitchFamily="34" charset="0"/>
              </a:endParaRPr>
            </a:p>
          </p:txBody>
        </p:sp>
        <p:cxnSp>
          <p:nvCxnSpPr>
            <p:cNvPr id="92" name="Divider2"/>
            <p:cNvCxnSpPr/>
            <p:nvPr>
              <p:custDataLst>
                <p:tags r:id="rId10"/>
              </p:custDataLst>
            </p:nvPr>
          </p:nvCxnSpPr>
          <p:spPr>
            <a:xfrm>
              <a:off x="5762325"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93" name="735">
              <a:hlinkClick r:id="rId15" action="ppaction://hlinksldjump"/>
            </p:cNvPr>
            <p:cNvSpPr txBox="1"/>
            <p:nvPr>
              <p:custDataLst>
                <p:tags r:id="rId11"/>
              </p:custDataLst>
            </p:nvPr>
          </p:nvSpPr>
          <p:spPr>
            <a:xfrm>
              <a:off x="5283980" y="704088"/>
              <a:ext cx="452945" cy="138499"/>
            </a:xfrm>
            <a:prstGeom prst="rect">
              <a:avLst/>
            </a:prstGeom>
            <a:noFill/>
            <a:ln>
              <a:noFill/>
            </a:ln>
          </p:spPr>
          <p:txBody>
            <a:bodyPr wrap="none" lIns="27432" tIns="0" rIns="27432" bIns="0" rtlCol="0">
              <a:spAutoFit/>
            </a:bodyPr>
            <a:lstStyle/>
            <a:p>
              <a:r>
                <a:rPr lang="en-GB" sz="900" noProof="1" smtClean="0">
                  <a:solidFill>
                    <a:schemeClr val="tx1"/>
                  </a:solidFill>
                  <a:latin typeface="+mn-lt"/>
                  <a:cs typeface="Arial" pitchFamily="34" charset="0"/>
                </a:rPr>
                <a:t>Agenda</a:t>
              </a:r>
              <a:endParaRPr lang="en-GB" sz="900" noProof="1" smtClean="0">
                <a:solidFill>
                  <a:schemeClr val="tx1"/>
                </a:solidFill>
                <a:latin typeface="+mn-lt"/>
                <a:cs typeface="Arial" pitchFamily="34" charset="0"/>
              </a:endParaRPr>
            </a:p>
          </p:txBody>
        </p:sp>
      </p:grpSp>
    </p:spTree>
    <p:custDataLst>
      <p:tags r:id="rId1"/>
    </p:custDataLst>
    <p:extLst>
      <p:ext uri="{BB962C8B-B14F-4D97-AF65-F5344CB8AC3E}">
        <p14:creationId xmlns:p14="http://schemas.microsoft.com/office/powerpoint/2010/main" val="30353087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en-GB"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sp>
        <p:nvSpPr>
          <p:cNvPr id="3" name="Title 2"/>
          <p:cNvSpPr>
            <a:spLocks noGrp="1"/>
          </p:cNvSpPr>
          <p:nvPr>
            <p:ph type="title"/>
          </p:nvPr>
        </p:nvSpPr>
        <p:spPr/>
        <p:txBody>
          <a:bodyPr/>
          <a:lstStyle/>
          <a:p>
            <a:r>
              <a:rPr lang="en-GB" altLang="zh-CN" dirty="0" smtClean="0"/>
              <a:t>Safe Harbour </a:t>
            </a:r>
            <a:r>
              <a:rPr lang="en-GB" altLang="zh-CN" dirty="0"/>
              <a:t>Rule (Cont’d)</a:t>
            </a:r>
            <a:endParaRPr lang="en-GB" b="0" i="0" dirty="0">
              <a:latin typeface="宋体" panose="02010600030101010101" pitchFamily="2" charset="-122"/>
              <a:ea typeface="宋体" panose="02010600030101010101" pitchFamily="2" charset="-122"/>
            </a:endParaRPr>
          </a:p>
        </p:txBody>
      </p:sp>
      <p:sp>
        <p:nvSpPr>
          <p:cNvPr id="55" name="Page Number"/>
          <p:cNvSpPr txBox="1"/>
          <p:nvPr>
            <p:custDataLst>
              <p:tags r:id="rId3"/>
            </p:custDataLst>
          </p:nvPr>
        </p:nvSpPr>
        <p:spPr>
          <a:xfrm>
            <a:off x="9217152" y="7317640"/>
            <a:ext cx="320040" cy="153007"/>
          </a:xfrm>
          <a:prstGeom prst="rect">
            <a:avLst/>
          </a:prstGeom>
          <a:noFill/>
        </p:spPr>
        <p:txBody>
          <a:bodyPr wrap="none" lIns="0" tIns="0" rIns="0" bIns="0" rtlCol="0">
            <a:noAutofit/>
          </a:bodyPr>
          <a:lstStyle/>
          <a:p>
            <a:pPr algn="r">
              <a:lnSpc>
                <a:spcPts val="1000"/>
              </a:lnSpc>
            </a:pPr>
            <a:r>
              <a:rPr lang="en-GB" sz="1100" noProof="1" smtClean="0">
                <a:latin typeface="+mj-lt"/>
              </a:rPr>
              <a:t>16</a:t>
            </a:r>
            <a:endParaRPr lang="en-GB" sz="1100" noProof="1" smtClean="0">
              <a:latin typeface="+mj-lt"/>
            </a:endParaRP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en-GB" altLang="zh-CN" sz="1100" noProof="1" smtClean="0">
                <a:solidFill>
                  <a:schemeClr val="tx1"/>
                </a:solidFill>
                <a:latin typeface="+mj-lt"/>
                <a:ea typeface="宋体" panose="02010600030101010101" pitchFamily="2" charset="-122"/>
              </a:rPr>
              <a:t>Overview of PRC GAAR</a:t>
            </a:r>
            <a:endParaRPr lang="en-GB" sz="1100" noProof="1" smtClean="0">
              <a:solidFill>
                <a:schemeClr val="tx1"/>
              </a:solidFill>
              <a:latin typeface="+mj-lt"/>
              <a:ea typeface="宋体" panose="02010600030101010101" pitchFamily="2" charset="-122"/>
            </a:endParaRP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en-GB" altLang="zh-CN" sz="900" noProof="1" smtClean="0">
                <a:solidFill>
                  <a:schemeClr val="tx1"/>
                </a:solidFill>
              </a:rPr>
              <a:t>-1 Part II  Indirect Equity Transfer </a:t>
            </a:r>
            <a:endParaRPr lang="en-GB" sz="900" noProof="1" smtClean="0">
              <a:solidFill>
                <a:schemeClr val="tx1"/>
              </a:solidFill>
            </a:endParaRPr>
          </a:p>
        </p:txBody>
      </p:sp>
      <p:grpSp>
        <p:nvGrpSpPr>
          <p:cNvPr id="168" name="Group 167"/>
          <p:cNvGrpSpPr/>
          <p:nvPr/>
        </p:nvGrpSpPr>
        <p:grpSpPr>
          <a:xfrm>
            <a:off x="447062" y="2037495"/>
            <a:ext cx="9320336" cy="1783664"/>
            <a:chOff x="447062" y="2037495"/>
            <a:chExt cx="9320336" cy="1783664"/>
          </a:xfrm>
        </p:grpSpPr>
        <p:grpSp>
          <p:nvGrpSpPr>
            <p:cNvPr id="167" name="Group 166"/>
            <p:cNvGrpSpPr/>
            <p:nvPr/>
          </p:nvGrpSpPr>
          <p:grpSpPr>
            <a:xfrm>
              <a:off x="461390" y="2037495"/>
              <a:ext cx="9057513" cy="587916"/>
              <a:chOff x="461390" y="2037495"/>
              <a:chExt cx="9057513" cy="587916"/>
            </a:xfrm>
          </p:grpSpPr>
          <p:sp>
            <p:nvSpPr>
              <p:cNvPr id="63" name="Rectangle 62"/>
              <p:cNvSpPr/>
              <p:nvPr/>
            </p:nvSpPr>
            <p:spPr bwMode="ltGray">
              <a:xfrm>
                <a:off x="461390" y="2037495"/>
                <a:ext cx="9057513" cy="587916"/>
              </a:xfrm>
              <a:prstGeom prst="rect">
                <a:avLst/>
              </a:prstGeom>
              <a:solidFill>
                <a:srgbClr val="FFFFFF">
                  <a:lumMod val="95000"/>
                </a:srgbClr>
              </a:solidFill>
              <a:ln w="3175" cap="flat" cmpd="sng" algn="ctr">
                <a:noFill/>
                <a:prstDash val="solid"/>
              </a:ln>
              <a:effectLst/>
            </p:spPr>
            <p:txBody>
              <a:bodyPr lIns="91429" tIns="45714" rIns="91429" bIns="45714"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zh-CN" sz="1800" b="0" i="0" u="none" strike="noStrike" kern="0" cap="none" spc="0" normalizeH="0" baseline="0" noProof="0" dirty="0" err="1" smtClean="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64" name="Rectangle 63"/>
              <p:cNvSpPr/>
              <p:nvPr/>
            </p:nvSpPr>
            <p:spPr>
              <a:xfrm>
                <a:off x="965447" y="2125882"/>
                <a:ext cx="7992125" cy="369320"/>
              </a:xfrm>
              <a:prstGeom prst="rect">
                <a:avLst/>
              </a:prstGeom>
            </p:spPr>
            <p:txBody>
              <a:bodyPr wrap="square" lIns="91429" tIns="45714" rIns="91429" bIns="45714">
                <a:spAutoFit/>
              </a:bodyPr>
              <a:lstStyle/>
              <a:p>
                <a:pPr defTabSz="914400" hangingPunct="0">
                  <a:buClr>
                    <a:srgbClr val="602320"/>
                  </a:buClr>
                </a:pPr>
                <a:r>
                  <a:rPr lang="en-GB" altLang="zh-CN" sz="1800" dirty="0" smtClean="0">
                    <a:latin typeface="+mj-lt"/>
                  </a:rPr>
                  <a:t>Overseas indirect transfer that meets ALL of the following conditions:</a:t>
                </a:r>
                <a:endParaRPr lang="en-GB" altLang="zh-CN" sz="1800" dirty="0">
                  <a:solidFill>
                    <a:srgbClr val="000000"/>
                  </a:solidFill>
                  <a:latin typeface="+mj-lt"/>
                  <a:ea typeface="宋体" panose="02010600030101010101" pitchFamily="2" charset="-122"/>
                </a:endParaRPr>
              </a:p>
            </p:txBody>
          </p:sp>
          <p:grpSp>
            <p:nvGrpSpPr>
              <p:cNvPr id="65" name="Group 64"/>
              <p:cNvGrpSpPr/>
              <p:nvPr/>
            </p:nvGrpSpPr>
            <p:grpSpPr>
              <a:xfrm>
                <a:off x="586890" y="2181511"/>
                <a:ext cx="451301" cy="443900"/>
                <a:chOff x="664315" y="1760964"/>
                <a:chExt cx="451301" cy="443900"/>
              </a:xfrm>
            </p:grpSpPr>
            <p:sp>
              <p:nvSpPr>
                <p:cNvPr id="66" name="Rectangle 65"/>
                <p:cNvSpPr/>
                <p:nvPr/>
              </p:nvSpPr>
              <p:spPr bwMode="ltGray">
                <a:xfrm>
                  <a:off x="664315" y="1760964"/>
                  <a:ext cx="260928" cy="299884"/>
                </a:xfrm>
                <a:prstGeom prst="rect">
                  <a:avLst/>
                </a:prstGeom>
                <a:solidFill>
                  <a:srgbClr val="602320"/>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zh-CN" sz="1800" b="0" i="0" u="none" strike="noStrike" kern="0" cap="none" spc="0" normalizeH="0" baseline="0" noProof="0" dirty="0" err="1" smtClean="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67" name="TextBox 66"/>
                <p:cNvSpPr txBox="1"/>
                <p:nvPr/>
              </p:nvSpPr>
              <p:spPr>
                <a:xfrm>
                  <a:off x="736323" y="1777343"/>
                  <a:ext cx="379293" cy="427521"/>
                </a:xfrm>
                <a:prstGeom prst="rect">
                  <a:avLst/>
                </a:prstGeom>
                <a:noFill/>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900"/>
                    </a:spcAft>
                    <a:buClrTx/>
                    <a:buSzTx/>
                    <a:buFontTx/>
                    <a:buNone/>
                    <a:tabLst/>
                    <a:defRPr/>
                  </a:pPr>
                  <a:r>
                    <a:rPr kumimoji="0" lang="en-GB" altLang="zh-CN" sz="1800" b="1" i="0" u="none" strike="noStrike" kern="0" cap="none" spc="0" normalizeH="0" baseline="0" noProof="0" dirty="0" smtClean="0">
                      <a:ln>
                        <a:noFill/>
                      </a:ln>
                      <a:solidFill>
                        <a:srgbClr val="FFFFFF"/>
                      </a:solidFill>
                      <a:effectLst/>
                      <a:uLnTx/>
                      <a:uFillTx/>
                      <a:latin typeface="宋体" panose="02010600030101010101" pitchFamily="2" charset="-122"/>
                      <a:ea typeface="宋体" panose="02010600030101010101" pitchFamily="2" charset="-122"/>
                    </a:rPr>
                    <a:t>3</a:t>
                  </a:r>
                </a:p>
              </p:txBody>
            </p:sp>
          </p:grpSp>
        </p:grpSp>
        <p:sp>
          <p:nvSpPr>
            <p:cNvPr id="68" name="Rectangle 67"/>
            <p:cNvSpPr/>
            <p:nvPr/>
          </p:nvSpPr>
          <p:spPr>
            <a:xfrm>
              <a:off x="447062" y="2743953"/>
              <a:ext cx="9320336" cy="1077206"/>
            </a:xfrm>
            <a:prstGeom prst="rect">
              <a:avLst/>
            </a:prstGeom>
          </p:spPr>
          <p:txBody>
            <a:bodyPr wrap="square" lIns="91429" tIns="45714" rIns="91429" bIns="45714">
              <a:spAutoFit/>
            </a:bodyPr>
            <a:lstStyle/>
            <a:p>
              <a:pPr marL="342900" indent="-342900">
                <a:buFont typeface="+mj-lt"/>
                <a:buAutoNum type="arabicParenR"/>
              </a:pPr>
              <a:r>
                <a:rPr lang="en-GB" altLang="zh-CN" sz="1600" dirty="0">
                  <a:latin typeface="+mj-lt"/>
                </a:rPr>
                <a:t>S</a:t>
              </a:r>
              <a:r>
                <a:rPr lang="en-GB" altLang="zh-CN" sz="1600" dirty="0" smtClean="0">
                  <a:latin typeface="+mj-lt"/>
                </a:rPr>
                <a:t>hareholding relationship</a:t>
              </a:r>
            </a:p>
            <a:p>
              <a:pPr marL="342900" indent="-342900">
                <a:buFont typeface="+mj-lt"/>
                <a:buAutoNum type="arabicParenR"/>
              </a:pPr>
              <a:r>
                <a:rPr lang="en-GB" altLang="zh-CN" sz="1600" dirty="0">
                  <a:latin typeface="+mj-lt"/>
                </a:rPr>
                <a:t>E</a:t>
              </a:r>
              <a:r>
                <a:rPr lang="en-GB" altLang="zh-CN" sz="1600" dirty="0" smtClean="0">
                  <a:latin typeface="+mj-lt"/>
                </a:rPr>
                <a:t>quity payment</a:t>
              </a:r>
            </a:p>
            <a:p>
              <a:pPr marL="342900" indent="-342900">
                <a:buFont typeface="+mj-lt"/>
                <a:buAutoNum type="arabicParenR"/>
              </a:pPr>
              <a:r>
                <a:rPr lang="en-GB" altLang="zh-CN" sz="1600" dirty="0">
                  <a:latin typeface="+mj-lt"/>
                </a:rPr>
                <a:t>D</a:t>
              </a:r>
              <a:r>
                <a:rPr lang="en-GB" altLang="zh-CN" sz="1600" dirty="0" smtClean="0">
                  <a:latin typeface="+mj-lt"/>
                </a:rPr>
                <a:t>oes not result in Chin</a:t>
              </a:r>
              <a:r>
                <a:rPr lang="en-GB" altLang="zh-CN" sz="1600" spc="-100" dirty="0" smtClean="0">
                  <a:latin typeface="+mj-lt"/>
                </a:rPr>
                <a:t>a CIT</a:t>
              </a:r>
              <a:r>
                <a:rPr lang="en-GB" altLang="zh-CN" sz="1600" spc="-80" dirty="0" smtClean="0">
                  <a:latin typeface="+mj-lt"/>
                </a:rPr>
                <a:t> reduction on the gain arising from subsequent indirect transfers</a:t>
              </a:r>
            </a:p>
            <a:p>
              <a:pPr defTabSz="914400" hangingPunct="0"/>
              <a:endParaRPr lang="en-GB" altLang="zh-CN" sz="1600" dirty="0">
                <a:solidFill>
                  <a:srgbClr val="000000"/>
                </a:solidFill>
                <a:latin typeface="+mj-lt"/>
                <a:ea typeface="宋体" panose="02010600030101010101" pitchFamily="2" charset="-122"/>
              </a:endParaRPr>
            </a:p>
          </p:txBody>
        </p:sp>
      </p:grpSp>
      <p:sp>
        <p:nvSpPr>
          <p:cNvPr id="69" name="Flowchart: Process 68"/>
          <p:cNvSpPr/>
          <p:nvPr/>
        </p:nvSpPr>
        <p:spPr>
          <a:xfrm>
            <a:off x="616500" y="3736848"/>
            <a:ext cx="2642110" cy="3197352"/>
          </a:xfrm>
          <a:prstGeom prst="flowChartProcess">
            <a:avLst/>
          </a:prstGeom>
          <a:solidFill>
            <a:schemeClr val="accent3">
              <a:lumMod val="40000"/>
              <a:lumOff val="60000"/>
            </a:schemeClr>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tLang="zh-CN" dirty="0" smtClean="0">
              <a:latin typeface="宋体" panose="02010600030101010101" pitchFamily="2" charset="-122"/>
              <a:ea typeface="宋体" panose="02010600030101010101" pitchFamily="2" charset="-122"/>
            </a:endParaRPr>
          </a:p>
        </p:txBody>
      </p:sp>
      <p:sp>
        <p:nvSpPr>
          <p:cNvPr id="76" name="Flowchart: Process 75"/>
          <p:cNvSpPr/>
          <p:nvPr/>
        </p:nvSpPr>
        <p:spPr>
          <a:xfrm>
            <a:off x="3736414" y="3736848"/>
            <a:ext cx="2642110" cy="3197352"/>
          </a:xfrm>
          <a:prstGeom prst="flowChartProcess">
            <a:avLst/>
          </a:prstGeom>
          <a:solidFill>
            <a:schemeClr val="accent3">
              <a:lumMod val="40000"/>
              <a:lumOff val="60000"/>
            </a:schemeClr>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tLang="zh-CN" dirty="0" smtClean="0">
              <a:latin typeface="宋体" panose="02010600030101010101" pitchFamily="2" charset="-122"/>
              <a:ea typeface="宋体" panose="02010600030101010101" pitchFamily="2" charset="-122"/>
            </a:endParaRPr>
          </a:p>
        </p:txBody>
      </p:sp>
      <p:sp>
        <p:nvSpPr>
          <p:cNvPr id="77" name="Flowchart: Process 76"/>
          <p:cNvSpPr/>
          <p:nvPr/>
        </p:nvSpPr>
        <p:spPr>
          <a:xfrm>
            <a:off x="6885938" y="3708852"/>
            <a:ext cx="2642110" cy="3197352"/>
          </a:xfrm>
          <a:prstGeom prst="flowChartProcess">
            <a:avLst/>
          </a:prstGeom>
          <a:solidFill>
            <a:schemeClr val="accent3">
              <a:lumMod val="40000"/>
              <a:lumOff val="60000"/>
            </a:schemeClr>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tLang="zh-CN" dirty="0" smtClean="0">
              <a:latin typeface="宋体" panose="02010600030101010101" pitchFamily="2" charset="-122"/>
              <a:ea typeface="宋体" panose="02010600030101010101" pitchFamily="2" charset="-122"/>
            </a:endParaRPr>
          </a:p>
        </p:txBody>
      </p:sp>
      <p:sp>
        <p:nvSpPr>
          <p:cNvPr id="78" name="Flowchart: Process 77"/>
          <p:cNvSpPr/>
          <p:nvPr/>
        </p:nvSpPr>
        <p:spPr>
          <a:xfrm>
            <a:off x="1506303" y="4209229"/>
            <a:ext cx="904256" cy="325760"/>
          </a:xfrm>
          <a:prstGeom prst="flowChartProcess">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ltLang="zh-CN" dirty="0" smtClean="0">
                <a:latin typeface="宋体" panose="02010600030101010101" pitchFamily="2" charset="-122"/>
                <a:ea typeface="宋体" panose="02010600030101010101" pitchFamily="2" charset="-122"/>
              </a:rPr>
              <a:t>Transferor</a:t>
            </a:r>
          </a:p>
        </p:txBody>
      </p:sp>
      <p:sp>
        <p:nvSpPr>
          <p:cNvPr id="79" name="TextBox 78"/>
          <p:cNvSpPr txBox="1"/>
          <p:nvPr/>
        </p:nvSpPr>
        <p:spPr>
          <a:xfrm>
            <a:off x="3794289" y="3869224"/>
            <a:ext cx="856337" cy="169277"/>
          </a:xfrm>
          <a:prstGeom prst="rect">
            <a:avLst/>
          </a:prstGeom>
          <a:noFill/>
          <a:ln>
            <a:noFill/>
          </a:ln>
        </p:spPr>
        <p:txBody>
          <a:bodyPr wrap="square" lIns="0" tIns="0" rIns="0" bIns="0" rtlCol="0">
            <a:spAutoFit/>
          </a:bodyPr>
          <a:lstStyle/>
          <a:p>
            <a:pPr lvl="0">
              <a:spcAft>
                <a:spcPts val="900"/>
              </a:spcAft>
            </a:pPr>
            <a:r>
              <a:rPr lang="en-GB" altLang="zh-CN" dirty="0" smtClean="0">
                <a:solidFill>
                  <a:srgbClr val="000000"/>
                </a:solidFill>
                <a:latin typeface="Georgia"/>
                <a:ea typeface="黑体" panose="02010609060101010101" pitchFamily="49" charset="-122"/>
              </a:rPr>
              <a:t>Scenario 2</a:t>
            </a:r>
            <a:endParaRPr lang="en-GB" altLang="zh-CN" dirty="0">
              <a:solidFill>
                <a:srgbClr val="000000"/>
              </a:solidFill>
              <a:latin typeface="Georgia"/>
              <a:ea typeface="黑体" panose="02010609060101010101" pitchFamily="49" charset="-122"/>
            </a:endParaRPr>
          </a:p>
        </p:txBody>
      </p:sp>
      <p:sp>
        <p:nvSpPr>
          <p:cNvPr id="80" name="TextBox 79"/>
          <p:cNvSpPr txBox="1"/>
          <p:nvPr/>
        </p:nvSpPr>
        <p:spPr>
          <a:xfrm>
            <a:off x="6972746" y="3900378"/>
            <a:ext cx="829591" cy="169277"/>
          </a:xfrm>
          <a:prstGeom prst="rect">
            <a:avLst/>
          </a:prstGeom>
          <a:noFill/>
          <a:ln>
            <a:noFill/>
          </a:ln>
        </p:spPr>
        <p:txBody>
          <a:bodyPr wrap="square" lIns="0" tIns="0" rIns="0" bIns="0" rtlCol="0">
            <a:spAutoFit/>
          </a:bodyPr>
          <a:lstStyle/>
          <a:p>
            <a:pPr>
              <a:spcAft>
                <a:spcPts val="900"/>
              </a:spcAft>
            </a:pPr>
            <a:r>
              <a:rPr lang="en-GB" altLang="zh-CN" dirty="0" smtClean="0">
                <a:solidFill>
                  <a:srgbClr val="000000"/>
                </a:solidFill>
                <a:latin typeface="Georgia"/>
                <a:ea typeface="黑体" panose="02010609060101010101" pitchFamily="49" charset="-122"/>
              </a:rPr>
              <a:t>Scenario 3</a:t>
            </a:r>
            <a:endParaRPr lang="en-GB" altLang="zh-CN" dirty="0">
              <a:solidFill>
                <a:srgbClr val="000000"/>
              </a:solidFill>
              <a:latin typeface="Georgia"/>
              <a:ea typeface="黑体" panose="02010609060101010101" pitchFamily="49" charset="-122"/>
            </a:endParaRPr>
          </a:p>
        </p:txBody>
      </p:sp>
      <p:sp>
        <p:nvSpPr>
          <p:cNvPr id="81" name="Flowchart: Process 80"/>
          <p:cNvSpPr/>
          <p:nvPr/>
        </p:nvSpPr>
        <p:spPr>
          <a:xfrm>
            <a:off x="861697" y="4967121"/>
            <a:ext cx="917532" cy="448441"/>
          </a:xfrm>
          <a:prstGeom prst="flowChartProcess">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ltLang="zh-CN" sz="900" dirty="0" smtClean="0">
                <a:latin typeface="+mj-lt"/>
                <a:ea typeface="宋体" panose="02010600030101010101" pitchFamily="2" charset="-122"/>
              </a:rPr>
              <a:t>Intermediate Holding Company</a:t>
            </a:r>
            <a:endParaRPr lang="en-GB" altLang="zh-CN" dirty="0" smtClean="0">
              <a:latin typeface="+mj-lt"/>
              <a:ea typeface="宋体" panose="02010600030101010101" pitchFamily="2" charset="-122"/>
            </a:endParaRPr>
          </a:p>
        </p:txBody>
      </p:sp>
      <p:sp>
        <p:nvSpPr>
          <p:cNvPr id="82" name="Flowchart: Process 81"/>
          <p:cNvSpPr/>
          <p:nvPr/>
        </p:nvSpPr>
        <p:spPr>
          <a:xfrm>
            <a:off x="2133491" y="4960555"/>
            <a:ext cx="948916" cy="325760"/>
          </a:xfrm>
          <a:prstGeom prst="flowChartProcess">
            <a:avLst/>
          </a:prstGeom>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ltLang="zh-CN" dirty="0" smtClean="0">
                <a:latin typeface="宋体" panose="02010600030101010101" pitchFamily="2" charset="-122"/>
                <a:ea typeface="宋体" panose="02010600030101010101" pitchFamily="2" charset="-122"/>
              </a:rPr>
              <a:t>Transferee</a:t>
            </a:r>
          </a:p>
        </p:txBody>
      </p:sp>
      <p:sp>
        <p:nvSpPr>
          <p:cNvPr id="83" name="Flowchart: Process 82"/>
          <p:cNvSpPr/>
          <p:nvPr/>
        </p:nvSpPr>
        <p:spPr>
          <a:xfrm>
            <a:off x="861697" y="6439747"/>
            <a:ext cx="917532" cy="325760"/>
          </a:xfrm>
          <a:prstGeom prst="flowChartProcess">
            <a:avLst/>
          </a:prstGeom>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ltLang="zh-CN" sz="1000" dirty="0" smtClean="0">
                <a:latin typeface="+mj-lt"/>
                <a:ea typeface="宋体" panose="02010600030101010101" pitchFamily="2" charset="-122"/>
              </a:rPr>
              <a:t>China Company</a:t>
            </a:r>
            <a:endParaRPr lang="en-GB" altLang="zh-CN" dirty="0" smtClean="0">
              <a:latin typeface="+mj-lt"/>
              <a:ea typeface="宋体" panose="02010600030101010101" pitchFamily="2" charset="-122"/>
            </a:endParaRPr>
          </a:p>
        </p:txBody>
      </p:sp>
      <p:grpSp>
        <p:nvGrpSpPr>
          <p:cNvPr id="84" name="Group 83"/>
          <p:cNvGrpSpPr/>
          <p:nvPr/>
        </p:nvGrpSpPr>
        <p:grpSpPr>
          <a:xfrm>
            <a:off x="616500" y="6011361"/>
            <a:ext cx="2612500" cy="474079"/>
            <a:chOff x="616500" y="6011361"/>
            <a:chExt cx="2612500" cy="474079"/>
          </a:xfrm>
        </p:grpSpPr>
        <p:cxnSp>
          <p:nvCxnSpPr>
            <p:cNvPr id="85" name="Straight Connector 84"/>
            <p:cNvCxnSpPr/>
            <p:nvPr/>
          </p:nvCxnSpPr>
          <p:spPr>
            <a:xfrm>
              <a:off x="616500" y="6248400"/>
              <a:ext cx="2612500" cy="0"/>
            </a:xfrm>
            <a:prstGeom prst="line">
              <a:avLst/>
            </a:prstGeom>
            <a:ln w="19050">
              <a:solidFill>
                <a:srgbClr val="0070C0"/>
              </a:solidFill>
              <a:prstDash val="dash"/>
            </a:ln>
          </p:spPr>
          <p:style>
            <a:lnRef idx="1">
              <a:schemeClr val="accent1"/>
            </a:lnRef>
            <a:fillRef idx="0">
              <a:schemeClr val="accent1"/>
            </a:fillRef>
            <a:effectRef idx="0">
              <a:schemeClr val="accent1"/>
            </a:effectRef>
            <a:fontRef idx="minor">
              <a:schemeClr val="tx1"/>
            </a:fontRef>
          </p:style>
        </p:cxnSp>
        <p:sp>
          <p:nvSpPr>
            <p:cNvPr id="86" name="TextBox 85"/>
            <p:cNvSpPr txBox="1"/>
            <p:nvPr/>
          </p:nvSpPr>
          <p:spPr>
            <a:xfrm>
              <a:off x="2564950" y="6011361"/>
              <a:ext cx="664050" cy="169277"/>
            </a:xfrm>
            <a:prstGeom prst="rect">
              <a:avLst/>
            </a:prstGeom>
            <a:noFill/>
            <a:ln>
              <a:noFill/>
            </a:ln>
          </p:spPr>
          <p:txBody>
            <a:bodyPr wrap="square" lIns="0" tIns="0" rIns="0" bIns="0" rtlCol="0">
              <a:spAutoFit/>
            </a:bodyPr>
            <a:lstStyle/>
            <a:p>
              <a:r>
                <a:rPr lang="en-GB" altLang="zh-CN" noProof="0" dirty="0" smtClean="0">
                  <a:latin typeface="+mj-lt"/>
                  <a:ea typeface="宋体" panose="02010600030101010101" pitchFamily="2" charset="-122"/>
                  <a:cs typeface="Arial" pitchFamily="34" charset="0"/>
                </a:rPr>
                <a:t>Overseas</a:t>
              </a:r>
              <a:endParaRPr lang="en-GB" altLang="zh-CN" noProof="0" dirty="0" smtClean="0">
                <a:solidFill>
                  <a:schemeClr val="tx1"/>
                </a:solidFill>
                <a:latin typeface="+mj-lt"/>
                <a:ea typeface="宋体" panose="02010600030101010101" pitchFamily="2" charset="-122"/>
                <a:cs typeface="Arial" pitchFamily="34" charset="0"/>
              </a:endParaRPr>
            </a:p>
          </p:txBody>
        </p:sp>
        <p:sp>
          <p:nvSpPr>
            <p:cNvPr id="87" name="TextBox 86"/>
            <p:cNvSpPr txBox="1"/>
            <p:nvPr/>
          </p:nvSpPr>
          <p:spPr>
            <a:xfrm>
              <a:off x="2701166" y="6316163"/>
              <a:ext cx="527834" cy="169277"/>
            </a:xfrm>
            <a:prstGeom prst="rect">
              <a:avLst/>
            </a:prstGeom>
            <a:noFill/>
            <a:ln>
              <a:noFill/>
            </a:ln>
          </p:spPr>
          <p:txBody>
            <a:bodyPr wrap="square" lIns="0" tIns="0" rIns="0" bIns="0" rtlCol="0">
              <a:spAutoFit/>
            </a:bodyPr>
            <a:lstStyle/>
            <a:p>
              <a:r>
                <a:rPr lang="en-GB" altLang="zh-CN" dirty="0" smtClean="0">
                  <a:latin typeface="+mj-lt"/>
                  <a:ea typeface="宋体" panose="02010600030101010101" pitchFamily="2" charset="-122"/>
                  <a:cs typeface="Arial" pitchFamily="34" charset="0"/>
                </a:rPr>
                <a:t>China</a:t>
              </a:r>
              <a:endParaRPr lang="en-GB" altLang="zh-CN" noProof="0" dirty="0" smtClean="0">
                <a:solidFill>
                  <a:schemeClr val="tx1"/>
                </a:solidFill>
                <a:latin typeface="+mj-lt"/>
                <a:ea typeface="宋体" panose="02010600030101010101" pitchFamily="2" charset="-122"/>
                <a:cs typeface="Arial" pitchFamily="34" charset="0"/>
              </a:endParaRPr>
            </a:p>
          </p:txBody>
        </p:sp>
      </p:grpSp>
      <p:cxnSp>
        <p:nvCxnSpPr>
          <p:cNvPr id="89" name="Straight Connector 88"/>
          <p:cNvCxnSpPr/>
          <p:nvPr/>
        </p:nvCxnSpPr>
        <p:spPr>
          <a:xfrm>
            <a:off x="3782787" y="6249300"/>
            <a:ext cx="2612500" cy="0"/>
          </a:xfrm>
          <a:prstGeom prst="line">
            <a:avLst/>
          </a:prstGeom>
          <a:ln w="19050">
            <a:solidFill>
              <a:srgbClr val="0070C0"/>
            </a:solidFill>
            <a:prstDash val="dash"/>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a:off x="6900608" y="6242972"/>
            <a:ext cx="2612500" cy="0"/>
          </a:xfrm>
          <a:prstGeom prst="line">
            <a:avLst/>
          </a:prstGeom>
          <a:ln w="19050">
            <a:solidFill>
              <a:srgbClr val="0070C0"/>
            </a:solidFill>
            <a:prstDash val="dash"/>
          </a:ln>
        </p:spPr>
        <p:style>
          <a:lnRef idx="1">
            <a:schemeClr val="accent1"/>
          </a:lnRef>
          <a:fillRef idx="0">
            <a:schemeClr val="accent1"/>
          </a:fillRef>
          <a:effectRef idx="0">
            <a:schemeClr val="accent1"/>
          </a:effectRef>
          <a:fontRef idx="minor">
            <a:schemeClr val="tx1"/>
          </a:fontRef>
        </p:style>
      </p:cxnSp>
      <p:cxnSp>
        <p:nvCxnSpPr>
          <p:cNvPr id="96" name="Elbow Connector 95"/>
          <p:cNvCxnSpPr>
            <a:stCxn id="78" idx="2"/>
            <a:endCxn id="81" idx="0"/>
          </p:cNvCxnSpPr>
          <p:nvPr/>
        </p:nvCxnSpPr>
        <p:spPr>
          <a:xfrm rot="5400000">
            <a:off x="1423381" y="4432071"/>
            <a:ext cx="432132" cy="637968"/>
          </a:xfrm>
          <a:prstGeom prst="bentConnector3">
            <a:avLst/>
          </a:prstGeom>
          <a:ln w="19050">
            <a:solidFill>
              <a:srgbClr val="DC6900"/>
            </a:solidFill>
            <a:tailEnd type="triangle"/>
          </a:ln>
        </p:spPr>
        <p:style>
          <a:lnRef idx="1">
            <a:schemeClr val="accent1"/>
          </a:lnRef>
          <a:fillRef idx="0">
            <a:schemeClr val="accent1"/>
          </a:fillRef>
          <a:effectRef idx="0">
            <a:schemeClr val="accent1"/>
          </a:effectRef>
          <a:fontRef idx="minor">
            <a:schemeClr val="tx1"/>
          </a:fontRef>
        </p:style>
      </p:cxnSp>
      <p:cxnSp>
        <p:nvCxnSpPr>
          <p:cNvPr id="97" name="Elbow Connector 96"/>
          <p:cNvCxnSpPr>
            <a:stCxn id="78" idx="2"/>
            <a:endCxn id="82" idx="0"/>
          </p:cNvCxnSpPr>
          <p:nvPr/>
        </p:nvCxnSpPr>
        <p:spPr>
          <a:xfrm rot="16200000" flipH="1">
            <a:off x="2070407" y="4423013"/>
            <a:ext cx="425566" cy="649518"/>
          </a:xfrm>
          <a:prstGeom prst="bentConnector3">
            <a:avLst/>
          </a:prstGeom>
          <a:ln w="19050">
            <a:solidFill>
              <a:srgbClr val="DC6900"/>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stCxn id="81" idx="2"/>
            <a:endCxn id="83" idx="0"/>
          </p:cNvCxnSpPr>
          <p:nvPr/>
        </p:nvCxnSpPr>
        <p:spPr>
          <a:xfrm>
            <a:off x="1320463" y="5415562"/>
            <a:ext cx="0" cy="1024185"/>
          </a:xfrm>
          <a:prstGeom prst="straightConnector1">
            <a:avLst/>
          </a:prstGeom>
          <a:ln w="19050">
            <a:solidFill>
              <a:srgbClr val="DC6900"/>
            </a:solidFill>
            <a:tailEnd type="triangle"/>
          </a:ln>
        </p:spPr>
        <p:style>
          <a:lnRef idx="1">
            <a:schemeClr val="accent1"/>
          </a:lnRef>
          <a:fillRef idx="0">
            <a:schemeClr val="accent1"/>
          </a:fillRef>
          <a:effectRef idx="0">
            <a:schemeClr val="accent1"/>
          </a:effectRef>
          <a:fontRef idx="minor">
            <a:schemeClr val="tx1"/>
          </a:fontRef>
        </p:style>
      </p:cxnSp>
      <p:sp>
        <p:nvSpPr>
          <p:cNvPr id="99" name="Curved Left Arrow 98"/>
          <p:cNvSpPr/>
          <p:nvPr/>
        </p:nvSpPr>
        <p:spPr>
          <a:xfrm rot="9221070" flipH="1">
            <a:off x="2568270" y="4064933"/>
            <a:ext cx="267085" cy="698318"/>
          </a:xfrm>
          <a:prstGeom prst="curvedLeftArrow">
            <a:avLst>
              <a:gd name="adj1" fmla="val 22311"/>
              <a:gd name="adj2" fmla="val 50000"/>
              <a:gd name="adj3" fmla="val 25000"/>
            </a:avLst>
          </a:prstGeom>
          <a:solidFill>
            <a:srgbClr val="00B0F0"/>
          </a:solidFill>
          <a:ln w="6350">
            <a:solidFill>
              <a:srgbClr val="0070C0"/>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tLang="zh-CN" dirty="0" smtClean="0"/>
          </a:p>
        </p:txBody>
      </p:sp>
      <p:sp>
        <p:nvSpPr>
          <p:cNvPr id="100" name="TextBox 99"/>
          <p:cNvSpPr txBox="1"/>
          <p:nvPr/>
        </p:nvSpPr>
        <p:spPr>
          <a:xfrm>
            <a:off x="2507895" y="4259140"/>
            <a:ext cx="697894" cy="307777"/>
          </a:xfrm>
          <a:prstGeom prst="rect">
            <a:avLst/>
          </a:prstGeom>
          <a:noFill/>
          <a:ln>
            <a:noFill/>
          </a:ln>
        </p:spPr>
        <p:txBody>
          <a:bodyPr wrap="square" lIns="0" tIns="0" rIns="0" bIns="0" rtlCol="0">
            <a:spAutoFit/>
          </a:bodyPr>
          <a:lstStyle/>
          <a:p>
            <a:r>
              <a:rPr lang="en-GB" altLang="zh-CN" sz="1000" dirty="0" smtClean="0">
                <a:latin typeface="+mj-lt"/>
                <a:ea typeface="宋体" panose="02010600030101010101" pitchFamily="2" charset="-122"/>
                <a:cs typeface="Arial" pitchFamily="34" charset="0"/>
              </a:rPr>
              <a:t>100% equity payment</a:t>
            </a:r>
            <a:endParaRPr lang="en-GB" altLang="zh-CN" sz="1000" noProof="0" dirty="0" smtClean="0">
              <a:solidFill>
                <a:schemeClr val="tx1"/>
              </a:solidFill>
              <a:latin typeface="+mj-lt"/>
              <a:ea typeface="宋体" panose="02010600030101010101" pitchFamily="2" charset="-122"/>
              <a:cs typeface="Arial" pitchFamily="34" charset="0"/>
            </a:endParaRPr>
          </a:p>
        </p:txBody>
      </p:sp>
      <p:sp>
        <p:nvSpPr>
          <p:cNvPr id="101" name="Curved Up Arrow 100"/>
          <p:cNvSpPr/>
          <p:nvPr/>
        </p:nvSpPr>
        <p:spPr>
          <a:xfrm>
            <a:off x="1433263" y="5405841"/>
            <a:ext cx="1025691" cy="288032"/>
          </a:xfrm>
          <a:prstGeom prst="curvedUpArrow">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tLang="zh-CN" dirty="0" smtClean="0"/>
          </a:p>
        </p:txBody>
      </p:sp>
      <p:sp>
        <p:nvSpPr>
          <p:cNvPr id="102" name="TextBox 101"/>
          <p:cNvSpPr txBox="1"/>
          <p:nvPr/>
        </p:nvSpPr>
        <p:spPr>
          <a:xfrm>
            <a:off x="708315" y="3869630"/>
            <a:ext cx="788949" cy="169277"/>
          </a:xfrm>
          <a:prstGeom prst="rect">
            <a:avLst/>
          </a:prstGeom>
          <a:noFill/>
          <a:ln>
            <a:noFill/>
          </a:ln>
        </p:spPr>
        <p:txBody>
          <a:bodyPr wrap="square" lIns="0" tIns="0" rIns="0" bIns="0" rtlCol="0">
            <a:spAutoFit/>
          </a:bodyPr>
          <a:lstStyle/>
          <a:p>
            <a:pPr>
              <a:spcAft>
                <a:spcPts val="900"/>
              </a:spcAft>
            </a:pPr>
            <a:r>
              <a:rPr lang="en-GB" altLang="zh-CN" dirty="0" smtClean="0">
                <a:latin typeface="+mj-lt"/>
                <a:ea typeface="黑体" panose="02010609060101010101" pitchFamily="49" charset="-122"/>
              </a:rPr>
              <a:t>Scenario 1</a:t>
            </a:r>
            <a:endParaRPr lang="en-GB" altLang="zh-CN" dirty="0">
              <a:latin typeface="+mj-lt"/>
              <a:ea typeface="黑体" panose="02010609060101010101" pitchFamily="49" charset="-122"/>
            </a:endParaRPr>
          </a:p>
        </p:txBody>
      </p:sp>
      <p:sp>
        <p:nvSpPr>
          <p:cNvPr id="103" name="Multiply 102"/>
          <p:cNvSpPr/>
          <p:nvPr/>
        </p:nvSpPr>
        <p:spPr>
          <a:xfrm>
            <a:off x="1383624" y="4655024"/>
            <a:ext cx="208636" cy="178973"/>
          </a:xfrm>
          <a:prstGeom prst="mathMultiply">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tLang="zh-CN" dirty="0" smtClean="0"/>
          </a:p>
        </p:txBody>
      </p:sp>
      <p:sp>
        <p:nvSpPr>
          <p:cNvPr id="104" name="TextBox 103"/>
          <p:cNvSpPr txBox="1"/>
          <p:nvPr/>
        </p:nvSpPr>
        <p:spPr>
          <a:xfrm>
            <a:off x="2220041" y="4568952"/>
            <a:ext cx="451725" cy="169277"/>
          </a:xfrm>
          <a:prstGeom prst="rect">
            <a:avLst/>
          </a:prstGeom>
          <a:noFill/>
          <a:ln>
            <a:noFill/>
          </a:ln>
        </p:spPr>
        <p:txBody>
          <a:bodyPr wrap="square" lIns="0" tIns="0" rIns="0" bIns="0" rtlCol="0">
            <a:spAutoFit/>
          </a:bodyPr>
          <a:lstStyle/>
          <a:p>
            <a:r>
              <a:rPr lang="en-GB" altLang="zh-CN" dirty="0" smtClean="0">
                <a:latin typeface="宋体" panose="02010600030101010101" pitchFamily="2" charset="-122"/>
                <a:ea typeface="宋体" panose="02010600030101010101" pitchFamily="2" charset="-122"/>
                <a:cs typeface="Arial" pitchFamily="34" charset="0"/>
              </a:rPr>
              <a:t>80%</a:t>
            </a:r>
            <a:endParaRPr lang="en-GB" altLang="zh-CN" noProof="0" dirty="0" smtClean="0">
              <a:solidFill>
                <a:schemeClr val="tx1"/>
              </a:solidFill>
              <a:latin typeface="宋体" panose="02010600030101010101" pitchFamily="2" charset="-122"/>
              <a:ea typeface="宋体" panose="02010600030101010101" pitchFamily="2" charset="-122"/>
              <a:cs typeface="Arial" pitchFamily="34" charset="0"/>
            </a:endParaRPr>
          </a:p>
        </p:txBody>
      </p:sp>
      <p:sp>
        <p:nvSpPr>
          <p:cNvPr id="105" name="Flowchart: Process 104"/>
          <p:cNvSpPr/>
          <p:nvPr/>
        </p:nvSpPr>
        <p:spPr>
          <a:xfrm>
            <a:off x="4554522" y="4927353"/>
            <a:ext cx="891505" cy="325760"/>
          </a:xfrm>
          <a:prstGeom prst="flowChartProcess">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ltLang="zh-CN" dirty="0" smtClean="0">
                <a:latin typeface="宋体" panose="02010600030101010101" pitchFamily="2" charset="-122"/>
                <a:ea typeface="宋体" panose="02010600030101010101" pitchFamily="2" charset="-122"/>
              </a:rPr>
              <a:t>Transferor</a:t>
            </a:r>
          </a:p>
        </p:txBody>
      </p:sp>
      <p:sp>
        <p:nvSpPr>
          <p:cNvPr id="106" name="Flowchart: Process 105"/>
          <p:cNvSpPr/>
          <p:nvPr/>
        </p:nvSpPr>
        <p:spPr>
          <a:xfrm>
            <a:off x="4554523" y="4207021"/>
            <a:ext cx="891504" cy="325760"/>
          </a:xfrm>
          <a:prstGeom prst="flowChartProcess">
            <a:avLst/>
          </a:prstGeom>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ltLang="zh-CN" dirty="0" smtClean="0">
                <a:latin typeface="宋体" panose="02010600030101010101" pitchFamily="2" charset="-122"/>
                <a:ea typeface="宋体" panose="02010600030101010101" pitchFamily="2" charset="-122"/>
              </a:rPr>
              <a:t>Transferee</a:t>
            </a:r>
          </a:p>
        </p:txBody>
      </p:sp>
      <p:sp>
        <p:nvSpPr>
          <p:cNvPr id="107" name="Flowchart: Process 106"/>
          <p:cNvSpPr/>
          <p:nvPr/>
        </p:nvSpPr>
        <p:spPr>
          <a:xfrm>
            <a:off x="4541510" y="5564401"/>
            <a:ext cx="929302" cy="394054"/>
          </a:xfrm>
          <a:prstGeom prst="flowChartProcess">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ltLang="zh-CN" sz="900" dirty="0" smtClean="0">
                <a:latin typeface="+mj-lt"/>
                <a:ea typeface="宋体" panose="02010600030101010101" pitchFamily="2" charset="-122"/>
              </a:rPr>
              <a:t>Intermediate Holding Company</a:t>
            </a:r>
            <a:endParaRPr lang="en-GB" altLang="zh-CN" sz="900" dirty="0">
              <a:latin typeface="+mj-lt"/>
              <a:ea typeface="宋体" panose="02010600030101010101" pitchFamily="2" charset="-122"/>
            </a:endParaRPr>
          </a:p>
        </p:txBody>
      </p:sp>
      <p:sp>
        <p:nvSpPr>
          <p:cNvPr id="108" name="Flowchart: Process 107"/>
          <p:cNvSpPr/>
          <p:nvPr/>
        </p:nvSpPr>
        <p:spPr>
          <a:xfrm>
            <a:off x="4535623" y="6452792"/>
            <a:ext cx="929301" cy="325760"/>
          </a:xfrm>
          <a:prstGeom prst="flowChartProcess">
            <a:avLst/>
          </a:prstGeom>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ltLang="zh-CN" sz="1000" dirty="0" smtClean="0">
                <a:latin typeface="+mj-lt"/>
                <a:ea typeface="宋体" panose="02010600030101010101" pitchFamily="2" charset="-122"/>
              </a:rPr>
              <a:t>China Company</a:t>
            </a:r>
          </a:p>
        </p:txBody>
      </p:sp>
      <p:cxnSp>
        <p:nvCxnSpPr>
          <p:cNvPr id="109" name="Straight Arrow Connector 108"/>
          <p:cNvCxnSpPr>
            <a:stCxn id="106" idx="2"/>
            <a:endCxn id="105" idx="0"/>
          </p:cNvCxnSpPr>
          <p:nvPr/>
        </p:nvCxnSpPr>
        <p:spPr>
          <a:xfrm>
            <a:off x="5000275" y="4532781"/>
            <a:ext cx="0" cy="394572"/>
          </a:xfrm>
          <a:prstGeom prst="straightConnector1">
            <a:avLst/>
          </a:prstGeom>
          <a:ln w="19050">
            <a:solidFill>
              <a:srgbClr val="DC6900"/>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a:stCxn id="105" idx="2"/>
            <a:endCxn id="107" idx="0"/>
          </p:cNvCxnSpPr>
          <p:nvPr/>
        </p:nvCxnSpPr>
        <p:spPr>
          <a:xfrm>
            <a:off x="5000275" y="5253113"/>
            <a:ext cx="5886" cy="311288"/>
          </a:xfrm>
          <a:prstGeom prst="straightConnector1">
            <a:avLst/>
          </a:prstGeom>
          <a:ln w="19050">
            <a:solidFill>
              <a:srgbClr val="DC6900"/>
            </a:solidFill>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p:cNvCxnSpPr>
            <a:stCxn id="107" idx="2"/>
            <a:endCxn id="108" idx="0"/>
          </p:cNvCxnSpPr>
          <p:nvPr/>
        </p:nvCxnSpPr>
        <p:spPr>
          <a:xfrm flipH="1">
            <a:off x="5000274" y="5958455"/>
            <a:ext cx="5887" cy="494337"/>
          </a:xfrm>
          <a:prstGeom prst="straightConnector1">
            <a:avLst/>
          </a:prstGeom>
          <a:ln w="19050">
            <a:solidFill>
              <a:srgbClr val="DC6900"/>
            </a:solidFill>
            <a:tailEnd type="triangle"/>
          </a:ln>
        </p:spPr>
        <p:style>
          <a:lnRef idx="1">
            <a:schemeClr val="accent1"/>
          </a:lnRef>
          <a:fillRef idx="0">
            <a:schemeClr val="accent1"/>
          </a:fillRef>
          <a:effectRef idx="0">
            <a:schemeClr val="accent1"/>
          </a:effectRef>
          <a:fontRef idx="minor">
            <a:schemeClr val="tx1"/>
          </a:fontRef>
        </p:style>
      </p:cxnSp>
      <p:sp>
        <p:nvSpPr>
          <p:cNvPr id="112" name="Curved Left Arrow 111"/>
          <p:cNvSpPr/>
          <p:nvPr/>
        </p:nvSpPr>
        <p:spPr>
          <a:xfrm>
            <a:off x="5483410" y="4407625"/>
            <a:ext cx="241107" cy="698318"/>
          </a:xfrm>
          <a:prstGeom prst="curvedLeftArrow">
            <a:avLst>
              <a:gd name="adj1" fmla="val 22311"/>
              <a:gd name="adj2" fmla="val 50000"/>
              <a:gd name="adj3" fmla="val 25000"/>
            </a:avLst>
          </a:prstGeom>
          <a:solidFill>
            <a:srgbClr val="00B0F0"/>
          </a:solidFill>
          <a:ln w="6350">
            <a:solidFill>
              <a:srgbClr val="0070C0"/>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tLang="zh-CN" dirty="0" smtClean="0"/>
          </a:p>
        </p:txBody>
      </p:sp>
      <p:sp>
        <p:nvSpPr>
          <p:cNvPr id="113" name="TextBox 112"/>
          <p:cNvSpPr txBox="1"/>
          <p:nvPr/>
        </p:nvSpPr>
        <p:spPr>
          <a:xfrm>
            <a:off x="5417412" y="4539753"/>
            <a:ext cx="697894" cy="307777"/>
          </a:xfrm>
          <a:prstGeom prst="rect">
            <a:avLst/>
          </a:prstGeom>
          <a:noFill/>
          <a:ln>
            <a:noFill/>
          </a:ln>
        </p:spPr>
        <p:txBody>
          <a:bodyPr wrap="square" lIns="0" tIns="0" rIns="0" bIns="0" rtlCol="0">
            <a:spAutoFit/>
          </a:bodyPr>
          <a:lstStyle/>
          <a:p>
            <a:pPr lvl="0"/>
            <a:r>
              <a:rPr lang="en-GB" altLang="zh-CN" sz="1000" dirty="0" smtClean="0">
                <a:solidFill>
                  <a:srgbClr val="000000"/>
                </a:solidFill>
                <a:latin typeface="Georgia"/>
                <a:ea typeface="宋体" panose="02010600030101010101" pitchFamily="2" charset="-122"/>
                <a:cs typeface="Arial" pitchFamily="34" charset="0"/>
              </a:rPr>
              <a:t>100% equity payment</a:t>
            </a:r>
            <a:endParaRPr lang="en-GB" altLang="zh-CN" sz="1000" dirty="0">
              <a:solidFill>
                <a:srgbClr val="000000"/>
              </a:solidFill>
              <a:latin typeface="Georgia"/>
              <a:ea typeface="宋体" panose="02010600030101010101" pitchFamily="2" charset="-122"/>
              <a:cs typeface="Arial" pitchFamily="34" charset="0"/>
            </a:endParaRPr>
          </a:p>
        </p:txBody>
      </p:sp>
      <p:sp>
        <p:nvSpPr>
          <p:cNvPr id="114" name="TextBox 113"/>
          <p:cNvSpPr txBox="1"/>
          <p:nvPr/>
        </p:nvSpPr>
        <p:spPr>
          <a:xfrm>
            <a:off x="4650627" y="4645821"/>
            <a:ext cx="451725" cy="169277"/>
          </a:xfrm>
          <a:prstGeom prst="rect">
            <a:avLst/>
          </a:prstGeom>
          <a:noFill/>
          <a:ln>
            <a:noFill/>
          </a:ln>
        </p:spPr>
        <p:txBody>
          <a:bodyPr wrap="square" lIns="0" tIns="0" rIns="0" bIns="0" rtlCol="0">
            <a:spAutoFit/>
          </a:bodyPr>
          <a:lstStyle/>
          <a:p>
            <a:r>
              <a:rPr lang="en-GB" altLang="zh-CN" dirty="0" smtClean="0">
                <a:latin typeface="宋体" panose="02010600030101010101" pitchFamily="2" charset="-122"/>
                <a:ea typeface="宋体" panose="02010600030101010101" pitchFamily="2" charset="-122"/>
                <a:cs typeface="Arial" pitchFamily="34" charset="0"/>
              </a:rPr>
              <a:t>80%</a:t>
            </a:r>
            <a:endParaRPr lang="en-GB" altLang="zh-CN" noProof="0" dirty="0" smtClean="0">
              <a:solidFill>
                <a:schemeClr val="tx1"/>
              </a:solidFill>
              <a:latin typeface="宋体" panose="02010600030101010101" pitchFamily="2" charset="-122"/>
              <a:ea typeface="宋体" panose="02010600030101010101" pitchFamily="2" charset="-122"/>
              <a:cs typeface="Arial" pitchFamily="34" charset="0"/>
            </a:endParaRPr>
          </a:p>
        </p:txBody>
      </p:sp>
      <p:sp>
        <p:nvSpPr>
          <p:cNvPr id="115" name="Curved Right Arrow 114"/>
          <p:cNvSpPr/>
          <p:nvPr/>
        </p:nvSpPr>
        <p:spPr>
          <a:xfrm rot="10800000" flipH="1">
            <a:off x="4099665" y="4388347"/>
            <a:ext cx="298527" cy="1357380"/>
          </a:xfrm>
          <a:prstGeom prst="curvedRightArrow">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tLang="zh-CN" dirty="0">
              <a:solidFill>
                <a:schemeClr val="lt1"/>
              </a:solidFill>
            </a:endParaRPr>
          </a:p>
        </p:txBody>
      </p:sp>
      <p:sp>
        <p:nvSpPr>
          <p:cNvPr id="116" name="Multiply 115"/>
          <p:cNvSpPr/>
          <p:nvPr/>
        </p:nvSpPr>
        <p:spPr>
          <a:xfrm>
            <a:off x="4895428" y="5297218"/>
            <a:ext cx="208636" cy="178973"/>
          </a:xfrm>
          <a:prstGeom prst="mathMultiply">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tLang="zh-CN" dirty="0" smtClean="0"/>
          </a:p>
        </p:txBody>
      </p:sp>
      <p:sp>
        <p:nvSpPr>
          <p:cNvPr id="117" name="Flowchart: Process 116"/>
          <p:cNvSpPr/>
          <p:nvPr/>
        </p:nvSpPr>
        <p:spPr>
          <a:xfrm>
            <a:off x="7802338" y="4062195"/>
            <a:ext cx="797006" cy="325760"/>
          </a:xfrm>
          <a:prstGeom prst="flowChartProcess">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ltLang="zh-CN" sz="1000" dirty="0" smtClean="0">
                <a:latin typeface="+mj-lt"/>
                <a:ea typeface="宋体" panose="02010600030101010101" pitchFamily="2" charset="-122"/>
              </a:rPr>
              <a:t>Group HQ</a:t>
            </a:r>
          </a:p>
        </p:txBody>
      </p:sp>
      <p:sp>
        <p:nvSpPr>
          <p:cNvPr id="118" name="Flowchart: Process 117"/>
          <p:cNvSpPr/>
          <p:nvPr/>
        </p:nvSpPr>
        <p:spPr>
          <a:xfrm>
            <a:off x="7029256" y="4904157"/>
            <a:ext cx="885488" cy="325760"/>
          </a:xfrm>
          <a:prstGeom prst="flowChartProcess">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ltLang="zh-CN" dirty="0" smtClean="0">
                <a:latin typeface="宋体" panose="02010600030101010101" pitchFamily="2" charset="-122"/>
                <a:ea typeface="宋体" panose="02010600030101010101" pitchFamily="2" charset="-122"/>
              </a:rPr>
              <a:t>Transferor</a:t>
            </a:r>
          </a:p>
        </p:txBody>
      </p:sp>
      <p:sp>
        <p:nvSpPr>
          <p:cNvPr id="119" name="Flowchart: Process 118"/>
          <p:cNvSpPr/>
          <p:nvPr/>
        </p:nvSpPr>
        <p:spPr>
          <a:xfrm>
            <a:off x="8599344" y="4906641"/>
            <a:ext cx="913764" cy="325760"/>
          </a:xfrm>
          <a:prstGeom prst="flowChartProcess">
            <a:avLst/>
          </a:prstGeom>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ltLang="zh-CN" dirty="0" smtClean="0">
                <a:latin typeface="宋体" panose="02010600030101010101" pitchFamily="2" charset="-122"/>
                <a:ea typeface="宋体" panose="02010600030101010101" pitchFamily="2" charset="-122"/>
              </a:rPr>
              <a:t>Transferee</a:t>
            </a:r>
          </a:p>
        </p:txBody>
      </p:sp>
      <p:sp>
        <p:nvSpPr>
          <p:cNvPr id="120" name="Flowchart: Process 119"/>
          <p:cNvSpPr/>
          <p:nvPr/>
        </p:nvSpPr>
        <p:spPr>
          <a:xfrm>
            <a:off x="7029256" y="5564400"/>
            <a:ext cx="885488" cy="430075"/>
          </a:xfrm>
          <a:prstGeom prst="flowChartProcess">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ltLang="zh-CN" sz="900" dirty="0" smtClean="0">
                <a:latin typeface="+mj-lt"/>
                <a:ea typeface="宋体" panose="02010600030101010101" pitchFamily="2" charset="-122"/>
              </a:rPr>
              <a:t>Intermediate Holding Company</a:t>
            </a:r>
            <a:endParaRPr lang="en-GB" altLang="zh-CN" sz="900" dirty="0">
              <a:latin typeface="+mj-lt"/>
              <a:ea typeface="宋体" panose="02010600030101010101" pitchFamily="2" charset="-122"/>
            </a:endParaRPr>
          </a:p>
        </p:txBody>
      </p:sp>
      <p:sp>
        <p:nvSpPr>
          <p:cNvPr id="121" name="Flowchart: Process 120"/>
          <p:cNvSpPr/>
          <p:nvPr/>
        </p:nvSpPr>
        <p:spPr>
          <a:xfrm>
            <a:off x="7029256" y="6455858"/>
            <a:ext cx="885488" cy="325760"/>
          </a:xfrm>
          <a:prstGeom prst="flowChartProcess">
            <a:avLst/>
          </a:prstGeom>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ltLang="zh-CN" sz="1000" dirty="0" smtClean="0">
                <a:latin typeface="+mj-lt"/>
                <a:ea typeface="宋体" panose="02010600030101010101" pitchFamily="2" charset="-122"/>
              </a:rPr>
              <a:t>China Company</a:t>
            </a:r>
          </a:p>
        </p:txBody>
      </p:sp>
      <p:cxnSp>
        <p:nvCxnSpPr>
          <p:cNvPr id="122" name="Elbow Connector 121"/>
          <p:cNvCxnSpPr>
            <a:stCxn id="117" idx="2"/>
            <a:endCxn id="118" idx="0"/>
          </p:cNvCxnSpPr>
          <p:nvPr/>
        </p:nvCxnSpPr>
        <p:spPr>
          <a:xfrm rot="5400000">
            <a:off x="7578320" y="4281636"/>
            <a:ext cx="516202" cy="728841"/>
          </a:xfrm>
          <a:prstGeom prst="bentConnector3">
            <a:avLst/>
          </a:prstGeom>
          <a:ln w="19050">
            <a:solidFill>
              <a:srgbClr val="DC6900"/>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Elbow Connector 122"/>
          <p:cNvCxnSpPr>
            <a:stCxn id="117" idx="2"/>
            <a:endCxn id="119" idx="0"/>
          </p:cNvCxnSpPr>
          <p:nvPr/>
        </p:nvCxnSpPr>
        <p:spPr>
          <a:xfrm rot="16200000" flipH="1">
            <a:off x="8369190" y="4219605"/>
            <a:ext cx="518686" cy="855385"/>
          </a:xfrm>
          <a:prstGeom prst="bentConnector3">
            <a:avLst/>
          </a:prstGeom>
          <a:ln w="19050">
            <a:solidFill>
              <a:srgbClr val="DC6900"/>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a:stCxn id="118" idx="2"/>
            <a:endCxn id="120" idx="0"/>
          </p:cNvCxnSpPr>
          <p:nvPr/>
        </p:nvCxnSpPr>
        <p:spPr>
          <a:xfrm>
            <a:off x="7472000" y="5229917"/>
            <a:ext cx="0" cy="334483"/>
          </a:xfrm>
          <a:prstGeom prst="straightConnector1">
            <a:avLst/>
          </a:prstGeom>
          <a:ln w="19050">
            <a:solidFill>
              <a:srgbClr val="DC6900"/>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p:cNvCxnSpPr>
            <a:stCxn id="120" idx="2"/>
            <a:endCxn id="121" idx="0"/>
          </p:cNvCxnSpPr>
          <p:nvPr/>
        </p:nvCxnSpPr>
        <p:spPr>
          <a:xfrm>
            <a:off x="7472000" y="5994475"/>
            <a:ext cx="0" cy="461383"/>
          </a:xfrm>
          <a:prstGeom prst="straightConnector1">
            <a:avLst/>
          </a:prstGeom>
          <a:ln w="19050">
            <a:solidFill>
              <a:srgbClr val="DC6900"/>
            </a:solidFill>
            <a:tailEnd type="triangle"/>
          </a:ln>
        </p:spPr>
        <p:style>
          <a:lnRef idx="1">
            <a:schemeClr val="accent1"/>
          </a:lnRef>
          <a:fillRef idx="0">
            <a:schemeClr val="accent1"/>
          </a:fillRef>
          <a:effectRef idx="0">
            <a:schemeClr val="accent1"/>
          </a:effectRef>
          <a:fontRef idx="minor">
            <a:schemeClr val="tx1"/>
          </a:fontRef>
        </p:style>
      </p:cxnSp>
      <p:sp>
        <p:nvSpPr>
          <p:cNvPr id="126" name="Curved Right Arrow 125"/>
          <p:cNvSpPr/>
          <p:nvPr/>
        </p:nvSpPr>
        <p:spPr>
          <a:xfrm rot="14257043">
            <a:off x="8306846" y="5215463"/>
            <a:ext cx="291534" cy="1011000"/>
          </a:xfrm>
          <a:prstGeom prst="curvedRightArrow">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tLang="zh-CN" dirty="0">
              <a:solidFill>
                <a:schemeClr val="lt1"/>
              </a:solidFill>
            </a:endParaRPr>
          </a:p>
        </p:txBody>
      </p:sp>
      <p:sp>
        <p:nvSpPr>
          <p:cNvPr id="127" name="Curved Left Arrow 126"/>
          <p:cNvSpPr/>
          <p:nvPr/>
        </p:nvSpPr>
        <p:spPr>
          <a:xfrm rot="5400000">
            <a:off x="8110379" y="4852210"/>
            <a:ext cx="204848" cy="698318"/>
          </a:xfrm>
          <a:prstGeom prst="curvedLeftArrow">
            <a:avLst>
              <a:gd name="adj1" fmla="val 22311"/>
              <a:gd name="adj2" fmla="val 50000"/>
              <a:gd name="adj3" fmla="val 25000"/>
            </a:avLst>
          </a:prstGeom>
          <a:solidFill>
            <a:srgbClr val="00B0F0"/>
          </a:solidFill>
          <a:ln w="6350">
            <a:solidFill>
              <a:srgbClr val="0070C0"/>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tLang="zh-CN" dirty="0" smtClean="0"/>
          </a:p>
        </p:txBody>
      </p:sp>
      <p:sp>
        <p:nvSpPr>
          <p:cNvPr id="128" name="TextBox 127"/>
          <p:cNvSpPr txBox="1"/>
          <p:nvPr/>
        </p:nvSpPr>
        <p:spPr>
          <a:xfrm>
            <a:off x="7983743" y="4776591"/>
            <a:ext cx="697894" cy="307777"/>
          </a:xfrm>
          <a:prstGeom prst="rect">
            <a:avLst/>
          </a:prstGeom>
          <a:noFill/>
          <a:ln>
            <a:noFill/>
          </a:ln>
        </p:spPr>
        <p:txBody>
          <a:bodyPr wrap="square" lIns="0" tIns="0" rIns="0" bIns="0" rtlCol="0">
            <a:spAutoFit/>
          </a:bodyPr>
          <a:lstStyle/>
          <a:p>
            <a:pPr lvl="0"/>
            <a:r>
              <a:rPr lang="en-GB" altLang="zh-CN" sz="1000" dirty="0" smtClean="0">
                <a:solidFill>
                  <a:srgbClr val="000000"/>
                </a:solidFill>
                <a:latin typeface="Georgia"/>
                <a:ea typeface="宋体" panose="02010600030101010101" pitchFamily="2" charset="-122"/>
                <a:cs typeface="Arial" pitchFamily="34" charset="0"/>
              </a:rPr>
              <a:t>100% equity payment</a:t>
            </a:r>
            <a:endParaRPr lang="en-GB" altLang="zh-CN" sz="1000" dirty="0">
              <a:solidFill>
                <a:srgbClr val="000000"/>
              </a:solidFill>
              <a:latin typeface="Georgia"/>
              <a:ea typeface="宋体" panose="02010600030101010101" pitchFamily="2" charset="-122"/>
              <a:cs typeface="Arial" pitchFamily="34" charset="0"/>
            </a:endParaRPr>
          </a:p>
        </p:txBody>
      </p:sp>
      <p:sp>
        <p:nvSpPr>
          <p:cNvPr id="129" name="Oval Callout 128"/>
          <p:cNvSpPr/>
          <p:nvPr/>
        </p:nvSpPr>
        <p:spPr>
          <a:xfrm>
            <a:off x="8520882" y="3297415"/>
            <a:ext cx="1392539" cy="646314"/>
          </a:xfrm>
          <a:prstGeom prst="wedgeEllipseCallout">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GB" altLang="zh-CN" sz="1000" dirty="0" smtClean="0">
                <a:latin typeface="+mj-lt"/>
                <a:ea typeface="宋体" panose="02010600030101010101" pitchFamily="2" charset="-122"/>
              </a:rPr>
              <a:t>Change in shareholding structure </a:t>
            </a:r>
          </a:p>
        </p:txBody>
      </p:sp>
      <p:sp>
        <p:nvSpPr>
          <p:cNvPr id="130" name="Multiply 129"/>
          <p:cNvSpPr/>
          <p:nvPr/>
        </p:nvSpPr>
        <p:spPr>
          <a:xfrm>
            <a:off x="7359402" y="5288521"/>
            <a:ext cx="208636" cy="178973"/>
          </a:xfrm>
          <a:prstGeom prst="mathMultiply">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tLang="zh-CN" dirty="0" smtClean="0"/>
          </a:p>
        </p:txBody>
      </p:sp>
      <p:sp>
        <p:nvSpPr>
          <p:cNvPr id="131" name="TextBox 130"/>
          <p:cNvSpPr txBox="1"/>
          <p:nvPr/>
        </p:nvSpPr>
        <p:spPr>
          <a:xfrm>
            <a:off x="7600399" y="4468763"/>
            <a:ext cx="451725" cy="169277"/>
          </a:xfrm>
          <a:prstGeom prst="rect">
            <a:avLst/>
          </a:prstGeom>
          <a:noFill/>
          <a:ln>
            <a:noFill/>
          </a:ln>
        </p:spPr>
        <p:txBody>
          <a:bodyPr wrap="square" lIns="0" tIns="0" rIns="0" bIns="0" rtlCol="0">
            <a:spAutoFit/>
          </a:bodyPr>
          <a:lstStyle/>
          <a:p>
            <a:r>
              <a:rPr lang="en-GB" altLang="zh-CN" dirty="0" smtClean="0">
                <a:latin typeface="宋体" panose="02010600030101010101" pitchFamily="2" charset="-122"/>
                <a:ea typeface="宋体" panose="02010600030101010101" pitchFamily="2" charset="-122"/>
                <a:cs typeface="Arial" pitchFamily="34" charset="0"/>
              </a:rPr>
              <a:t>80%</a:t>
            </a:r>
            <a:endParaRPr lang="en-GB" altLang="zh-CN" noProof="0" dirty="0" smtClean="0">
              <a:solidFill>
                <a:schemeClr val="tx1"/>
              </a:solidFill>
              <a:latin typeface="宋体" panose="02010600030101010101" pitchFamily="2" charset="-122"/>
              <a:ea typeface="宋体" panose="02010600030101010101" pitchFamily="2" charset="-122"/>
              <a:cs typeface="Arial" pitchFamily="34" charset="0"/>
            </a:endParaRPr>
          </a:p>
        </p:txBody>
      </p:sp>
      <p:sp>
        <p:nvSpPr>
          <p:cNvPr id="132" name="TextBox 131"/>
          <p:cNvSpPr txBox="1"/>
          <p:nvPr/>
        </p:nvSpPr>
        <p:spPr>
          <a:xfrm>
            <a:off x="8599344" y="4431495"/>
            <a:ext cx="451725" cy="169277"/>
          </a:xfrm>
          <a:prstGeom prst="rect">
            <a:avLst/>
          </a:prstGeom>
          <a:noFill/>
          <a:ln>
            <a:noFill/>
          </a:ln>
        </p:spPr>
        <p:txBody>
          <a:bodyPr wrap="square" lIns="0" tIns="0" rIns="0" bIns="0" rtlCol="0">
            <a:spAutoFit/>
          </a:bodyPr>
          <a:lstStyle/>
          <a:p>
            <a:r>
              <a:rPr lang="en-GB" altLang="zh-CN" dirty="0" smtClean="0">
                <a:latin typeface="宋体" panose="02010600030101010101" pitchFamily="2" charset="-122"/>
                <a:ea typeface="宋体" panose="02010600030101010101" pitchFamily="2" charset="-122"/>
                <a:cs typeface="Arial" pitchFamily="34" charset="0"/>
              </a:rPr>
              <a:t>80%</a:t>
            </a:r>
            <a:endParaRPr lang="en-GB" altLang="zh-CN" noProof="0" dirty="0" smtClean="0">
              <a:solidFill>
                <a:schemeClr val="tx1"/>
              </a:solidFill>
              <a:latin typeface="宋体" panose="02010600030101010101" pitchFamily="2" charset="-122"/>
              <a:ea typeface="宋体" panose="02010600030101010101" pitchFamily="2" charset="-122"/>
              <a:cs typeface="Arial" pitchFamily="34" charset="0"/>
            </a:endParaRPr>
          </a:p>
        </p:txBody>
      </p:sp>
      <p:sp>
        <p:nvSpPr>
          <p:cNvPr id="163" name="TextBox 162"/>
          <p:cNvSpPr txBox="1"/>
          <p:nvPr/>
        </p:nvSpPr>
        <p:spPr>
          <a:xfrm>
            <a:off x="5767021" y="6005932"/>
            <a:ext cx="664050" cy="169277"/>
          </a:xfrm>
          <a:prstGeom prst="rect">
            <a:avLst/>
          </a:prstGeom>
          <a:noFill/>
          <a:ln>
            <a:noFill/>
          </a:ln>
        </p:spPr>
        <p:txBody>
          <a:bodyPr wrap="square" lIns="0" tIns="0" rIns="0" bIns="0" rtlCol="0">
            <a:spAutoFit/>
          </a:bodyPr>
          <a:lstStyle/>
          <a:p>
            <a:r>
              <a:rPr lang="en-GB" altLang="zh-CN" noProof="0" dirty="0" smtClean="0">
                <a:latin typeface="+mj-lt"/>
                <a:ea typeface="宋体" panose="02010600030101010101" pitchFamily="2" charset="-122"/>
                <a:cs typeface="Arial" pitchFamily="34" charset="0"/>
              </a:rPr>
              <a:t>Overseas</a:t>
            </a:r>
            <a:endParaRPr lang="en-GB" altLang="zh-CN" noProof="0" dirty="0" smtClean="0">
              <a:solidFill>
                <a:schemeClr val="tx1"/>
              </a:solidFill>
              <a:latin typeface="+mj-lt"/>
              <a:ea typeface="宋体" panose="02010600030101010101" pitchFamily="2" charset="-122"/>
              <a:cs typeface="Arial" pitchFamily="34" charset="0"/>
            </a:endParaRPr>
          </a:p>
        </p:txBody>
      </p:sp>
      <p:sp>
        <p:nvSpPr>
          <p:cNvPr id="164" name="TextBox 163"/>
          <p:cNvSpPr txBox="1"/>
          <p:nvPr/>
        </p:nvSpPr>
        <p:spPr>
          <a:xfrm>
            <a:off x="5955262" y="6310734"/>
            <a:ext cx="527834" cy="169277"/>
          </a:xfrm>
          <a:prstGeom prst="rect">
            <a:avLst/>
          </a:prstGeom>
          <a:noFill/>
          <a:ln>
            <a:noFill/>
          </a:ln>
        </p:spPr>
        <p:txBody>
          <a:bodyPr wrap="square" lIns="0" tIns="0" rIns="0" bIns="0" rtlCol="0">
            <a:spAutoFit/>
          </a:bodyPr>
          <a:lstStyle/>
          <a:p>
            <a:r>
              <a:rPr lang="en-GB" altLang="zh-CN" dirty="0" smtClean="0">
                <a:latin typeface="+mj-lt"/>
                <a:ea typeface="宋体" panose="02010600030101010101" pitchFamily="2" charset="-122"/>
                <a:cs typeface="Arial" pitchFamily="34" charset="0"/>
              </a:rPr>
              <a:t>China</a:t>
            </a:r>
            <a:endParaRPr lang="en-GB" altLang="zh-CN" noProof="0" dirty="0" smtClean="0">
              <a:solidFill>
                <a:schemeClr val="tx1"/>
              </a:solidFill>
              <a:latin typeface="+mj-lt"/>
              <a:ea typeface="宋体" panose="02010600030101010101" pitchFamily="2" charset="-122"/>
              <a:cs typeface="Arial" pitchFamily="34" charset="0"/>
            </a:endParaRPr>
          </a:p>
        </p:txBody>
      </p:sp>
      <p:sp>
        <p:nvSpPr>
          <p:cNvPr id="165" name="TextBox 164"/>
          <p:cNvSpPr txBox="1"/>
          <p:nvPr/>
        </p:nvSpPr>
        <p:spPr>
          <a:xfrm>
            <a:off x="8910785" y="6001111"/>
            <a:ext cx="664050" cy="169277"/>
          </a:xfrm>
          <a:prstGeom prst="rect">
            <a:avLst/>
          </a:prstGeom>
          <a:noFill/>
          <a:ln>
            <a:noFill/>
          </a:ln>
        </p:spPr>
        <p:txBody>
          <a:bodyPr wrap="square" lIns="0" tIns="0" rIns="0" bIns="0" rtlCol="0">
            <a:spAutoFit/>
          </a:bodyPr>
          <a:lstStyle/>
          <a:p>
            <a:r>
              <a:rPr lang="en-GB" altLang="zh-CN" noProof="0" dirty="0" smtClean="0">
                <a:latin typeface="+mj-lt"/>
                <a:ea typeface="宋体" panose="02010600030101010101" pitchFamily="2" charset="-122"/>
                <a:cs typeface="Arial" pitchFamily="34" charset="0"/>
              </a:rPr>
              <a:t>Overseas</a:t>
            </a:r>
            <a:endParaRPr lang="en-GB" altLang="zh-CN" noProof="0" dirty="0" smtClean="0">
              <a:solidFill>
                <a:schemeClr val="tx1"/>
              </a:solidFill>
              <a:latin typeface="+mj-lt"/>
              <a:ea typeface="宋体" panose="02010600030101010101" pitchFamily="2" charset="-122"/>
              <a:cs typeface="Arial" pitchFamily="34" charset="0"/>
            </a:endParaRPr>
          </a:p>
        </p:txBody>
      </p:sp>
      <p:sp>
        <p:nvSpPr>
          <p:cNvPr id="166" name="TextBox 165"/>
          <p:cNvSpPr txBox="1"/>
          <p:nvPr/>
        </p:nvSpPr>
        <p:spPr>
          <a:xfrm>
            <a:off x="9092252" y="6321021"/>
            <a:ext cx="527834" cy="169277"/>
          </a:xfrm>
          <a:prstGeom prst="rect">
            <a:avLst/>
          </a:prstGeom>
          <a:noFill/>
          <a:ln>
            <a:noFill/>
          </a:ln>
        </p:spPr>
        <p:txBody>
          <a:bodyPr wrap="square" lIns="0" tIns="0" rIns="0" bIns="0" rtlCol="0">
            <a:spAutoFit/>
          </a:bodyPr>
          <a:lstStyle/>
          <a:p>
            <a:r>
              <a:rPr lang="en-GB" altLang="zh-CN" dirty="0" smtClean="0">
                <a:latin typeface="+mj-lt"/>
                <a:ea typeface="宋体" panose="02010600030101010101" pitchFamily="2" charset="-122"/>
                <a:cs typeface="Arial" pitchFamily="34" charset="0"/>
              </a:rPr>
              <a:t>China</a:t>
            </a:r>
            <a:endParaRPr lang="en-GB" altLang="zh-CN" noProof="0" dirty="0" smtClean="0">
              <a:solidFill>
                <a:schemeClr val="tx1"/>
              </a:solidFill>
              <a:latin typeface="+mj-lt"/>
              <a:ea typeface="宋体" panose="02010600030101010101" pitchFamily="2" charset="-122"/>
              <a:cs typeface="Arial" pitchFamily="34" charset="0"/>
            </a:endParaRPr>
          </a:p>
        </p:txBody>
      </p:sp>
      <p:grpSp>
        <p:nvGrpSpPr>
          <p:cNvPr id="151" name="Group 150"/>
          <p:cNvGrpSpPr/>
          <p:nvPr>
            <p:custDataLst>
              <p:tags r:id="rId6"/>
            </p:custDataLst>
          </p:nvPr>
        </p:nvGrpSpPr>
        <p:grpSpPr>
          <a:xfrm>
            <a:off x="5283980" y="704088"/>
            <a:ext cx="4236835" cy="138499"/>
            <a:chOff x="5283980" y="704088"/>
            <a:chExt cx="4236835" cy="138499"/>
          </a:xfrm>
        </p:grpSpPr>
        <p:sp>
          <p:nvSpPr>
            <p:cNvPr id="152" name="745">
              <a:hlinkClick r:id="rId13" action="ppaction://hlinksldjump"/>
            </p:cNvPr>
            <p:cNvSpPr txBox="1"/>
            <p:nvPr>
              <p:custDataLst>
                <p:tags r:id="rId7"/>
              </p:custDataLst>
            </p:nvPr>
          </p:nvSpPr>
          <p:spPr>
            <a:xfrm>
              <a:off x="7868824" y="704088"/>
              <a:ext cx="1651991" cy="138499"/>
            </a:xfrm>
            <a:prstGeom prst="rect">
              <a:avLst/>
            </a:prstGeom>
            <a:noFill/>
            <a:ln>
              <a:noFill/>
            </a:ln>
          </p:spPr>
          <p:txBody>
            <a:bodyPr wrap="none" lIns="27432" tIns="0" rIns="27432" bIns="0" rtlCol="0">
              <a:spAutoFit/>
            </a:bodyPr>
            <a:lstStyle/>
            <a:p>
              <a:r>
                <a:rPr lang="en-US" sz="900" noProof="1" smtClean="0">
                  <a:solidFill>
                    <a:schemeClr val="tx2"/>
                  </a:solidFill>
                  <a:cs typeface="Arial" pitchFamily="34" charset="0"/>
                </a:rPr>
                <a:t>Part II  Indirect Equity Transfer </a:t>
              </a:r>
              <a:endParaRPr lang="en-GB" sz="900" noProof="1" smtClean="0">
                <a:solidFill>
                  <a:schemeClr val="tx2"/>
                </a:solidFill>
                <a:cs typeface="Arial" pitchFamily="34" charset="0"/>
              </a:endParaRPr>
            </a:p>
          </p:txBody>
        </p:sp>
        <p:cxnSp>
          <p:nvCxnSpPr>
            <p:cNvPr id="153" name="Divider1"/>
            <p:cNvCxnSpPr/>
            <p:nvPr>
              <p:custDataLst>
                <p:tags r:id="rId8"/>
              </p:custDataLst>
            </p:nvPr>
          </p:nvCxnSpPr>
          <p:spPr>
            <a:xfrm>
              <a:off x="7843424"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54" name="638">
              <a:hlinkClick r:id="rId14" action="ppaction://hlinksldjump"/>
            </p:cNvPr>
            <p:cNvSpPr txBox="1"/>
            <p:nvPr>
              <p:custDataLst>
                <p:tags r:id="rId9"/>
              </p:custDataLst>
            </p:nvPr>
          </p:nvSpPr>
          <p:spPr>
            <a:xfrm>
              <a:off x="5787725" y="704088"/>
              <a:ext cx="2030299" cy="138499"/>
            </a:xfrm>
            <a:prstGeom prst="rect">
              <a:avLst/>
            </a:prstGeom>
            <a:noFill/>
            <a:ln>
              <a:noFill/>
            </a:ln>
          </p:spPr>
          <p:txBody>
            <a:bodyPr wrap="none" lIns="27432" tIns="0" rIns="27432" bIns="0" rtlCol="0">
              <a:spAutoFit/>
            </a:bodyPr>
            <a:lstStyle/>
            <a:p>
              <a:r>
                <a:rPr lang="en-US" sz="900" noProof="1" smtClean="0">
                  <a:solidFill>
                    <a:schemeClr val="tx1"/>
                  </a:solidFill>
                  <a:latin typeface="+mn-lt"/>
                  <a:cs typeface="Arial" pitchFamily="34" charset="0"/>
                </a:rPr>
                <a:t>Part I  Brief Introduction to PRC GAAR</a:t>
              </a:r>
              <a:endParaRPr lang="en-GB" sz="900" noProof="1" smtClean="0">
                <a:solidFill>
                  <a:schemeClr val="tx1"/>
                </a:solidFill>
                <a:latin typeface="+mn-lt"/>
                <a:cs typeface="Arial" pitchFamily="34" charset="0"/>
              </a:endParaRPr>
            </a:p>
          </p:txBody>
        </p:sp>
        <p:cxnSp>
          <p:nvCxnSpPr>
            <p:cNvPr id="155" name="Divider2"/>
            <p:cNvCxnSpPr/>
            <p:nvPr>
              <p:custDataLst>
                <p:tags r:id="rId10"/>
              </p:custDataLst>
            </p:nvPr>
          </p:nvCxnSpPr>
          <p:spPr>
            <a:xfrm>
              <a:off x="5762325"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56" name="735">
              <a:hlinkClick r:id="rId15" action="ppaction://hlinksldjump"/>
            </p:cNvPr>
            <p:cNvSpPr txBox="1"/>
            <p:nvPr>
              <p:custDataLst>
                <p:tags r:id="rId11"/>
              </p:custDataLst>
            </p:nvPr>
          </p:nvSpPr>
          <p:spPr>
            <a:xfrm>
              <a:off x="5283980" y="704088"/>
              <a:ext cx="452945" cy="138499"/>
            </a:xfrm>
            <a:prstGeom prst="rect">
              <a:avLst/>
            </a:prstGeom>
            <a:noFill/>
            <a:ln>
              <a:noFill/>
            </a:ln>
          </p:spPr>
          <p:txBody>
            <a:bodyPr wrap="none" lIns="27432" tIns="0" rIns="27432" bIns="0" rtlCol="0">
              <a:spAutoFit/>
            </a:bodyPr>
            <a:lstStyle/>
            <a:p>
              <a:r>
                <a:rPr lang="en-GB" sz="900" noProof="1" smtClean="0">
                  <a:solidFill>
                    <a:schemeClr val="tx1"/>
                  </a:solidFill>
                  <a:latin typeface="+mn-lt"/>
                  <a:cs typeface="Arial" pitchFamily="34" charset="0"/>
                </a:rPr>
                <a:t>Agenda</a:t>
              </a:r>
              <a:endParaRPr lang="en-GB" sz="900" noProof="1" smtClean="0">
                <a:solidFill>
                  <a:schemeClr val="tx1"/>
                </a:solidFill>
                <a:latin typeface="+mn-lt"/>
                <a:cs typeface="Arial" pitchFamily="34" charset="0"/>
              </a:endParaRPr>
            </a:p>
          </p:txBody>
        </p:sp>
      </p:grpSp>
    </p:spTree>
    <p:custDataLst>
      <p:tags r:id="rId1"/>
    </p:custDataLst>
    <p:extLst>
      <p:ext uri="{BB962C8B-B14F-4D97-AF65-F5344CB8AC3E}">
        <p14:creationId xmlns:p14="http://schemas.microsoft.com/office/powerpoint/2010/main" val="18408509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en-GB"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sp>
        <p:nvSpPr>
          <p:cNvPr id="3" name="Title 2"/>
          <p:cNvSpPr>
            <a:spLocks noGrp="1"/>
          </p:cNvSpPr>
          <p:nvPr>
            <p:ph type="title"/>
          </p:nvPr>
        </p:nvSpPr>
        <p:spPr/>
        <p:txBody>
          <a:bodyPr/>
          <a:lstStyle/>
          <a:p>
            <a:r>
              <a:rPr lang="en-GB" altLang="zh-CN" dirty="0" smtClean="0"/>
              <a:t>Safe Harbour Rule </a:t>
            </a:r>
            <a:r>
              <a:rPr lang="en-GB" altLang="zh-CN" dirty="0"/>
              <a:t>(Cont’d)</a:t>
            </a:r>
            <a:endParaRPr lang="en-GB" b="0" i="0" dirty="0">
              <a:latin typeface="宋体" panose="02010600030101010101" pitchFamily="2" charset="-122"/>
              <a:ea typeface="宋体" panose="02010600030101010101" pitchFamily="2" charset="-122"/>
            </a:endParaRPr>
          </a:p>
        </p:txBody>
      </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en-GB" sz="1100" noProof="1" smtClean="0">
                <a:latin typeface="+mj-lt"/>
              </a:rPr>
              <a:t>17</a:t>
            </a:r>
            <a:endParaRPr lang="en-GB" sz="1100" noProof="1" smtClean="0">
              <a:latin typeface="+mj-lt"/>
            </a:endParaRP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en-GB" altLang="zh-CN" noProof="1" smtClean="0">
                <a:solidFill>
                  <a:schemeClr val="tx1"/>
                </a:solidFill>
                <a:latin typeface="+mj-lt"/>
                <a:ea typeface="宋体" panose="02010600030101010101" pitchFamily="2" charset="-122"/>
              </a:rPr>
              <a:t>Overview of PRC GAAR</a:t>
            </a:r>
            <a:endParaRPr lang="en-GB" noProof="1" smtClean="0">
              <a:solidFill>
                <a:schemeClr val="tx1"/>
              </a:solidFill>
              <a:latin typeface="+mj-lt"/>
              <a:ea typeface="宋体" panose="02010600030101010101" pitchFamily="2" charset="-122"/>
            </a:endParaRP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en-GB" altLang="zh-CN" sz="900" noProof="1" smtClean="0">
                <a:solidFill>
                  <a:schemeClr val="tx1"/>
                </a:solidFill>
              </a:rPr>
              <a:t>-1 Part II  Indirect Equity Transfer </a:t>
            </a:r>
            <a:endParaRPr lang="en-GB" sz="900" noProof="1" smtClean="0">
              <a:solidFill>
                <a:schemeClr val="tx1"/>
              </a:solidFill>
            </a:endParaRPr>
          </a:p>
        </p:txBody>
      </p:sp>
      <p:sp>
        <p:nvSpPr>
          <p:cNvPr id="63" name="Rectangle 62"/>
          <p:cNvSpPr/>
          <p:nvPr/>
        </p:nvSpPr>
        <p:spPr bwMode="ltGray">
          <a:xfrm>
            <a:off x="630353" y="3539688"/>
            <a:ext cx="9044639" cy="3491373"/>
          </a:xfrm>
          <a:prstGeom prst="rect">
            <a:avLst/>
          </a:prstGeom>
          <a:solidFill>
            <a:srgbClr val="FFB600">
              <a:lumMod val="20000"/>
              <a:lumOff val="80000"/>
            </a:srgbClr>
          </a:solidFill>
          <a:ln w="3175" cap="flat" cmpd="sng" algn="ctr">
            <a:noFill/>
            <a:prstDash val="solid"/>
          </a:ln>
          <a:effectLst/>
        </p:spPr>
        <p:txBody>
          <a:bodyPr rtlCol="0" anchor="ctr"/>
          <a:lstStyle/>
          <a:p>
            <a:pPr marL="0" marR="0" lvl="0" indent="0" algn="ctr" defTabSz="914186" eaLnBrk="1" fontAlgn="auto" latinLnBrk="0" hangingPunct="1">
              <a:lnSpc>
                <a:spcPct val="100000"/>
              </a:lnSpc>
              <a:spcBef>
                <a:spcPts val="0"/>
              </a:spcBef>
              <a:spcAft>
                <a:spcPts val="0"/>
              </a:spcAft>
              <a:buClrTx/>
              <a:buSzTx/>
              <a:buFontTx/>
              <a:buNone/>
              <a:tabLst/>
              <a:defRPr/>
            </a:pPr>
            <a:endParaRPr kumimoji="0" lang="en-GB" altLang="zh-CN" i="0" u="none" strike="noStrike" kern="0" cap="none" spc="0" normalizeH="0" baseline="0" noProof="0" dirty="0" err="1" smtClean="0">
              <a:ln>
                <a:noFill/>
              </a:ln>
              <a:solidFill>
                <a:srgbClr val="FFFFFF"/>
              </a:solidFill>
              <a:effectLst/>
              <a:uLnTx/>
              <a:uFillTx/>
              <a:latin typeface="+mj-lt"/>
              <a:ea typeface="宋体" panose="02010600030101010101" pitchFamily="2" charset="-122"/>
              <a:cs typeface="+mn-cs"/>
            </a:endParaRPr>
          </a:p>
        </p:txBody>
      </p:sp>
      <p:grpSp>
        <p:nvGrpSpPr>
          <p:cNvPr id="64" name="Group 63"/>
          <p:cNvGrpSpPr/>
          <p:nvPr/>
        </p:nvGrpSpPr>
        <p:grpSpPr>
          <a:xfrm>
            <a:off x="605842" y="3539688"/>
            <a:ext cx="4725584" cy="3374803"/>
            <a:chOff x="538253" y="3046779"/>
            <a:chExt cx="3379360" cy="2975504"/>
          </a:xfrm>
        </p:grpSpPr>
        <p:cxnSp>
          <p:nvCxnSpPr>
            <p:cNvPr id="65" name="Straight Connector 64"/>
            <p:cNvCxnSpPr/>
            <p:nvPr/>
          </p:nvCxnSpPr>
          <p:spPr>
            <a:xfrm>
              <a:off x="538253" y="5416304"/>
              <a:ext cx="3177956" cy="0"/>
            </a:xfrm>
            <a:prstGeom prst="line">
              <a:avLst/>
            </a:prstGeom>
            <a:noFill/>
            <a:ln w="15875" cap="flat" cmpd="sng" algn="ctr">
              <a:solidFill>
                <a:srgbClr val="0070C0"/>
              </a:solidFill>
              <a:prstDash val="dash"/>
            </a:ln>
            <a:effectLst/>
          </p:spPr>
        </p:cxnSp>
        <p:cxnSp>
          <p:nvCxnSpPr>
            <p:cNvPr id="66" name="Straight Arrow Connector 65"/>
            <p:cNvCxnSpPr>
              <a:stCxn id="68" idx="2"/>
              <a:endCxn id="69" idx="0"/>
            </p:cNvCxnSpPr>
            <p:nvPr/>
          </p:nvCxnSpPr>
          <p:spPr>
            <a:xfrm flipH="1">
              <a:off x="1046680" y="5176937"/>
              <a:ext cx="68" cy="403366"/>
            </a:xfrm>
            <a:prstGeom prst="straightConnector1">
              <a:avLst/>
            </a:prstGeom>
            <a:noFill/>
            <a:ln w="15875" cap="flat" cmpd="sng" algn="ctr">
              <a:solidFill>
                <a:srgbClr val="A32020">
                  <a:shade val="95000"/>
                  <a:satMod val="105000"/>
                </a:srgbClr>
              </a:solidFill>
              <a:prstDash val="solid"/>
              <a:tailEnd type="triangle"/>
            </a:ln>
            <a:effectLst/>
          </p:spPr>
        </p:cxnSp>
        <p:sp>
          <p:nvSpPr>
            <p:cNvPr id="67" name="Rectangle 66"/>
            <p:cNvSpPr/>
            <p:nvPr/>
          </p:nvSpPr>
          <p:spPr bwMode="ltGray">
            <a:xfrm>
              <a:off x="656098" y="3892856"/>
              <a:ext cx="818413" cy="46030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186" eaLnBrk="1" fontAlgn="auto" latinLnBrk="0" hangingPunct="1">
                <a:lnSpc>
                  <a:spcPct val="100000"/>
                </a:lnSpc>
                <a:spcBef>
                  <a:spcPts val="0"/>
                </a:spcBef>
                <a:spcAft>
                  <a:spcPts val="0"/>
                </a:spcAft>
                <a:buClrTx/>
                <a:buSzTx/>
                <a:buFontTx/>
                <a:buNone/>
                <a:tabLst/>
                <a:defRPr/>
              </a:pPr>
              <a:r>
                <a:rPr kumimoji="0" lang="en-GB" altLang="zh-CN" i="0" u="none" strike="noStrike" kern="0" cap="none" spc="0" normalizeH="0" baseline="0" noProof="0" dirty="0" smtClean="0">
                  <a:ln>
                    <a:noFill/>
                  </a:ln>
                  <a:solidFill>
                    <a:srgbClr val="FFFFFF"/>
                  </a:solidFill>
                  <a:effectLst/>
                  <a:uLnTx/>
                  <a:uFillTx/>
                  <a:latin typeface="+mj-lt"/>
                  <a:ea typeface="宋体" panose="02010600030101010101" pitchFamily="2" charset="-122"/>
                  <a:cs typeface="+mn-cs"/>
                </a:rPr>
                <a:t>Transferor</a:t>
              </a:r>
            </a:p>
          </p:txBody>
        </p:sp>
        <p:sp>
          <p:nvSpPr>
            <p:cNvPr id="68" name="Rectangle 67"/>
            <p:cNvSpPr/>
            <p:nvPr/>
          </p:nvSpPr>
          <p:spPr bwMode="ltGray">
            <a:xfrm>
              <a:off x="606024" y="4653136"/>
              <a:ext cx="881446" cy="523800"/>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lvl="0" algn="ctr" defTabSz="914186">
                <a:defRPr/>
              </a:pPr>
              <a:r>
                <a:rPr lang="en-GB" altLang="zh-CN" kern="0" dirty="0" smtClean="0">
                  <a:solidFill>
                    <a:srgbClr val="FFFFFF"/>
                  </a:solidFill>
                  <a:latin typeface="+mj-lt"/>
                  <a:ea typeface="宋体" panose="02010600030101010101" pitchFamily="2" charset="-122"/>
                </a:rPr>
                <a:t>Intermediate Holding Company</a:t>
              </a:r>
              <a:endParaRPr lang="en-GB" altLang="zh-CN" kern="0" dirty="0">
                <a:solidFill>
                  <a:srgbClr val="FFFFFF"/>
                </a:solidFill>
                <a:latin typeface="+mj-lt"/>
                <a:ea typeface="宋体" panose="02010600030101010101" pitchFamily="2" charset="-122"/>
              </a:endParaRPr>
            </a:p>
          </p:txBody>
        </p:sp>
        <p:sp>
          <p:nvSpPr>
            <p:cNvPr id="69" name="Rectangle 68"/>
            <p:cNvSpPr/>
            <p:nvPr/>
          </p:nvSpPr>
          <p:spPr bwMode="ltGray">
            <a:xfrm>
              <a:off x="605956" y="5580303"/>
              <a:ext cx="881446" cy="44198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86" eaLnBrk="1" fontAlgn="auto" latinLnBrk="0" hangingPunct="1">
                <a:lnSpc>
                  <a:spcPct val="100000"/>
                </a:lnSpc>
                <a:spcBef>
                  <a:spcPts val="0"/>
                </a:spcBef>
                <a:spcAft>
                  <a:spcPts val="0"/>
                </a:spcAft>
                <a:buClrTx/>
                <a:buSzTx/>
                <a:buFontTx/>
                <a:buNone/>
                <a:tabLst/>
                <a:defRPr/>
              </a:pPr>
              <a:r>
                <a:rPr kumimoji="0" lang="en-GB" altLang="zh-CN" i="0" u="none" strike="noStrike" kern="0" cap="none" spc="0" normalizeH="0" baseline="0" noProof="0" dirty="0" smtClean="0">
                  <a:ln>
                    <a:noFill/>
                  </a:ln>
                  <a:solidFill>
                    <a:srgbClr val="FFFFFF"/>
                  </a:solidFill>
                  <a:effectLst/>
                  <a:uLnTx/>
                  <a:uFillTx/>
                  <a:latin typeface="+mj-lt"/>
                  <a:ea typeface="宋体" panose="02010600030101010101" pitchFamily="2" charset="-122"/>
                  <a:cs typeface="+mn-cs"/>
                </a:rPr>
                <a:t>China Company</a:t>
              </a:r>
            </a:p>
          </p:txBody>
        </p:sp>
        <p:sp>
          <p:nvSpPr>
            <p:cNvPr id="76" name="TextBox 75"/>
            <p:cNvSpPr txBox="1"/>
            <p:nvPr/>
          </p:nvSpPr>
          <p:spPr>
            <a:xfrm>
              <a:off x="2681241" y="3489357"/>
              <a:ext cx="720080" cy="252028"/>
            </a:xfrm>
            <a:prstGeom prst="rect">
              <a:avLst/>
            </a:prstGeom>
            <a:noFill/>
          </p:spPr>
          <p:txBody>
            <a:bodyPr vert="horz" wrap="square" lIns="0" tIns="0" rIns="0" bIns="0" rtlCol="0">
              <a:noAutofit/>
            </a:bodyPr>
            <a:lstStyle/>
            <a:p>
              <a:pPr marL="0" marR="0" lvl="0" indent="0" defTabSz="914186" eaLnBrk="1" fontAlgn="auto" latinLnBrk="0" hangingPunct="1">
                <a:lnSpc>
                  <a:spcPct val="100000"/>
                </a:lnSpc>
                <a:spcBef>
                  <a:spcPts val="0"/>
                </a:spcBef>
                <a:spcAft>
                  <a:spcPts val="808"/>
                </a:spcAft>
                <a:buClrTx/>
                <a:buSzTx/>
                <a:buFontTx/>
                <a:buNone/>
                <a:tabLst/>
                <a:defRPr/>
              </a:pPr>
              <a:r>
                <a:rPr kumimoji="0" lang="en-GB" altLang="zh-CN" i="0" u="none" strike="noStrike" kern="0" cap="none" spc="0" normalizeH="0" baseline="0" noProof="0" dirty="0" smtClean="0">
                  <a:ln>
                    <a:noFill/>
                  </a:ln>
                  <a:solidFill>
                    <a:srgbClr val="000000"/>
                  </a:solidFill>
                  <a:effectLst/>
                  <a:uLnTx/>
                  <a:uFillTx/>
                  <a:latin typeface="+mj-lt"/>
                  <a:ea typeface="宋体" panose="02010600030101010101" pitchFamily="2" charset="-122"/>
                </a:rPr>
                <a:t>80%</a:t>
              </a:r>
            </a:p>
          </p:txBody>
        </p:sp>
        <p:sp>
          <p:nvSpPr>
            <p:cNvPr id="77" name="TextBox 76"/>
            <p:cNvSpPr txBox="1"/>
            <p:nvPr/>
          </p:nvSpPr>
          <p:spPr>
            <a:xfrm>
              <a:off x="3356010" y="5221012"/>
              <a:ext cx="505063" cy="200966"/>
            </a:xfrm>
            <a:prstGeom prst="rect">
              <a:avLst/>
            </a:prstGeom>
            <a:noFill/>
          </p:spPr>
          <p:txBody>
            <a:bodyPr vert="horz" wrap="square" lIns="0" tIns="0" rIns="0" bIns="0" rtlCol="0">
              <a:noAutofit/>
            </a:bodyPr>
            <a:lstStyle/>
            <a:p>
              <a:pPr marL="0" marR="0" lvl="0" indent="0" defTabSz="914186" eaLnBrk="1" fontAlgn="auto" latinLnBrk="0" hangingPunct="1">
                <a:lnSpc>
                  <a:spcPct val="100000"/>
                </a:lnSpc>
                <a:spcBef>
                  <a:spcPts val="0"/>
                </a:spcBef>
                <a:spcAft>
                  <a:spcPts val="808"/>
                </a:spcAft>
                <a:buClrTx/>
                <a:buSzTx/>
                <a:buFontTx/>
                <a:buNone/>
                <a:tabLst/>
                <a:defRPr/>
              </a:pPr>
              <a:r>
                <a:rPr lang="en-GB" altLang="zh-CN" kern="0" dirty="0" smtClean="0">
                  <a:solidFill>
                    <a:srgbClr val="000000"/>
                  </a:solidFill>
                  <a:latin typeface="+mj-lt"/>
                  <a:ea typeface="宋体" panose="02010600030101010101" pitchFamily="2" charset="-122"/>
                </a:rPr>
                <a:t>Overseas</a:t>
              </a:r>
              <a:endParaRPr kumimoji="0" lang="en-GB" altLang="zh-CN" i="0" u="none" strike="noStrike" kern="0" cap="none" spc="0" normalizeH="0" baseline="0" noProof="0" dirty="0" smtClean="0">
                <a:ln>
                  <a:noFill/>
                </a:ln>
                <a:solidFill>
                  <a:srgbClr val="000000"/>
                </a:solidFill>
                <a:effectLst/>
                <a:uLnTx/>
                <a:uFillTx/>
                <a:latin typeface="+mj-lt"/>
                <a:ea typeface="宋体" panose="02010600030101010101" pitchFamily="2" charset="-122"/>
              </a:endParaRPr>
            </a:p>
          </p:txBody>
        </p:sp>
        <p:sp>
          <p:nvSpPr>
            <p:cNvPr id="78" name="TextBox 77"/>
            <p:cNvSpPr txBox="1"/>
            <p:nvPr/>
          </p:nvSpPr>
          <p:spPr>
            <a:xfrm>
              <a:off x="3485357" y="5447540"/>
              <a:ext cx="432256" cy="238091"/>
            </a:xfrm>
            <a:prstGeom prst="rect">
              <a:avLst/>
            </a:prstGeom>
            <a:noFill/>
          </p:spPr>
          <p:txBody>
            <a:bodyPr vert="horz" wrap="square" lIns="0" tIns="0" rIns="0" bIns="0" rtlCol="0">
              <a:noAutofit/>
            </a:bodyPr>
            <a:lstStyle/>
            <a:p>
              <a:pPr marL="0" marR="0" lvl="0" indent="0" defTabSz="914186" eaLnBrk="1" fontAlgn="auto" latinLnBrk="0" hangingPunct="1">
                <a:lnSpc>
                  <a:spcPct val="100000"/>
                </a:lnSpc>
                <a:spcBef>
                  <a:spcPts val="0"/>
                </a:spcBef>
                <a:spcAft>
                  <a:spcPts val="808"/>
                </a:spcAft>
                <a:buClrTx/>
                <a:buSzTx/>
                <a:buFontTx/>
                <a:buNone/>
                <a:tabLst/>
                <a:defRPr/>
              </a:pPr>
              <a:r>
                <a:rPr lang="en-GB" altLang="zh-CN" kern="0" dirty="0" smtClean="0">
                  <a:solidFill>
                    <a:srgbClr val="000000"/>
                  </a:solidFill>
                  <a:latin typeface="+mj-lt"/>
                  <a:ea typeface="宋体" panose="02010600030101010101" pitchFamily="2" charset="-122"/>
                </a:rPr>
                <a:t>China</a:t>
              </a:r>
              <a:endParaRPr kumimoji="0" lang="en-GB" altLang="zh-CN" i="0" u="none" strike="noStrike" kern="0" cap="none" spc="0" normalizeH="0" baseline="0" noProof="0" dirty="0" smtClean="0">
                <a:ln>
                  <a:noFill/>
                </a:ln>
                <a:solidFill>
                  <a:srgbClr val="000000"/>
                </a:solidFill>
                <a:effectLst/>
                <a:uLnTx/>
                <a:uFillTx/>
                <a:latin typeface="+mj-lt"/>
                <a:ea typeface="宋体" panose="02010600030101010101" pitchFamily="2" charset="-122"/>
              </a:endParaRPr>
            </a:p>
          </p:txBody>
        </p:sp>
        <p:sp>
          <p:nvSpPr>
            <p:cNvPr id="79" name="TextBox 78"/>
            <p:cNvSpPr txBox="1"/>
            <p:nvPr/>
          </p:nvSpPr>
          <p:spPr>
            <a:xfrm>
              <a:off x="580140" y="3046779"/>
              <a:ext cx="865079" cy="360040"/>
            </a:xfrm>
            <a:prstGeom prst="rect">
              <a:avLst/>
            </a:prstGeom>
            <a:noFill/>
          </p:spPr>
          <p:txBody>
            <a:bodyPr vert="horz" wrap="square" lIns="0" tIns="0" rIns="0" bIns="0" rtlCol="0">
              <a:noAutofit/>
            </a:bodyPr>
            <a:lstStyle/>
            <a:p>
              <a:pPr marL="0" marR="0" lvl="0" indent="0" defTabSz="914186" eaLnBrk="1" fontAlgn="auto" latinLnBrk="0" hangingPunct="1">
                <a:lnSpc>
                  <a:spcPct val="100000"/>
                </a:lnSpc>
                <a:spcBef>
                  <a:spcPts val="0"/>
                </a:spcBef>
                <a:spcAft>
                  <a:spcPts val="808"/>
                </a:spcAft>
                <a:buClrTx/>
                <a:buSzTx/>
                <a:buFontTx/>
                <a:buNone/>
                <a:tabLst/>
                <a:defRPr/>
              </a:pPr>
              <a:endParaRPr kumimoji="0" lang="en-GB" altLang="zh-CN" i="0" u="none" strike="noStrike" kern="0" cap="none" spc="0" normalizeH="0" baseline="0" noProof="0" dirty="0" err="1" smtClean="0">
                <a:ln>
                  <a:noFill/>
                </a:ln>
                <a:solidFill>
                  <a:srgbClr val="000000"/>
                </a:solidFill>
                <a:effectLst/>
                <a:uLnTx/>
                <a:uFillTx/>
                <a:latin typeface="+mj-lt"/>
                <a:ea typeface="宋体" panose="02010600030101010101" pitchFamily="2" charset="-122"/>
              </a:endParaRPr>
            </a:p>
          </p:txBody>
        </p:sp>
        <p:sp>
          <p:nvSpPr>
            <p:cNvPr id="80" name="Rectangle 79"/>
            <p:cNvSpPr/>
            <p:nvPr/>
          </p:nvSpPr>
          <p:spPr bwMode="ltGray">
            <a:xfrm>
              <a:off x="1487470" y="3146750"/>
              <a:ext cx="956313" cy="354258"/>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186" eaLnBrk="1" fontAlgn="auto" latinLnBrk="0" hangingPunct="1">
                <a:lnSpc>
                  <a:spcPct val="100000"/>
                </a:lnSpc>
                <a:spcBef>
                  <a:spcPts val="0"/>
                </a:spcBef>
                <a:spcAft>
                  <a:spcPts val="0"/>
                </a:spcAft>
                <a:buClrTx/>
                <a:buSzTx/>
                <a:buFontTx/>
                <a:buNone/>
                <a:tabLst/>
                <a:defRPr/>
              </a:pPr>
              <a:r>
                <a:rPr kumimoji="0" lang="en-GB" altLang="zh-CN" i="0" u="none" strike="noStrike" kern="0" cap="none" spc="0" normalizeH="0" baseline="0" noProof="0" dirty="0" smtClean="0">
                  <a:ln>
                    <a:noFill/>
                  </a:ln>
                  <a:solidFill>
                    <a:srgbClr val="FFFFFF"/>
                  </a:solidFill>
                  <a:effectLst/>
                  <a:uLnTx/>
                  <a:uFillTx/>
                  <a:latin typeface="+mj-lt"/>
                  <a:ea typeface="宋体" panose="02010600030101010101" pitchFamily="2" charset="-122"/>
                  <a:cs typeface="+mn-cs"/>
                </a:rPr>
                <a:t>Group HQ</a:t>
              </a:r>
            </a:p>
          </p:txBody>
        </p:sp>
        <p:sp>
          <p:nvSpPr>
            <p:cNvPr id="81" name="TextBox 80"/>
            <p:cNvSpPr txBox="1"/>
            <p:nvPr/>
          </p:nvSpPr>
          <p:spPr>
            <a:xfrm>
              <a:off x="1096703" y="3471109"/>
              <a:ext cx="720080" cy="252028"/>
            </a:xfrm>
            <a:prstGeom prst="rect">
              <a:avLst/>
            </a:prstGeom>
            <a:noFill/>
          </p:spPr>
          <p:txBody>
            <a:bodyPr vert="horz" wrap="square" lIns="0" tIns="0" rIns="0" bIns="0" rtlCol="0">
              <a:noAutofit/>
            </a:bodyPr>
            <a:lstStyle/>
            <a:p>
              <a:pPr marL="0" marR="0" lvl="0" indent="0" defTabSz="914186" eaLnBrk="1" fontAlgn="auto" latinLnBrk="0" hangingPunct="1">
                <a:lnSpc>
                  <a:spcPct val="100000"/>
                </a:lnSpc>
                <a:spcBef>
                  <a:spcPts val="0"/>
                </a:spcBef>
                <a:spcAft>
                  <a:spcPts val="808"/>
                </a:spcAft>
                <a:buClrTx/>
                <a:buSzTx/>
                <a:buFontTx/>
                <a:buNone/>
                <a:tabLst/>
                <a:defRPr/>
              </a:pPr>
              <a:r>
                <a:rPr kumimoji="0" lang="en-GB" altLang="zh-CN" i="0" u="none" strike="noStrike" kern="0" cap="none" spc="0" normalizeH="0" baseline="0" noProof="0" dirty="0" smtClean="0">
                  <a:ln>
                    <a:noFill/>
                  </a:ln>
                  <a:solidFill>
                    <a:srgbClr val="000000"/>
                  </a:solidFill>
                  <a:effectLst/>
                  <a:uLnTx/>
                  <a:uFillTx/>
                  <a:latin typeface="+mj-lt"/>
                  <a:ea typeface="宋体" panose="02010600030101010101" pitchFamily="2" charset="-122"/>
                </a:rPr>
                <a:t>80%</a:t>
              </a:r>
            </a:p>
          </p:txBody>
        </p:sp>
        <p:sp>
          <p:nvSpPr>
            <p:cNvPr id="82" name="Multiply 81"/>
            <p:cNvSpPr/>
            <p:nvPr/>
          </p:nvSpPr>
          <p:spPr bwMode="ltGray">
            <a:xfrm>
              <a:off x="964349" y="4381126"/>
              <a:ext cx="185015" cy="216024"/>
            </a:xfrm>
            <a:prstGeom prst="mathMultiply">
              <a:avLst/>
            </a:prstGeom>
            <a:solidFill>
              <a:srgbClr val="A32020"/>
            </a:solidFill>
            <a:ln w="3175" cap="flat" cmpd="sng" algn="ctr">
              <a:solidFill>
                <a:srgbClr val="A32020">
                  <a:shade val="50000"/>
                </a:srgbClr>
              </a:solidFill>
              <a:prstDash val="solid"/>
            </a:ln>
            <a:effectLst/>
          </p:spPr>
          <p:txBody>
            <a:bodyPr rtlCol="0" anchor="ctr"/>
            <a:lstStyle/>
            <a:p>
              <a:pPr marL="0" marR="0" lvl="0" indent="0" algn="ctr" defTabSz="914186" eaLnBrk="1" fontAlgn="auto" latinLnBrk="0" hangingPunct="1">
                <a:lnSpc>
                  <a:spcPct val="100000"/>
                </a:lnSpc>
                <a:spcBef>
                  <a:spcPts val="0"/>
                </a:spcBef>
                <a:spcAft>
                  <a:spcPts val="0"/>
                </a:spcAft>
                <a:buClrTx/>
                <a:buSzTx/>
                <a:buFontTx/>
                <a:buNone/>
                <a:tabLst/>
                <a:defRPr/>
              </a:pPr>
              <a:endParaRPr kumimoji="0" lang="en-GB" altLang="zh-CN" i="0" u="none" strike="noStrike" kern="0" cap="none" spc="0" normalizeH="0" baseline="0" noProof="0" dirty="0" err="1" smtClean="0">
                <a:ln>
                  <a:noFill/>
                </a:ln>
                <a:solidFill>
                  <a:srgbClr val="FFFFFF"/>
                </a:solidFill>
                <a:effectLst/>
                <a:uLnTx/>
                <a:uFillTx/>
                <a:latin typeface="+mj-lt"/>
                <a:ea typeface="宋体" panose="02010600030101010101" pitchFamily="2" charset="-122"/>
                <a:cs typeface="+mn-cs"/>
              </a:endParaRPr>
            </a:p>
          </p:txBody>
        </p:sp>
        <p:sp>
          <p:nvSpPr>
            <p:cNvPr id="83" name="Rectangle 82"/>
            <p:cNvSpPr/>
            <p:nvPr/>
          </p:nvSpPr>
          <p:spPr bwMode="ltGray">
            <a:xfrm>
              <a:off x="2443784" y="3875417"/>
              <a:ext cx="826482" cy="472249"/>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marL="0" marR="0" lvl="0" indent="0" algn="ctr" defTabSz="914186" eaLnBrk="1" fontAlgn="auto" latinLnBrk="0" hangingPunct="1">
                <a:lnSpc>
                  <a:spcPct val="100000"/>
                </a:lnSpc>
                <a:spcBef>
                  <a:spcPts val="0"/>
                </a:spcBef>
                <a:spcAft>
                  <a:spcPts val="0"/>
                </a:spcAft>
                <a:buClrTx/>
                <a:buSzTx/>
                <a:buFontTx/>
                <a:buNone/>
                <a:tabLst/>
                <a:defRPr/>
              </a:pPr>
              <a:r>
                <a:rPr kumimoji="0" lang="en-GB" altLang="zh-CN" i="0" u="none" strike="noStrike" kern="0" cap="none" spc="0" normalizeH="0" baseline="0" noProof="0" dirty="0" smtClean="0">
                  <a:ln>
                    <a:noFill/>
                  </a:ln>
                  <a:solidFill>
                    <a:srgbClr val="FFFFFF"/>
                  </a:solidFill>
                  <a:effectLst/>
                  <a:uLnTx/>
                  <a:uFillTx/>
                  <a:latin typeface="+mj-lt"/>
                  <a:ea typeface="宋体" panose="02010600030101010101" pitchFamily="2" charset="-122"/>
                  <a:cs typeface="+mn-cs"/>
                </a:rPr>
                <a:t>Transferee</a:t>
              </a:r>
            </a:p>
          </p:txBody>
        </p:sp>
        <p:sp>
          <p:nvSpPr>
            <p:cNvPr id="84" name="TextBox 83"/>
            <p:cNvSpPr txBox="1"/>
            <p:nvPr/>
          </p:nvSpPr>
          <p:spPr>
            <a:xfrm>
              <a:off x="1794474" y="3999230"/>
              <a:ext cx="648325" cy="419226"/>
            </a:xfrm>
            <a:prstGeom prst="rect">
              <a:avLst/>
            </a:prstGeom>
            <a:noFill/>
          </p:spPr>
          <p:txBody>
            <a:bodyPr vert="horz" wrap="square" lIns="0" tIns="0" rIns="0" bIns="0" rtlCol="0">
              <a:noAutofit/>
            </a:bodyPr>
            <a:lstStyle/>
            <a:p>
              <a:pPr marL="0" marR="0" lvl="0" indent="0" defTabSz="914186" eaLnBrk="1" fontAlgn="auto" latinLnBrk="0" hangingPunct="1">
                <a:lnSpc>
                  <a:spcPct val="100000"/>
                </a:lnSpc>
                <a:spcBef>
                  <a:spcPts val="0"/>
                </a:spcBef>
                <a:spcAft>
                  <a:spcPts val="808"/>
                </a:spcAft>
                <a:buClrTx/>
                <a:buSzTx/>
                <a:buFontTx/>
                <a:buNone/>
                <a:tabLst/>
                <a:defRPr/>
              </a:pPr>
              <a:r>
                <a:rPr lang="en-GB" altLang="zh-CN" kern="0" dirty="0" smtClean="0">
                  <a:solidFill>
                    <a:srgbClr val="000000"/>
                  </a:solidFill>
                  <a:latin typeface="+mj-lt"/>
                  <a:ea typeface="宋体" panose="02010600030101010101" pitchFamily="2" charset="-122"/>
                </a:rPr>
                <a:t>Subsidiary’s equity</a:t>
              </a:r>
              <a:endParaRPr kumimoji="0" lang="en-GB" altLang="zh-CN" i="0" u="none" strike="noStrike" kern="0" cap="none" spc="0" normalizeH="0" baseline="0" noProof="0" dirty="0" smtClean="0">
                <a:ln>
                  <a:noFill/>
                </a:ln>
                <a:solidFill>
                  <a:srgbClr val="000000"/>
                </a:solidFill>
                <a:effectLst/>
                <a:uLnTx/>
                <a:uFillTx/>
                <a:latin typeface="+mj-lt"/>
                <a:ea typeface="宋体" panose="02010600030101010101" pitchFamily="2" charset="-122"/>
              </a:endParaRPr>
            </a:p>
          </p:txBody>
        </p:sp>
      </p:grpSp>
      <p:cxnSp>
        <p:nvCxnSpPr>
          <p:cNvPr id="85" name="Straight Arrow Connector 84"/>
          <p:cNvCxnSpPr>
            <a:stCxn id="67" idx="2"/>
          </p:cNvCxnSpPr>
          <p:nvPr/>
        </p:nvCxnSpPr>
        <p:spPr>
          <a:xfrm>
            <a:off x="1342854" y="5021385"/>
            <a:ext cx="2675" cy="340226"/>
          </a:xfrm>
          <a:prstGeom prst="straightConnector1">
            <a:avLst/>
          </a:prstGeom>
          <a:noFill/>
          <a:ln w="15875" cap="flat" cmpd="sng" algn="ctr">
            <a:solidFill>
              <a:srgbClr val="A32020">
                <a:shade val="95000"/>
                <a:satMod val="105000"/>
              </a:srgbClr>
            </a:solidFill>
            <a:prstDash val="solid"/>
            <a:tailEnd type="triangle"/>
          </a:ln>
          <a:effectLst/>
        </p:spPr>
      </p:cxnSp>
      <p:sp>
        <p:nvSpPr>
          <p:cNvPr id="86" name="Rectangle 85"/>
          <p:cNvSpPr/>
          <p:nvPr/>
        </p:nvSpPr>
        <p:spPr bwMode="ltGray">
          <a:xfrm>
            <a:off x="3277486" y="5319183"/>
            <a:ext cx="1155725" cy="594092"/>
          </a:xfrm>
          <a:prstGeom prst="rect">
            <a:avLst/>
          </a:prstGeom>
          <a:solidFill>
            <a:srgbClr val="FFFFFF">
              <a:lumMod val="50000"/>
            </a:srgbClr>
          </a:solidFill>
          <a:ln w="3175" cap="flat" cmpd="sng" algn="ctr">
            <a:noFill/>
            <a:prstDash val="solid"/>
          </a:ln>
          <a:effectLst/>
        </p:spPr>
        <p:txBody>
          <a:bodyPr rtlCol="0" anchor="ctr"/>
          <a:lstStyle/>
          <a:p>
            <a:pPr marL="0" marR="0" lvl="0" indent="0" algn="ctr" defTabSz="914186" eaLnBrk="1" fontAlgn="auto" latinLnBrk="0" hangingPunct="1">
              <a:lnSpc>
                <a:spcPct val="100000"/>
              </a:lnSpc>
              <a:spcBef>
                <a:spcPts val="0"/>
              </a:spcBef>
              <a:spcAft>
                <a:spcPts val="0"/>
              </a:spcAft>
              <a:buClrTx/>
              <a:buSzTx/>
              <a:buFontTx/>
              <a:buNone/>
              <a:tabLst/>
              <a:defRPr/>
            </a:pPr>
            <a:r>
              <a:rPr lang="en-GB" altLang="zh-CN" kern="0" dirty="0" smtClean="0">
                <a:solidFill>
                  <a:srgbClr val="FFFFFF"/>
                </a:solidFill>
                <a:latin typeface="+mj-lt"/>
                <a:ea typeface="宋体" panose="02010600030101010101" pitchFamily="2" charset="-122"/>
              </a:rPr>
              <a:t>Subsidiary</a:t>
            </a:r>
            <a:endParaRPr kumimoji="0" lang="en-GB" altLang="zh-CN" i="0" u="none" strike="noStrike" kern="0" cap="none" spc="0" normalizeH="0" baseline="0" noProof="0" dirty="0" smtClean="0">
              <a:ln>
                <a:noFill/>
              </a:ln>
              <a:solidFill>
                <a:srgbClr val="FFFFFF"/>
              </a:solidFill>
              <a:effectLst/>
              <a:uLnTx/>
              <a:uFillTx/>
              <a:latin typeface="+mj-lt"/>
              <a:ea typeface="宋体" panose="02010600030101010101" pitchFamily="2" charset="-122"/>
            </a:endParaRPr>
          </a:p>
        </p:txBody>
      </p:sp>
      <p:cxnSp>
        <p:nvCxnSpPr>
          <p:cNvPr id="87" name="Straight Connector 86"/>
          <p:cNvCxnSpPr>
            <a:stCxn id="83" idx="2"/>
            <a:endCxn id="86" idx="0"/>
          </p:cNvCxnSpPr>
          <p:nvPr/>
        </p:nvCxnSpPr>
        <p:spPr>
          <a:xfrm>
            <a:off x="3848336" y="5015148"/>
            <a:ext cx="7013" cy="304035"/>
          </a:xfrm>
          <a:prstGeom prst="line">
            <a:avLst/>
          </a:prstGeom>
          <a:noFill/>
          <a:ln w="15875" cap="flat" cmpd="sng" algn="ctr">
            <a:solidFill>
              <a:srgbClr val="A32020">
                <a:shade val="95000"/>
                <a:satMod val="105000"/>
              </a:srgbClr>
            </a:solidFill>
            <a:prstDash val="solid"/>
            <a:tailEnd type="triangle"/>
          </a:ln>
          <a:effectLst/>
        </p:spPr>
      </p:cxnSp>
      <p:cxnSp>
        <p:nvCxnSpPr>
          <p:cNvPr id="88" name="Straight Connector 87"/>
          <p:cNvCxnSpPr/>
          <p:nvPr/>
        </p:nvCxnSpPr>
        <p:spPr>
          <a:xfrm>
            <a:off x="5548751" y="6210607"/>
            <a:ext cx="3778269" cy="0"/>
          </a:xfrm>
          <a:prstGeom prst="line">
            <a:avLst/>
          </a:prstGeom>
          <a:noFill/>
          <a:ln w="15875" cap="flat" cmpd="sng" algn="ctr">
            <a:solidFill>
              <a:srgbClr val="0070C0"/>
            </a:solidFill>
            <a:prstDash val="dash"/>
          </a:ln>
          <a:effectLst/>
        </p:spPr>
      </p:cxnSp>
      <p:cxnSp>
        <p:nvCxnSpPr>
          <p:cNvPr id="89" name="Straight Arrow Connector 88"/>
          <p:cNvCxnSpPr>
            <a:stCxn id="92" idx="2"/>
            <a:endCxn id="93" idx="0"/>
          </p:cNvCxnSpPr>
          <p:nvPr/>
        </p:nvCxnSpPr>
        <p:spPr>
          <a:xfrm>
            <a:off x="8219258" y="5913275"/>
            <a:ext cx="0" cy="515284"/>
          </a:xfrm>
          <a:prstGeom prst="straightConnector1">
            <a:avLst/>
          </a:prstGeom>
          <a:noFill/>
          <a:ln w="15875" cap="flat" cmpd="sng" algn="ctr">
            <a:solidFill>
              <a:srgbClr val="A32020">
                <a:shade val="95000"/>
                <a:satMod val="105000"/>
              </a:srgbClr>
            </a:solidFill>
            <a:prstDash val="solid"/>
            <a:tailEnd type="triangle"/>
          </a:ln>
          <a:effectLst/>
        </p:spPr>
      </p:cxnSp>
      <p:sp>
        <p:nvSpPr>
          <p:cNvPr id="90" name="Rectangle 89"/>
          <p:cNvSpPr/>
          <p:nvPr/>
        </p:nvSpPr>
        <p:spPr bwMode="ltGray">
          <a:xfrm>
            <a:off x="5692636" y="4516945"/>
            <a:ext cx="999255" cy="486799"/>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186" eaLnBrk="1" fontAlgn="auto" latinLnBrk="0" hangingPunct="1">
              <a:lnSpc>
                <a:spcPct val="100000"/>
              </a:lnSpc>
              <a:spcBef>
                <a:spcPts val="0"/>
              </a:spcBef>
              <a:spcAft>
                <a:spcPts val="0"/>
              </a:spcAft>
              <a:buClrTx/>
              <a:buSzTx/>
              <a:buFontTx/>
              <a:buNone/>
              <a:tabLst/>
              <a:defRPr/>
            </a:pPr>
            <a:r>
              <a:rPr kumimoji="0" lang="en-GB" altLang="zh-CN" i="0" u="none" strike="noStrike" kern="0" cap="none" spc="0" normalizeH="0" baseline="0" noProof="0" dirty="0" smtClean="0">
                <a:ln>
                  <a:noFill/>
                </a:ln>
                <a:solidFill>
                  <a:srgbClr val="FFFFFF"/>
                </a:solidFill>
                <a:effectLst/>
                <a:uLnTx/>
                <a:uFillTx/>
                <a:latin typeface="+mj-lt"/>
                <a:ea typeface="宋体" panose="02010600030101010101" pitchFamily="2" charset="-122"/>
                <a:cs typeface="+mn-cs"/>
              </a:rPr>
              <a:t>Transferor</a:t>
            </a:r>
          </a:p>
        </p:txBody>
      </p:sp>
      <p:sp>
        <p:nvSpPr>
          <p:cNvPr id="91" name="Rectangle 90"/>
          <p:cNvSpPr/>
          <p:nvPr/>
        </p:nvSpPr>
        <p:spPr bwMode="ltGray">
          <a:xfrm>
            <a:off x="7675103" y="4507767"/>
            <a:ext cx="1076216" cy="499426"/>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marL="0" marR="0" lvl="0" indent="0" algn="ctr" defTabSz="914186" eaLnBrk="1" fontAlgn="auto" latinLnBrk="0" hangingPunct="1">
              <a:lnSpc>
                <a:spcPct val="100000"/>
              </a:lnSpc>
              <a:spcBef>
                <a:spcPts val="0"/>
              </a:spcBef>
              <a:spcAft>
                <a:spcPts val="0"/>
              </a:spcAft>
              <a:buClrTx/>
              <a:buSzTx/>
              <a:buFontTx/>
              <a:buNone/>
              <a:tabLst/>
              <a:defRPr/>
            </a:pPr>
            <a:r>
              <a:rPr kumimoji="0" lang="en-GB" altLang="zh-CN" i="0" u="none" strike="noStrike" kern="0" cap="none" spc="0" normalizeH="0" baseline="0" noProof="0" dirty="0" smtClean="0">
                <a:ln>
                  <a:noFill/>
                </a:ln>
                <a:solidFill>
                  <a:srgbClr val="FFFFFF"/>
                </a:solidFill>
                <a:effectLst/>
                <a:uLnTx/>
                <a:uFillTx/>
                <a:latin typeface="+mj-lt"/>
                <a:ea typeface="宋体" panose="02010600030101010101" pitchFamily="2" charset="-122"/>
                <a:cs typeface="+mn-cs"/>
              </a:rPr>
              <a:t>Transferee</a:t>
            </a:r>
          </a:p>
        </p:txBody>
      </p:sp>
      <p:sp>
        <p:nvSpPr>
          <p:cNvPr id="92" name="Rectangle 91"/>
          <p:cNvSpPr/>
          <p:nvPr/>
        </p:nvSpPr>
        <p:spPr bwMode="ltGray">
          <a:xfrm>
            <a:off x="7681150" y="5359332"/>
            <a:ext cx="1076216" cy="553943"/>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lvl="0" algn="ctr" defTabSz="914186">
              <a:defRPr/>
            </a:pPr>
            <a:r>
              <a:rPr lang="en-GB" altLang="zh-CN" kern="0" dirty="0" smtClean="0">
                <a:solidFill>
                  <a:srgbClr val="FFFFFF"/>
                </a:solidFill>
                <a:latin typeface="+mj-lt"/>
                <a:ea typeface="宋体" panose="02010600030101010101" pitchFamily="2" charset="-122"/>
              </a:rPr>
              <a:t>Intermediate Holding Company</a:t>
            </a:r>
            <a:endParaRPr lang="en-GB" altLang="zh-CN" kern="0" dirty="0">
              <a:solidFill>
                <a:srgbClr val="FFFFFF"/>
              </a:solidFill>
              <a:latin typeface="+mj-lt"/>
              <a:ea typeface="宋体" panose="02010600030101010101" pitchFamily="2" charset="-122"/>
            </a:endParaRPr>
          </a:p>
        </p:txBody>
      </p:sp>
      <p:sp>
        <p:nvSpPr>
          <p:cNvPr id="93" name="Rectangle 92"/>
          <p:cNvSpPr/>
          <p:nvPr/>
        </p:nvSpPr>
        <p:spPr bwMode="ltGray">
          <a:xfrm>
            <a:off x="7681150" y="6428559"/>
            <a:ext cx="1076216" cy="467415"/>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186" eaLnBrk="1" fontAlgn="auto" latinLnBrk="0" hangingPunct="1">
              <a:lnSpc>
                <a:spcPct val="100000"/>
              </a:lnSpc>
              <a:spcBef>
                <a:spcPts val="0"/>
              </a:spcBef>
              <a:spcAft>
                <a:spcPts val="0"/>
              </a:spcAft>
              <a:buClrTx/>
              <a:buSzTx/>
              <a:buFontTx/>
              <a:buNone/>
              <a:tabLst/>
              <a:defRPr/>
            </a:pPr>
            <a:r>
              <a:rPr kumimoji="0" lang="en-GB" altLang="zh-CN" i="0" u="none" strike="noStrike" kern="0" cap="none" spc="0" normalizeH="0" baseline="0" noProof="0" dirty="0" smtClean="0">
                <a:ln>
                  <a:noFill/>
                </a:ln>
                <a:solidFill>
                  <a:srgbClr val="FFFFFF"/>
                </a:solidFill>
                <a:effectLst/>
                <a:uLnTx/>
                <a:uFillTx/>
                <a:latin typeface="+mj-lt"/>
                <a:ea typeface="宋体" panose="02010600030101010101" pitchFamily="2" charset="-122"/>
                <a:cs typeface="+mn-cs"/>
              </a:rPr>
              <a:t>China Company</a:t>
            </a:r>
          </a:p>
        </p:txBody>
      </p:sp>
      <p:sp>
        <p:nvSpPr>
          <p:cNvPr id="94" name="TextBox 93"/>
          <p:cNvSpPr txBox="1"/>
          <p:nvPr/>
        </p:nvSpPr>
        <p:spPr>
          <a:xfrm>
            <a:off x="8003440" y="4115099"/>
            <a:ext cx="879193" cy="266532"/>
          </a:xfrm>
          <a:prstGeom prst="rect">
            <a:avLst/>
          </a:prstGeom>
          <a:noFill/>
        </p:spPr>
        <p:txBody>
          <a:bodyPr vert="horz" wrap="square" lIns="0" tIns="0" rIns="0" bIns="0" rtlCol="0">
            <a:noAutofit/>
          </a:bodyPr>
          <a:lstStyle/>
          <a:p>
            <a:pPr marL="0" marR="0" lvl="0" indent="0" defTabSz="914186" eaLnBrk="1" fontAlgn="auto" latinLnBrk="0" hangingPunct="1">
              <a:lnSpc>
                <a:spcPct val="100000"/>
              </a:lnSpc>
              <a:spcBef>
                <a:spcPts val="0"/>
              </a:spcBef>
              <a:spcAft>
                <a:spcPts val="808"/>
              </a:spcAft>
              <a:buClrTx/>
              <a:buSzTx/>
              <a:buFontTx/>
              <a:buNone/>
              <a:tabLst/>
              <a:defRPr/>
            </a:pPr>
            <a:r>
              <a:rPr kumimoji="0" lang="en-GB" altLang="zh-CN" i="0" u="none" strike="noStrike" kern="0" cap="none" spc="0" normalizeH="0" baseline="0" noProof="0" dirty="0" smtClean="0">
                <a:ln>
                  <a:noFill/>
                </a:ln>
                <a:solidFill>
                  <a:srgbClr val="000000"/>
                </a:solidFill>
                <a:effectLst/>
                <a:uLnTx/>
                <a:uFillTx/>
                <a:latin typeface="+mj-lt"/>
                <a:ea typeface="宋体" panose="02010600030101010101" pitchFamily="2" charset="-122"/>
              </a:rPr>
              <a:t>80%</a:t>
            </a:r>
          </a:p>
        </p:txBody>
      </p:sp>
      <p:sp>
        <p:nvSpPr>
          <p:cNvPr id="95" name="TextBox 94"/>
          <p:cNvSpPr txBox="1"/>
          <p:nvPr/>
        </p:nvSpPr>
        <p:spPr>
          <a:xfrm>
            <a:off x="8845572" y="5993765"/>
            <a:ext cx="664739" cy="251793"/>
          </a:xfrm>
          <a:prstGeom prst="rect">
            <a:avLst/>
          </a:prstGeom>
          <a:noFill/>
        </p:spPr>
        <p:txBody>
          <a:bodyPr vert="horz" wrap="square" lIns="0" tIns="0" rIns="0" bIns="0" rtlCol="0">
            <a:noAutofit/>
          </a:bodyPr>
          <a:lstStyle/>
          <a:p>
            <a:pPr lvl="0" defTabSz="914186">
              <a:spcAft>
                <a:spcPts val="808"/>
              </a:spcAft>
              <a:defRPr/>
            </a:pPr>
            <a:r>
              <a:rPr lang="en-GB" altLang="zh-CN" kern="0" dirty="0" smtClean="0">
                <a:solidFill>
                  <a:srgbClr val="000000"/>
                </a:solidFill>
                <a:latin typeface="Georgia"/>
                <a:ea typeface="宋体" panose="02010600030101010101" pitchFamily="2" charset="-122"/>
              </a:rPr>
              <a:t>Overseas</a:t>
            </a:r>
            <a:endParaRPr lang="en-GB" altLang="zh-CN" kern="0" dirty="0">
              <a:solidFill>
                <a:srgbClr val="000000"/>
              </a:solidFill>
              <a:latin typeface="Georgia"/>
              <a:ea typeface="宋体" panose="02010600030101010101" pitchFamily="2" charset="-122"/>
            </a:endParaRPr>
          </a:p>
        </p:txBody>
      </p:sp>
      <p:sp>
        <p:nvSpPr>
          <p:cNvPr id="96" name="TextBox 95"/>
          <p:cNvSpPr txBox="1"/>
          <p:nvPr/>
        </p:nvSpPr>
        <p:spPr>
          <a:xfrm>
            <a:off x="8991134" y="6270810"/>
            <a:ext cx="527770" cy="251793"/>
          </a:xfrm>
          <a:prstGeom prst="rect">
            <a:avLst/>
          </a:prstGeom>
          <a:noFill/>
        </p:spPr>
        <p:txBody>
          <a:bodyPr vert="horz" wrap="square" lIns="0" tIns="0" rIns="0" bIns="0" rtlCol="0">
            <a:noAutofit/>
          </a:bodyPr>
          <a:lstStyle/>
          <a:p>
            <a:pPr marL="0" marR="0" lvl="0" indent="0" defTabSz="914186" eaLnBrk="1" fontAlgn="auto" latinLnBrk="0" hangingPunct="1">
              <a:lnSpc>
                <a:spcPct val="100000"/>
              </a:lnSpc>
              <a:spcBef>
                <a:spcPts val="0"/>
              </a:spcBef>
              <a:spcAft>
                <a:spcPts val="808"/>
              </a:spcAft>
              <a:buClrTx/>
              <a:buSzTx/>
              <a:buFontTx/>
              <a:buNone/>
              <a:tabLst/>
              <a:defRPr/>
            </a:pPr>
            <a:r>
              <a:rPr lang="en-GB" altLang="zh-CN" kern="0" dirty="0" smtClean="0">
                <a:solidFill>
                  <a:srgbClr val="000000"/>
                </a:solidFill>
                <a:latin typeface="+mj-lt"/>
                <a:ea typeface="宋体" panose="02010600030101010101" pitchFamily="2" charset="-122"/>
              </a:rPr>
              <a:t>China</a:t>
            </a:r>
            <a:endParaRPr kumimoji="0" lang="en-GB" altLang="zh-CN" i="0" u="none" strike="noStrike" kern="0" cap="none" spc="0" normalizeH="0" baseline="0" noProof="0" dirty="0" smtClean="0">
              <a:ln>
                <a:noFill/>
              </a:ln>
              <a:solidFill>
                <a:srgbClr val="000000"/>
              </a:solidFill>
              <a:effectLst/>
              <a:uLnTx/>
              <a:uFillTx/>
              <a:latin typeface="+mj-lt"/>
              <a:ea typeface="宋体" panose="02010600030101010101" pitchFamily="2" charset="-122"/>
            </a:endParaRPr>
          </a:p>
        </p:txBody>
      </p:sp>
      <p:sp>
        <p:nvSpPr>
          <p:cNvPr id="97" name="Rectangle 96"/>
          <p:cNvSpPr/>
          <p:nvPr/>
        </p:nvSpPr>
        <p:spPr bwMode="ltGray">
          <a:xfrm>
            <a:off x="6628954" y="3697595"/>
            <a:ext cx="1167626" cy="374645"/>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186" eaLnBrk="1" fontAlgn="auto" latinLnBrk="0" hangingPunct="1">
              <a:lnSpc>
                <a:spcPct val="100000"/>
              </a:lnSpc>
              <a:spcBef>
                <a:spcPts val="0"/>
              </a:spcBef>
              <a:spcAft>
                <a:spcPts val="0"/>
              </a:spcAft>
              <a:buClrTx/>
              <a:buSzTx/>
              <a:buFontTx/>
              <a:buNone/>
              <a:tabLst/>
              <a:defRPr/>
            </a:pPr>
            <a:r>
              <a:rPr lang="en-GB" altLang="zh-CN" kern="0" dirty="0" smtClean="0">
                <a:solidFill>
                  <a:srgbClr val="FFFFFF"/>
                </a:solidFill>
                <a:latin typeface="+mj-lt"/>
                <a:ea typeface="宋体" panose="02010600030101010101" pitchFamily="2" charset="-122"/>
              </a:rPr>
              <a:t>Group HQ</a:t>
            </a:r>
            <a:endParaRPr kumimoji="0" lang="en-GB" altLang="zh-CN" i="0" u="none" strike="noStrike" kern="0" cap="none" spc="0" normalizeH="0" baseline="0" noProof="0" dirty="0" err="1" smtClean="0">
              <a:ln>
                <a:noFill/>
              </a:ln>
              <a:solidFill>
                <a:srgbClr val="FFFFFF"/>
              </a:solidFill>
              <a:effectLst/>
              <a:uLnTx/>
              <a:uFillTx/>
              <a:latin typeface="+mj-lt"/>
              <a:ea typeface="宋体" panose="02010600030101010101" pitchFamily="2" charset="-122"/>
            </a:endParaRPr>
          </a:p>
        </p:txBody>
      </p:sp>
      <p:sp>
        <p:nvSpPr>
          <p:cNvPr id="98" name="TextBox 97"/>
          <p:cNvSpPr txBox="1"/>
          <p:nvPr/>
        </p:nvSpPr>
        <p:spPr>
          <a:xfrm>
            <a:off x="6179713" y="4113098"/>
            <a:ext cx="879193" cy="266532"/>
          </a:xfrm>
          <a:prstGeom prst="rect">
            <a:avLst/>
          </a:prstGeom>
          <a:noFill/>
        </p:spPr>
        <p:txBody>
          <a:bodyPr vert="horz" wrap="square" lIns="0" tIns="0" rIns="0" bIns="0" rtlCol="0">
            <a:noAutofit/>
          </a:bodyPr>
          <a:lstStyle/>
          <a:p>
            <a:pPr marL="0" marR="0" lvl="0" indent="0" defTabSz="914186" eaLnBrk="1" fontAlgn="auto" latinLnBrk="0" hangingPunct="1">
              <a:lnSpc>
                <a:spcPct val="100000"/>
              </a:lnSpc>
              <a:spcBef>
                <a:spcPts val="0"/>
              </a:spcBef>
              <a:spcAft>
                <a:spcPts val="808"/>
              </a:spcAft>
              <a:buClrTx/>
              <a:buSzTx/>
              <a:buFontTx/>
              <a:buNone/>
              <a:tabLst/>
              <a:defRPr/>
            </a:pPr>
            <a:r>
              <a:rPr kumimoji="0" lang="en-GB" altLang="zh-CN" i="0" u="none" strike="noStrike" kern="0" cap="none" spc="0" normalizeH="0" baseline="0" noProof="0" dirty="0" smtClean="0">
                <a:ln>
                  <a:noFill/>
                </a:ln>
                <a:solidFill>
                  <a:srgbClr val="000000"/>
                </a:solidFill>
                <a:effectLst/>
                <a:uLnTx/>
                <a:uFillTx/>
                <a:latin typeface="+mj-lt"/>
                <a:ea typeface="宋体" panose="02010600030101010101" pitchFamily="2" charset="-122"/>
              </a:rPr>
              <a:t>80%</a:t>
            </a:r>
          </a:p>
        </p:txBody>
      </p:sp>
      <p:cxnSp>
        <p:nvCxnSpPr>
          <p:cNvPr id="99" name="Straight Arrow Connector 98"/>
          <p:cNvCxnSpPr>
            <a:stCxn id="91" idx="2"/>
            <a:endCxn id="92" idx="0"/>
          </p:cNvCxnSpPr>
          <p:nvPr/>
        </p:nvCxnSpPr>
        <p:spPr>
          <a:xfrm>
            <a:off x="8213211" y="5007193"/>
            <a:ext cx="6047" cy="352139"/>
          </a:xfrm>
          <a:prstGeom prst="straightConnector1">
            <a:avLst/>
          </a:prstGeom>
          <a:noFill/>
          <a:ln w="15875" cap="flat" cmpd="sng" algn="ctr">
            <a:solidFill>
              <a:srgbClr val="A32020">
                <a:shade val="95000"/>
                <a:satMod val="105000"/>
              </a:srgbClr>
            </a:solidFill>
            <a:prstDash val="solid"/>
            <a:tailEnd type="triangle"/>
          </a:ln>
          <a:effectLst/>
        </p:spPr>
      </p:cxnSp>
      <p:cxnSp>
        <p:nvCxnSpPr>
          <p:cNvPr id="100" name="Straight Connector 99"/>
          <p:cNvCxnSpPr>
            <a:stCxn id="90" idx="2"/>
            <a:endCxn id="101" idx="0"/>
          </p:cNvCxnSpPr>
          <p:nvPr/>
        </p:nvCxnSpPr>
        <p:spPr>
          <a:xfrm>
            <a:off x="6192264" y="5003744"/>
            <a:ext cx="4960" cy="315439"/>
          </a:xfrm>
          <a:prstGeom prst="line">
            <a:avLst/>
          </a:prstGeom>
          <a:noFill/>
          <a:ln w="15875" cap="flat" cmpd="sng" algn="ctr">
            <a:solidFill>
              <a:srgbClr val="A32020">
                <a:shade val="95000"/>
                <a:satMod val="105000"/>
              </a:srgbClr>
            </a:solidFill>
            <a:prstDash val="solid"/>
            <a:tailEnd type="triangle"/>
          </a:ln>
          <a:effectLst/>
        </p:spPr>
      </p:cxnSp>
      <p:sp>
        <p:nvSpPr>
          <p:cNvPr id="101" name="Rectangle 100"/>
          <p:cNvSpPr/>
          <p:nvPr/>
        </p:nvSpPr>
        <p:spPr bwMode="ltGray">
          <a:xfrm>
            <a:off x="5693130" y="5319183"/>
            <a:ext cx="1008188" cy="550317"/>
          </a:xfrm>
          <a:prstGeom prst="rect">
            <a:avLst/>
          </a:prstGeom>
          <a:solidFill>
            <a:srgbClr val="FFFFFF">
              <a:lumMod val="50000"/>
            </a:srgbClr>
          </a:solidFill>
          <a:ln w="3175" cap="flat" cmpd="sng" algn="ctr">
            <a:noFill/>
            <a:prstDash val="solid"/>
          </a:ln>
          <a:effectLst/>
        </p:spPr>
        <p:txBody>
          <a:bodyPr rtlCol="0" anchor="ctr"/>
          <a:lstStyle/>
          <a:p>
            <a:pPr marL="0" marR="0" lvl="0" indent="0" algn="ctr" defTabSz="914186" eaLnBrk="1" fontAlgn="auto" latinLnBrk="0" hangingPunct="1">
              <a:lnSpc>
                <a:spcPct val="100000"/>
              </a:lnSpc>
              <a:spcBef>
                <a:spcPts val="0"/>
              </a:spcBef>
              <a:spcAft>
                <a:spcPts val="0"/>
              </a:spcAft>
              <a:buClrTx/>
              <a:buSzTx/>
              <a:buFontTx/>
              <a:buNone/>
              <a:tabLst/>
              <a:defRPr/>
            </a:pPr>
            <a:r>
              <a:rPr kumimoji="0" lang="en-GB" altLang="zh-CN" i="0" u="none" strike="noStrike" kern="0" cap="none" spc="0" normalizeH="0" baseline="0" noProof="0" dirty="0" smtClean="0">
                <a:ln>
                  <a:noFill/>
                </a:ln>
                <a:solidFill>
                  <a:srgbClr val="FFFFFF"/>
                </a:solidFill>
                <a:effectLst/>
                <a:uLnTx/>
                <a:uFillTx/>
                <a:latin typeface="+mj-lt"/>
                <a:ea typeface="宋体" panose="02010600030101010101" pitchFamily="2" charset="-122"/>
                <a:cs typeface="+mn-cs"/>
              </a:rPr>
              <a:t>Subsidiary</a:t>
            </a:r>
          </a:p>
        </p:txBody>
      </p:sp>
      <p:sp>
        <p:nvSpPr>
          <p:cNvPr id="102" name="Striped Right Arrow 101"/>
          <p:cNvSpPr/>
          <p:nvPr/>
        </p:nvSpPr>
        <p:spPr bwMode="ltGray">
          <a:xfrm>
            <a:off x="4649735" y="4714266"/>
            <a:ext cx="855399" cy="529463"/>
          </a:xfrm>
          <a:prstGeom prst="stripedRightArrow">
            <a:avLst/>
          </a:prstGeom>
          <a:gradFill rotWithShape="1">
            <a:gsLst>
              <a:gs pos="0">
                <a:srgbClr val="DB536A">
                  <a:tint val="50000"/>
                  <a:satMod val="300000"/>
                </a:srgbClr>
              </a:gs>
              <a:gs pos="35000">
                <a:srgbClr val="DB536A">
                  <a:tint val="37000"/>
                  <a:satMod val="300000"/>
                </a:srgbClr>
              </a:gs>
              <a:gs pos="100000">
                <a:srgbClr val="DB536A">
                  <a:tint val="15000"/>
                  <a:satMod val="350000"/>
                </a:srgbClr>
              </a:gs>
            </a:gsLst>
            <a:lin ang="16200000" scaled="1"/>
          </a:gradFill>
          <a:ln w="9525" cap="flat" cmpd="sng" algn="ctr">
            <a:solidFill>
              <a:srgbClr val="DB536A">
                <a:shade val="95000"/>
                <a:satMod val="105000"/>
              </a:srgbClr>
            </a:solidFill>
            <a:prstDash val="solid"/>
          </a:ln>
          <a:effectLst>
            <a:outerShdw blurRad="40000" dist="20000" dir="5400000" rotWithShape="0">
              <a:srgbClr val="000000">
                <a:alpha val="38000"/>
              </a:srgbClr>
            </a:outerShdw>
          </a:effectLst>
        </p:spPr>
        <p:txBody>
          <a:bodyPr rtlCol="0" anchor="ctr"/>
          <a:lstStyle/>
          <a:p>
            <a:pPr marL="0" marR="0" lvl="0" indent="0" algn="ctr" defTabSz="914186" eaLnBrk="1" fontAlgn="auto" latinLnBrk="0" hangingPunct="1">
              <a:lnSpc>
                <a:spcPct val="100000"/>
              </a:lnSpc>
              <a:spcBef>
                <a:spcPts val="0"/>
              </a:spcBef>
              <a:spcAft>
                <a:spcPts val="0"/>
              </a:spcAft>
              <a:buClrTx/>
              <a:buSzTx/>
              <a:buFontTx/>
              <a:buNone/>
              <a:tabLst/>
              <a:defRPr/>
            </a:pPr>
            <a:endParaRPr kumimoji="0" lang="en-GB" altLang="zh-CN" i="0" u="none" strike="noStrike" kern="0" cap="none" spc="0" normalizeH="0" baseline="0" noProof="0" dirty="0" err="1" smtClean="0">
              <a:ln>
                <a:noFill/>
              </a:ln>
              <a:solidFill>
                <a:srgbClr val="FFFFFF"/>
              </a:solidFill>
              <a:effectLst/>
              <a:uLnTx/>
              <a:uFillTx/>
              <a:latin typeface="+mj-lt"/>
              <a:ea typeface="宋体" panose="02010600030101010101" pitchFamily="2" charset="-122"/>
              <a:cs typeface="+mn-cs"/>
            </a:endParaRPr>
          </a:p>
        </p:txBody>
      </p:sp>
      <p:sp>
        <p:nvSpPr>
          <p:cNvPr id="103" name="TextBox 102"/>
          <p:cNvSpPr txBox="1"/>
          <p:nvPr/>
        </p:nvSpPr>
        <p:spPr>
          <a:xfrm>
            <a:off x="4852858" y="4528260"/>
            <a:ext cx="721262" cy="463190"/>
          </a:xfrm>
          <a:prstGeom prst="rect">
            <a:avLst/>
          </a:prstGeom>
          <a:noFill/>
        </p:spPr>
        <p:txBody>
          <a:bodyPr vert="horz" wrap="square" lIns="0" tIns="0" rIns="0" bIns="0" rtlCol="0">
            <a:noAutofit/>
          </a:bodyPr>
          <a:lstStyle/>
          <a:p>
            <a:pPr marL="0" marR="0" lvl="0" indent="0" defTabSz="914186" eaLnBrk="1" fontAlgn="auto" latinLnBrk="0" hangingPunct="1">
              <a:lnSpc>
                <a:spcPct val="100000"/>
              </a:lnSpc>
              <a:spcBef>
                <a:spcPts val="0"/>
              </a:spcBef>
              <a:spcAft>
                <a:spcPts val="808"/>
              </a:spcAft>
              <a:buClrTx/>
              <a:buSzTx/>
              <a:buFontTx/>
              <a:buNone/>
              <a:tabLst/>
              <a:defRPr/>
            </a:pPr>
            <a:r>
              <a:rPr lang="en-GB" altLang="zh-CN" kern="0" dirty="0" smtClean="0">
                <a:solidFill>
                  <a:srgbClr val="000000"/>
                </a:solidFill>
                <a:latin typeface="+mj-lt"/>
                <a:ea typeface="宋体" panose="02010600030101010101" pitchFamily="2" charset="-122"/>
              </a:rPr>
              <a:t>After</a:t>
            </a:r>
            <a:endParaRPr kumimoji="0" lang="en-GB" altLang="zh-CN" i="0" u="none" strike="noStrike" kern="0" cap="none" spc="0" normalizeH="0" baseline="0" noProof="0" dirty="0" smtClean="0">
              <a:ln>
                <a:noFill/>
              </a:ln>
              <a:solidFill>
                <a:srgbClr val="000000"/>
              </a:solidFill>
              <a:effectLst/>
              <a:uLnTx/>
              <a:uFillTx/>
              <a:latin typeface="+mj-lt"/>
              <a:ea typeface="宋体" panose="02010600030101010101" pitchFamily="2" charset="-122"/>
            </a:endParaRPr>
          </a:p>
        </p:txBody>
      </p:sp>
      <p:cxnSp>
        <p:nvCxnSpPr>
          <p:cNvPr id="107" name="Elbow Connector 106"/>
          <p:cNvCxnSpPr>
            <a:stCxn id="80" idx="2"/>
            <a:endCxn id="67" idx="0"/>
          </p:cNvCxnSpPr>
          <p:nvPr/>
        </p:nvCxnSpPr>
        <p:spPr>
          <a:xfrm rot="5400000">
            <a:off x="1750128" y="3647600"/>
            <a:ext cx="444432" cy="1258979"/>
          </a:xfrm>
          <a:prstGeom prst="bentConnector3">
            <a:avLst>
              <a:gd name="adj1" fmla="val 50000"/>
            </a:avLst>
          </a:prstGeom>
          <a:noFill/>
          <a:ln w="15875" cap="flat" cmpd="sng" algn="ctr">
            <a:solidFill>
              <a:srgbClr val="A32020">
                <a:shade val="95000"/>
                <a:satMod val="105000"/>
              </a:srgbClr>
            </a:solidFill>
            <a:prstDash val="solid"/>
            <a:tailEnd type="triangle"/>
          </a:ln>
          <a:effectLst/>
        </p:spPr>
      </p:cxnSp>
      <p:cxnSp>
        <p:nvCxnSpPr>
          <p:cNvPr id="108" name="Elbow Connector 107"/>
          <p:cNvCxnSpPr/>
          <p:nvPr/>
        </p:nvCxnSpPr>
        <p:spPr>
          <a:xfrm rot="16200000" flipH="1">
            <a:off x="3012759" y="3653838"/>
            <a:ext cx="424652" cy="1246503"/>
          </a:xfrm>
          <a:prstGeom prst="bentConnector3">
            <a:avLst/>
          </a:prstGeom>
          <a:noFill/>
          <a:ln w="15875" cap="flat" cmpd="sng" algn="ctr">
            <a:solidFill>
              <a:srgbClr val="A32020">
                <a:shade val="95000"/>
                <a:satMod val="105000"/>
              </a:srgbClr>
            </a:solidFill>
            <a:prstDash val="solid"/>
            <a:tailEnd type="triangle"/>
          </a:ln>
          <a:effectLst/>
        </p:spPr>
      </p:cxnSp>
      <p:cxnSp>
        <p:nvCxnSpPr>
          <p:cNvPr id="109" name="Elbow Connector 108"/>
          <p:cNvCxnSpPr>
            <a:stCxn id="97" idx="2"/>
            <a:endCxn id="90" idx="0"/>
          </p:cNvCxnSpPr>
          <p:nvPr/>
        </p:nvCxnSpPr>
        <p:spPr>
          <a:xfrm rot="5400000">
            <a:off x="6480164" y="3784341"/>
            <a:ext cx="444705" cy="1020503"/>
          </a:xfrm>
          <a:prstGeom prst="bentConnector3">
            <a:avLst>
              <a:gd name="adj1" fmla="val 50000"/>
            </a:avLst>
          </a:prstGeom>
          <a:noFill/>
          <a:ln w="15875" cap="flat" cmpd="sng" algn="ctr">
            <a:solidFill>
              <a:srgbClr val="A32020">
                <a:shade val="95000"/>
                <a:satMod val="105000"/>
              </a:srgbClr>
            </a:solidFill>
            <a:prstDash val="solid"/>
            <a:tailEnd type="triangle"/>
          </a:ln>
          <a:effectLst/>
        </p:spPr>
      </p:cxnSp>
      <p:sp>
        <p:nvSpPr>
          <p:cNvPr id="110" name="Curved Down Arrow 109"/>
          <p:cNvSpPr/>
          <p:nvPr/>
        </p:nvSpPr>
        <p:spPr>
          <a:xfrm rot="11361006">
            <a:off x="2048617" y="4898946"/>
            <a:ext cx="1026974" cy="297798"/>
          </a:xfrm>
          <a:prstGeom prst="curvedDownArrow">
            <a:avLst/>
          </a:prstGeom>
          <a:solidFill>
            <a:srgbClr val="0070C0"/>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tLang="zh-CN" dirty="0" smtClean="0">
              <a:latin typeface="+mj-lt"/>
            </a:endParaRPr>
          </a:p>
        </p:txBody>
      </p:sp>
      <p:cxnSp>
        <p:nvCxnSpPr>
          <p:cNvPr id="111" name="Elbow Connector 110"/>
          <p:cNvCxnSpPr>
            <a:stCxn id="97" idx="2"/>
            <a:endCxn id="91" idx="0"/>
          </p:cNvCxnSpPr>
          <p:nvPr/>
        </p:nvCxnSpPr>
        <p:spPr>
          <a:xfrm rot="16200000" flipH="1">
            <a:off x="7495226" y="3789781"/>
            <a:ext cx="435527" cy="1000444"/>
          </a:xfrm>
          <a:prstGeom prst="bentConnector3">
            <a:avLst/>
          </a:prstGeom>
          <a:noFill/>
          <a:ln w="15875" cap="flat" cmpd="sng" algn="ctr">
            <a:solidFill>
              <a:srgbClr val="A32020">
                <a:shade val="95000"/>
                <a:satMod val="105000"/>
              </a:srgbClr>
            </a:solidFill>
            <a:prstDash val="solid"/>
            <a:tailEnd type="triangle"/>
          </a:ln>
          <a:effectLst/>
        </p:spPr>
      </p:cxnSp>
      <p:grpSp>
        <p:nvGrpSpPr>
          <p:cNvPr id="119" name="Group 118"/>
          <p:cNvGrpSpPr/>
          <p:nvPr/>
        </p:nvGrpSpPr>
        <p:grpSpPr>
          <a:xfrm>
            <a:off x="447062" y="1939432"/>
            <a:ext cx="9320336" cy="1783664"/>
            <a:chOff x="447062" y="2037495"/>
            <a:chExt cx="9320336" cy="1783664"/>
          </a:xfrm>
        </p:grpSpPr>
        <p:grpSp>
          <p:nvGrpSpPr>
            <p:cNvPr id="120" name="Group 119"/>
            <p:cNvGrpSpPr/>
            <p:nvPr/>
          </p:nvGrpSpPr>
          <p:grpSpPr>
            <a:xfrm>
              <a:off x="461390" y="2037495"/>
              <a:ext cx="9057513" cy="587916"/>
              <a:chOff x="461390" y="2037495"/>
              <a:chExt cx="9057513" cy="587916"/>
            </a:xfrm>
          </p:grpSpPr>
          <p:sp>
            <p:nvSpPr>
              <p:cNvPr id="122" name="Rectangle 121"/>
              <p:cNvSpPr/>
              <p:nvPr/>
            </p:nvSpPr>
            <p:spPr bwMode="ltGray">
              <a:xfrm>
                <a:off x="461390" y="2037495"/>
                <a:ext cx="9057513" cy="587916"/>
              </a:xfrm>
              <a:prstGeom prst="rect">
                <a:avLst/>
              </a:prstGeom>
              <a:solidFill>
                <a:srgbClr val="FFFFFF">
                  <a:lumMod val="95000"/>
                </a:srgbClr>
              </a:solidFill>
              <a:ln w="3175" cap="flat" cmpd="sng" algn="ctr">
                <a:noFill/>
                <a:prstDash val="solid"/>
              </a:ln>
              <a:effectLst/>
            </p:spPr>
            <p:txBody>
              <a:bodyPr lIns="91429" tIns="45714" rIns="91429" bIns="45714"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zh-CN" sz="1800" b="0" i="0" u="none" strike="noStrike" kern="0" cap="none" spc="0" normalizeH="0" baseline="0" noProof="0" dirty="0" err="1" smtClean="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23" name="Rectangle 122"/>
              <p:cNvSpPr/>
              <p:nvPr/>
            </p:nvSpPr>
            <p:spPr>
              <a:xfrm>
                <a:off x="965447" y="2125882"/>
                <a:ext cx="7992125" cy="369320"/>
              </a:xfrm>
              <a:prstGeom prst="rect">
                <a:avLst/>
              </a:prstGeom>
            </p:spPr>
            <p:txBody>
              <a:bodyPr wrap="square" lIns="91429" tIns="45714" rIns="91429" bIns="45714">
                <a:spAutoFit/>
              </a:bodyPr>
              <a:lstStyle/>
              <a:p>
                <a:pPr defTabSz="914400" hangingPunct="0">
                  <a:buClr>
                    <a:srgbClr val="602320"/>
                  </a:buClr>
                </a:pPr>
                <a:r>
                  <a:rPr lang="en-GB" altLang="zh-CN" sz="1800" dirty="0" smtClean="0">
                    <a:latin typeface="+mj-lt"/>
                  </a:rPr>
                  <a:t>Overseas indirect transfer that meets ALL of the following conditions:</a:t>
                </a:r>
                <a:endParaRPr lang="en-GB" altLang="zh-CN" sz="1800" dirty="0">
                  <a:solidFill>
                    <a:srgbClr val="000000"/>
                  </a:solidFill>
                  <a:latin typeface="+mj-lt"/>
                  <a:ea typeface="宋体" panose="02010600030101010101" pitchFamily="2" charset="-122"/>
                </a:endParaRPr>
              </a:p>
            </p:txBody>
          </p:sp>
          <p:grpSp>
            <p:nvGrpSpPr>
              <p:cNvPr id="124" name="Group 123"/>
              <p:cNvGrpSpPr/>
              <p:nvPr/>
            </p:nvGrpSpPr>
            <p:grpSpPr>
              <a:xfrm>
                <a:off x="586890" y="2181511"/>
                <a:ext cx="451301" cy="443900"/>
                <a:chOff x="664315" y="1760964"/>
                <a:chExt cx="451301" cy="443900"/>
              </a:xfrm>
            </p:grpSpPr>
            <p:sp>
              <p:nvSpPr>
                <p:cNvPr id="125" name="Rectangle 124"/>
                <p:cNvSpPr/>
                <p:nvPr/>
              </p:nvSpPr>
              <p:spPr bwMode="ltGray">
                <a:xfrm>
                  <a:off x="664315" y="1760964"/>
                  <a:ext cx="260928" cy="299884"/>
                </a:xfrm>
                <a:prstGeom prst="rect">
                  <a:avLst/>
                </a:prstGeom>
                <a:solidFill>
                  <a:srgbClr val="602320"/>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zh-CN" sz="1800" b="0" i="0" u="none" strike="noStrike" kern="0" cap="none" spc="0" normalizeH="0" baseline="0" noProof="0" dirty="0" err="1" smtClean="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26" name="TextBox 125"/>
                <p:cNvSpPr txBox="1"/>
                <p:nvPr/>
              </p:nvSpPr>
              <p:spPr>
                <a:xfrm>
                  <a:off x="736323" y="1777343"/>
                  <a:ext cx="379293" cy="427521"/>
                </a:xfrm>
                <a:prstGeom prst="rect">
                  <a:avLst/>
                </a:prstGeom>
                <a:noFill/>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900"/>
                    </a:spcAft>
                    <a:buClrTx/>
                    <a:buSzTx/>
                    <a:buFontTx/>
                    <a:buNone/>
                    <a:tabLst/>
                    <a:defRPr/>
                  </a:pPr>
                  <a:r>
                    <a:rPr kumimoji="0" lang="en-GB" altLang="zh-CN" sz="1800" b="1" i="0" u="none" strike="noStrike" kern="0" cap="none" spc="0" normalizeH="0" baseline="0" noProof="0" dirty="0" smtClean="0">
                      <a:ln>
                        <a:noFill/>
                      </a:ln>
                      <a:solidFill>
                        <a:srgbClr val="FFFFFF"/>
                      </a:solidFill>
                      <a:effectLst/>
                      <a:uLnTx/>
                      <a:uFillTx/>
                      <a:latin typeface="宋体" panose="02010600030101010101" pitchFamily="2" charset="-122"/>
                      <a:ea typeface="宋体" panose="02010600030101010101" pitchFamily="2" charset="-122"/>
                    </a:rPr>
                    <a:t>3</a:t>
                  </a:r>
                </a:p>
              </p:txBody>
            </p:sp>
          </p:grpSp>
        </p:grpSp>
        <p:sp>
          <p:nvSpPr>
            <p:cNvPr id="121" name="Rectangle 120"/>
            <p:cNvSpPr/>
            <p:nvPr/>
          </p:nvSpPr>
          <p:spPr>
            <a:xfrm>
              <a:off x="447062" y="2743953"/>
              <a:ext cx="9320336" cy="1077206"/>
            </a:xfrm>
            <a:prstGeom prst="rect">
              <a:avLst/>
            </a:prstGeom>
          </p:spPr>
          <p:txBody>
            <a:bodyPr wrap="square" lIns="91429" tIns="45714" rIns="91429" bIns="45714">
              <a:spAutoFit/>
            </a:bodyPr>
            <a:lstStyle/>
            <a:p>
              <a:pPr marL="342900" indent="-342900">
                <a:buFont typeface="+mj-lt"/>
                <a:buAutoNum type="arabicParenR"/>
              </a:pPr>
              <a:r>
                <a:rPr lang="en-GB" altLang="zh-CN" sz="1600" dirty="0">
                  <a:latin typeface="+mj-lt"/>
                </a:rPr>
                <a:t>S</a:t>
              </a:r>
              <a:r>
                <a:rPr lang="en-GB" altLang="zh-CN" sz="1600" dirty="0" smtClean="0">
                  <a:latin typeface="+mj-lt"/>
                </a:rPr>
                <a:t>hareholding relationship</a:t>
              </a:r>
            </a:p>
            <a:p>
              <a:pPr marL="342900" indent="-342900">
                <a:buFont typeface="+mj-lt"/>
                <a:buAutoNum type="arabicParenR"/>
              </a:pPr>
              <a:r>
                <a:rPr lang="en-GB" altLang="zh-CN" sz="1600" dirty="0">
                  <a:latin typeface="+mj-lt"/>
                </a:rPr>
                <a:t>E</a:t>
              </a:r>
              <a:r>
                <a:rPr lang="en-GB" altLang="zh-CN" sz="1600" dirty="0" smtClean="0">
                  <a:latin typeface="+mj-lt"/>
                </a:rPr>
                <a:t>quity payment</a:t>
              </a:r>
            </a:p>
            <a:p>
              <a:pPr marL="342900" indent="-342900">
                <a:buFont typeface="+mj-lt"/>
                <a:buAutoNum type="arabicParenR"/>
              </a:pPr>
              <a:r>
                <a:rPr lang="en-GB" altLang="zh-CN" sz="1600" dirty="0" smtClean="0">
                  <a:latin typeface="+mj-lt"/>
                </a:rPr>
                <a:t>Does not result in Chin</a:t>
              </a:r>
              <a:r>
                <a:rPr lang="en-GB" altLang="zh-CN" sz="1600" spc="-100" dirty="0" smtClean="0">
                  <a:latin typeface="+mj-lt"/>
                </a:rPr>
                <a:t>a CIT</a:t>
              </a:r>
              <a:r>
                <a:rPr lang="en-GB" altLang="zh-CN" sz="1600" spc="-80" dirty="0" smtClean="0">
                  <a:latin typeface="+mj-lt"/>
                </a:rPr>
                <a:t> reduction on the gain arising from subsequent indirect transfers</a:t>
              </a:r>
            </a:p>
            <a:p>
              <a:pPr defTabSz="914400" hangingPunct="0"/>
              <a:endParaRPr lang="en-GB" altLang="zh-CN" sz="1600" dirty="0">
                <a:solidFill>
                  <a:srgbClr val="000000"/>
                </a:solidFill>
                <a:latin typeface="+mj-lt"/>
                <a:ea typeface="宋体" panose="02010600030101010101" pitchFamily="2" charset="-122"/>
              </a:endParaRPr>
            </a:p>
          </p:txBody>
        </p:sp>
      </p:grpSp>
      <p:sp>
        <p:nvSpPr>
          <p:cNvPr id="127" name="TextBox 126"/>
          <p:cNvSpPr txBox="1"/>
          <p:nvPr/>
        </p:nvSpPr>
        <p:spPr>
          <a:xfrm>
            <a:off x="661566" y="3614727"/>
            <a:ext cx="788949" cy="169277"/>
          </a:xfrm>
          <a:prstGeom prst="rect">
            <a:avLst/>
          </a:prstGeom>
          <a:noFill/>
          <a:ln>
            <a:noFill/>
          </a:ln>
        </p:spPr>
        <p:txBody>
          <a:bodyPr wrap="square" lIns="0" tIns="0" rIns="0" bIns="0" rtlCol="0">
            <a:spAutoFit/>
          </a:bodyPr>
          <a:lstStyle/>
          <a:p>
            <a:pPr>
              <a:spcAft>
                <a:spcPts val="900"/>
              </a:spcAft>
            </a:pPr>
            <a:r>
              <a:rPr lang="en-GB" altLang="zh-CN" dirty="0" smtClean="0">
                <a:latin typeface="+mj-lt"/>
                <a:ea typeface="黑体" panose="02010609060101010101" pitchFamily="49" charset="-122"/>
              </a:rPr>
              <a:t>Scenario 4</a:t>
            </a:r>
            <a:endParaRPr lang="en-GB" altLang="zh-CN" dirty="0">
              <a:latin typeface="+mj-lt"/>
              <a:ea typeface="黑体" panose="02010609060101010101" pitchFamily="49" charset="-122"/>
            </a:endParaRPr>
          </a:p>
        </p:txBody>
      </p:sp>
      <p:grpSp>
        <p:nvGrpSpPr>
          <p:cNvPr id="139" name="Group 138"/>
          <p:cNvGrpSpPr/>
          <p:nvPr>
            <p:custDataLst>
              <p:tags r:id="rId6"/>
            </p:custDataLst>
          </p:nvPr>
        </p:nvGrpSpPr>
        <p:grpSpPr>
          <a:xfrm>
            <a:off x="5283980" y="704088"/>
            <a:ext cx="4236835" cy="138499"/>
            <a:chOff x="5283980" y="704088"/>
            <a:chExt cx="4236835" cy="138499"/>
          </a:xfrm>
        </p:grpSpPr>
        <p:sp>
          <p:nvSpPr>
            <p:cNvPr id="140" name="745">
              <a:hlinkClick r:id="rId13" action="ppaction://hlinksldjump"/>
            </p:cNvPr>
            <p:cNvSpPr txBox="1"/>
            <p:nvPr>
              <p:custDataLst>
                <p:tags r:id="rId7"/>
              </p:custDataLst>
            </p:nvPr>
          </p:nvSpPr>
          <p:spPr>
            <a:xfrm>
              <a:off x="7868824" y="704088"/>
              <a:ext cx="1651991" cy="138499"/>
            </a:xfrm>
            <a:prstGeom prst="rect">
              <a:avLst/>
            </a:prstGeom>
            <a:noFill/>
            <a:ln>
              <a:noFill/>
            </a:ln>
          </p:spPr>
          <p:txBody>
            <a:bodyPr wrap="none" lIns="27432" tIns="0" rIns="27432" bIns="0" rtlCol="0">
              <a:spAutoFit/>
            </a:bodyPr>
            <a:lstStyle/>
            <a:p>
              <a:r>
                <a:rPr lang="en-US" sz="900" noProof="1" smtClean="0">
                  <a:solidFill>
                    <a:schemeClr val="tx2"/>
                  </a:solidFill>
                  <a:cs typeface="Arial" pitchFamily="34" charset="0"/>
                </a:rPr>
                <a:t>Part II  Indirect Equity Transfer </a:t>
              </a:r>
              <a:endParaRPr lang="en-GB" sz="900" noProof="1" smtClean="0">
                <a:solidFill>
                  <a:schemeClr val="tx2"/>
                </a:solidFill>
                <a:cs typeface="Arial" pitchFamily="34" charset="0"/>
              </a:endParaRPr>
            </a:p>
          </p:txBody>
        </p:sp>
        <p:cxnSp>
          <p:nvCxnSpPr>
            <p:cNvPr id="141" name="Divider1"/>
            <p:cNvCxnSpPr/>
            <p:nvPr>
              <p:custDataLst>
                <p:tags r:id="rId8"/>
              </p:custDataLst>
            </p:nvPr>
          </p:nvCxnSpPr>
          <p:spPr>
            <a:xfrm>
              <a:off x="7843424"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42" name="638">
              <a:hlinkClick r:id="rId14" action="ppaction://hlinksldjump"/>
            </p:cNvPr>
            <p:cNvSpPr txBox="1"/>
            <p:nvPr>
              <p:custDataLst>
                <p:tags r:id="rId9"/>
              </p:custDataLst>
            </p:nvPr>
          </p:nvSpPr>
          <p:spPr>
            <a:xfrm>
              <a:off x="5787725" y="704088"/>
              <a:ext cx="2030299" cy="138499"/>
            </a:xfrm>
            <a:prstGeom prst="rect">
              <a:avLst/>
            </a:prstGeom>
            <a:noFill/>
            <a:ln>
              <a:noFill/>
            </a:ln>
          </p:spPr>
          <p:txBody>
            <a:bodyPr wrap="none" lIns="27432" tIns="0" rIns="27432" bIns="0" rtlCol="0">
              <a:spAutoFit/>
            </a:bodyPr>
            <a:lstStyle/>
            <a:p>
              <a:r>
                <a:rPr lang="en-US" sz="900" noProof="1" smtClean="0">
                  <a:solidFill>
                    <a:schemeClr val="tx1"/>
                  </a:solidFill>
                  <a:latin typeface="+mn-lt"/>
                  <a:cs typeface="Arial" pitchFamily="34" charset="0"/>
                </a:rPr>
                <a:t>Part I  Brief Introduction to PRC GAAR</a:t>
              </a:r>
              <a:endParaRPr lang="en-GB" sz="900" noProof="1" smtClean="0">
                <a:solidFill>
                  <a:schemeClr val="tx1"/>
                </a:solidFill>
                <a:latin typeface="+mn-lt"/>
                <a:cs typeface="Arial" pitchFamily="34" charset="0"/>
              </a:endParaRPr>
            </a:p>
          </p:txBody>
        </p:sp>
        <p:cxnSp>
          <p:nvCxnSpPr>
            <p:cNvPr id="143" name="Divider2"/>
            <p:cNvCxnSpPr/>
            <p:nvPr>
              <p:custDataLst>
                <p:tags r:id="rId10"/>
              </p:custDataLst>
            </p:nvPr>
          </p:nvCxnSpPr>
          <p:spPr>
            <a:xfrm>
              <a:off x="5762325"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44" name="735">
              <a:hlinkClick r:id="rId15" action="ppaction://hlinksldjump"/>
            </p:cNvPr>
            <p:cNvSpPr txBox="1"/>
            <p:nvPr>
              <p:custDataLst>
                <p:tags r:id="rId11"/>
              </p:custDataLst>
            </p:nvPr>
          </p:nvSpPr>
          <p:spPr>
            <a:xfrm>
              <a:off x="5283980" y="704088"/>
              <a:ext cx="452945" cy="138499"/>
            </a:xfrm>
            <a:prstGeom prst="rect">
              <a:avLst/>
            </a:prstGeom>
            <a:noFill/>
            <a:ln>
              <a:noFill/>
            </a:ln>
          </p:spPr>
          <p:txBody>
            <a:bodyPr wrap="none" lIns="27432" tIns="0" rIns="27432" bIns="0" rtlCol="0">
              <a:spAutoFit/>
            </a:bodyPr>
            <a:lstStyle/>
            <a:p>
              <a:r>
                <a:rPr lang="en-GB" sz="900" noProof="1" smtClean="0">
                  <a:solidFill>
                    <a:schemeClr val="tx1"/>
                  </a:solidFill>
                  <a:latin typeface="+mn-lt"/>
                  <a:cs typeface="Arial" pitchFamily="34" charset="0"/>
                </a:rPr>
                <a:t>Agenda</a:t>
              </a:r>
              <a:endParaRPr lang="en-GB" sz="900" noProof="1" smtClean="0">
                <a:solidFill>
                  <a:schemeClr val="tx1"/>
                </a:solidFill>
                <a:latin typeface="+mn-lt"/>
                <a:cs typeface="Arial" pitchFamily="34" charset="0"/>
              </a:endParaRPr>
            </a:p>
          </p:txBody>
        </p:sp>
      </p:grpSp>
    </p:spTree>
    <p:custDataLst>
      <p:tags r:id="rId1"/>
    </p:custDataLst>
    <p:extLst>
      <p:ext uri="{BB962C8B-B14F-4D97-AF65-F5344CB8AC3E}">
        <p14:creationId xmlns:p14="http://schemas.microsoft.com/office/powerpoint/2010/main" val="52657680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en-GB"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sp>
        <p:nvSpPr>
          <p:cNvPr id="3" name="Title 2"/>
          <p:cNvSpPr>
            <a:spLocks noGrp="1"/>
          </p:cNvSpPr>
          <p:nvPr>
            <p:ph type="title"/>
          </p:nvPr>
        </p:nvSpPr>
        <p:spPr/>
        <p:txBody>
          <a:bodyPr/>
          <a:lstStyle/>
          <a:p>
            <a:r>
              <a:rPr lang="en-GB" altLang="zh-CN" dirty="0" smtClean="0"/>
              <a:t>Safe Harbour </a:t>
            </a:r>
            <a:r>
              <a:rPr lang="en-GB" altLang="zh-CN" dirty="0"/>
              <a:t>Rule (Cont’d)</a:t>
            </a:r>
            <a:endParaRPr lang="en-GB" b="0" i="0" dirty="0"/>
          </a:p>
        </p:txBody>
      </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en-GB" sz="1100" noProof="1" smtClean="0">
                <a:latin typeface="+mj-lt"/>
              </a:rPr>
              <a:t>18</a:t>
            </a:r>
            <a:endParaRPr lang="en-GB" sz="1100" noProof="1" smtClean="0">
              <a:latin typeface="+mj-lt"/>
            </a:endParaRP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en-GB" altLang="zh-CN" sz="1100" noProof="1" smtClean="0">
                <a:solidFill>
                  <a:schemeClr val="tx1"/>
                </a:solidFill>
                <a:latin typeface="+mj-lt"/>
                <a:ea typeface="宋体" panose="02010600030101010101" pitchFamily="2" charset="-122"/>
              </a:rPr>
              <a:t>Overview of PRC GAAR</a:t>
            </a:r>
            <a:endParaRPr lang="en-GB" sz="1100" noProof="1" smtClean="0">
              <a:solidFill>
                <a:schemeClr val="tx1"/>
              </a:solidFill>
              <a:latin typeface="+mj-lt"/>
              <a:ea typeface="宋体" panose="02010600030101010101" pitchFamily="2" charset="-122"/>
            </a:endParaRP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en-GB" altLang="zh-CN" sz="900" noProof="1" smtClean="0">
                <a:solidFill>
                  <a:schemeClr val="tx1"/>
                </a:solidFill>
              </a:rPr>
              <a:t>-1 Part II  Indirect Equity Transfer </a:t>
            </a:r>
            <a:endParaRPr lang="en-GB" sz="900" noProof="1" smtClean="0">
              <a:solidFill>
                <a:schemeClr val="tx1"/>
              </a:solidFill>
            </a:endParaRPr>
          </a:p>
        </p:txBody>
      </p:sp>
      <p:sp>
        <p:nvSpPr>
          <p:cNvPr id="63" name="Rectangle 62"/>
          <p:cNvSpPr/>
          <p:nvPr/>
        </p:nvSpPr>
        <p:spPr bwMode="ltGray">
          <a:xfrm>
            <a:off x="5169108" y="3538659"/>
            <a:ext cx="4269770" cy="3493215"/>
          </a:xfrm>
          <a:prstGeom prst="rect">
            <a:avLst/>
          </a:prstGeom>
          <a:solidFill>
            <a:srgbClr val="FFB600">
              <a:lumMod val="20000"/>
              <a:lumOff val="80000"/>
            </a:srgbClr>
          </a:solidFill>
          <a:ln w="3175" cap="flat" cmpd="sng" algn="ctr">
            <a:noFill/>
            <a:prstDash val="solid"/>
          </a:ln>
          <a:effectLst/>
        </p:spPr>
        <p:txBody>
          <a:bodyPr lIns="91429" tIns="45714" rIns="91429" bIns="45714"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lang="en-GB" altLang="zh-CN" dirty="0" err="1">
              <a:latin typeface="+mj-lt"/>
              <a:ea typeface="宋体" panose="02010600030101010101" pitchFamily="2" charset="-122"/>
            </a:endParaRPr>
          </a:p>
        </p:txBody>
      </p:sp>
      <p:sp>
        <p:nvSpPr>
          <p:cNvPr id="65" name="Rectangle 64"/>
          <p:cNvSpPr/>
          <p:nvPr/>
        </p:nvSpPr>
        <p:spPr bwMode="ltGray">
          <a:xfrm>
            <a:off x="552696" y="3538659"/>
            <a:ext cx="4034016" cy="3515750"/>
          </a:xfrm>
          <a:prstGeom prst="rect">
            <a:avLst/>
          </a:prstGeom>
          <a:solidFill>
            <a:srgbClr val="FFB600">
              <a:lumMod val="20000"/>
              <a:lumOff val="80000"/>
            </a:srgbClr>
          </a:solidFill>
          <a:ln w="3175" cap="flat" cmpd="sng" algn="ctr">
            <a:noFill/>
            <a:prstDash val="solid"/>
          </a:ln>
          <a:effectLst/>
        </p:spPr>
        <p:txBody>
          <a:bodyPr lIns="91429" tIns="45714" rIns="91429" bIns="45714"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zh-CN" b="0" i="0" u="none" strike="noStrike" kern="0" cap="none" spc="0" normalizeH="0" baseline="0" noProof="0" dirty="0" err="1" smtClean="0">
              <a:ln>
                <a:noFill/>
              </a:ln>
              <a:solidFill>
                <a:srgbClr val="FFFFFF"/>
              </a:solidFill>
              <a:effectLst/>
              <a:uLnTx/>
              <a:uFillTx/>
              <a:latin typeface="+mj-lt"/>
              <a:ea typeface="宋体" panose="02010600030101010101" pitchFamily="2" charset="-122"/>
              <a:cs typeface="+mn-cs"/>
            </a:endParaRPr>
          </a:p>
        </p:txBody>
      </p:sp>
      <p:cxnSp>
        <p:nvCxnSpPr>
          <p:cNvPr id="66" name="Straight Connector 65"/>
          <p:cNvCxnSpPr/>
          <p:nvPr/>
        </p:nvCxnSpPr>
        <p:spPr>
          <a:xfrm flipV="1">
            <a:off x="602330" y="6104828"/>
            <a:ext cx="3894350" cy="33826"/>
          </a:xfrm>
          <a:prstGeom prst="line">
            <a:avLst/>
          </a:prstGeom>
          <a:noFill/>
          <a:ln w="15875" cap="flat" cmpd="sng" algn="ctr">
            <a:solidFill>
              <a:srgbClr val="0070C0"/>
            </a:solidFill>
            <a:prstDash val="dash"/>
          </a:ln>
          <a:effectLst/>
        </p:spPr>
      </p:cxnSp>
      <p:cxnSp>
        <p:nvCxnSpPr>
          <p:cNvPr id="67" name="Straight Arrow Connector 66"/>
          <p:cNvCxnSpPr>
            <a:stCxn id="76" idx="2"/>
            <a:endCxn id="77" idx="0"/>
          </p:cNvCxnSpPr>
          <p:nvPr/>
        </p:nvCxnSpPr>
        <p:spPr>
          <a:xfrm>
            <a:off x="1671973" y="5976542"/>
            <a:ext cx="0" cy="423641"/>
          </a:xfrm>
          <a:prstGeom prst="straightConnector1">
            <a:avLst/>
          </a:prstGeom>
          <a:noFill/>
          <a:ln w="15875" cap="flat" cmpd="sng" algn="ctr">
            <a:solidFill>
              <a:srgbClr val="A32020">
                <a:shade val="95000"/>
                <a:satMod val="105000"/>
              </a:srgbClr>
            </a:solidFill>
            <a:prstDash val="solid"/>
            <a:tailEnd type="triangle"/>
          </a:ln>
          <a:effectLst/>
        </p:spPr>
      </p:cxnSp>
      <p:sp>
        <p:nvSpPr>
          <p:cNvPr id="68" name="Rectangle 67"/>
          <p:cNvSpPr/>
          <p:nvPr/>
        </p:nvSpPr>
        <p:spPr bwMode="ltGray">
          <a:xfrm>
            <a:off x="924253" y="4665417"/>
            <a:ext cx="1487771" cy="40320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zh-CN" i="0" u="none" strike="noStrike" kern="0" cap="none" spc="0" normalizeH="0" baseline="0" noProof="0" dirty="0" smtClean="0">
                <a:ln>
                  <a:noFill/>
                </a:ln>
                <a:solidFill>
                  <a:srgbClr val="FFFFFF"/>
                </a:solidFill>
                <a:effectLst/>
                <a:uLnTx/>
                <a:uFillTx/>
                <a:latin typeface="+mj-lt"/>
                <a:ea typeface="宋体" panose="02010600030101010101" pitchFamily="2" charset="-122"/>
              </a:rPr>
              <a:t>Transferor</a:t>
            </a:r>
          </a:p>
          <a:p>
            <a:pPr marL="0" marR="0" lvl="0" indent="0" algn="ctr" defTabSz="914400" eaLnBrk="1" fontAlgn="auto" latinLnBrk="0" hangingPunct="1">
              <a:lnSpc>
                <a:spcPct val="100000"/>
              </a:lnSpc>
              <a:spcBef>
                <a:spcPts val="0"/>
              </a:spcBef>
              <a:spcAft>
                <a:spcPts val="0"/>
              </a:spcAft>
              <a:buClrTx/>
              <a:buSzTx/>
              <a:buFontTx/>
              <a:buNone/>
              <a:tabLst/>
              <a:defRPr/>
            </a:pPr>
            <a:r>
              <a:rPr lang="zh-CN" altLang="en-GB" kern="0" dirty="0" smtClean="0">
                <a:solidFill>
                  <a:srgbClr val="FFFFFF"/>
                </a:solidFill>
                <a:latin typeface="+mj-lt"/>
                <a:ea typeface="宋体" panose="02010600030101010101" pitchFamily="2" charset="-122"/>
              </a:rPr>
              <a:t>（</a:t>
            </a:r>
            <a:r>
              <a:rPr lang="en-GB" altLang="zh-CN" kern="0" dirty="0" err="1" smtClean="0">
                <a:solidFill>
                  <a:srgbClr val="FFFFFF"/>
                </a:solidFill>
                <a:latin typeface="+mj-lt"/>
                <a:ea typeface="宋体" panose="02010600030101010101" pitchFamily="2" charset="-122"/>
              </a:rPr>
              <a:t>HongKong</a:t>
            </a:r>
            <a:r>
              <a:rPr lang="zh-CN" altLang="en-GB" kern="0" dirty="0" smtClean="0">
                <a:solidFill>
                  <a:srgbClr val="FFFFFF"/>
                </a:solidFill>
                <a:latin typeface="+mj-lt"/>
                <a:ea typeface="宋体" panose="02010600030101010101" pitchFamily="2" charset="-122"/>
              </a:rPr>
              <a:t>）</a:t>
            </a:r>
            <a:endParaRPr kumimoji="0" lang="en-GB" altLang="zh-CN" i="0" u="none" strike="noStrike" kern="0" cap="none" spc="0" normalizeH="0" baseline="0" noProof="0" dirty="0" err="1" smtClean="0">
              <a:ln>
                <a:noFill/>
              </a:ln>
              <a:solidFill>
                <a:srgbClr val="FFFFFF"/>
              </a:solidFill>
              <a:effectLst/>
              <a:uLnTx/>
              <a:uFillTx/>
              <a:latin typeface="+mj-lt"/>
              <a:ea typeface="宋体" panose="02010600030101010101" pitchFamily="2" charset="-122"/>
            </a:endParaRPr>
          </a:p>
        </p:txBody>
      </p:sp>
      <p:sp>
        <p:nvSpPr>
          <p:cNvPr id="69" name="Rectangle 68"/>
          <p:cNvSpPr/>
          <p:nvPr/>
        </p:nvSpPr>
        <p:spPr bwMode="ltGray">
          <a:xfrm>
            <a:off x="2684132" y="4665417"/>
            <a:ext cx="1486800" cy="403200"/>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zh-CN" i="0" u="none" strike="noStrike" kern="0" cap="none" spc="0" normalizeH="0" baseline="0" noProof="0" dirty="0" smtClean="0">
                <a:ln>
                  <a:noFill/>
                </a:ln>
                <a:solidFill>
                  <a:srgbClr val="FFFFFF"/>
                </a:solidFill>
                <a:effectLst/>
                <a:uLnTx/>
                <a:uFillTx/>
                <a:latin typeface="+mj-lt"/>
                <a:ea typeface="宋体" panose="02010600030101010101" pitchFamily="2" charset="-122"/>
              </a:rPr>
              <a:t>Transferee</a:t>
            </a:r>
          </a:p>
          <a:p>
            <a:pPr marL="0" marR="0" lvl="0" indent="0" algn="ctr" defTabSz="914400" eaLnBrk="1" fontAlgn="auto" latinLnBrk="0" hangingPunct="1">
              <a:lnSpc>
                <a:spcPct val="100000"/>
              </a:lnSpc>
              <a:spcBef>
                <a:spcPts val="0"/>
              </a:spcBef>
              <a:spcAft>
                <a:spcPts val="0"/>
              </a:spcAft>
              <a:buClrTx/>
              <a:buSzTx/>
              <a:buFontTx/>
              <a:buNone/>
              <a:tabLst/>
              <a:defRPr/>
            </a:pPr>
            <a:r>
              <a:rPr lang="zh-CN" altLang="en-GB" kern="0" dirty="0" smtClean="0">
                <a:solidFill>
                  <a:srgbClr val="FFFFFF"/>
                </a:solidFill>
                <a:latin typeface="+mj-lt"/>
                <a:ea typeface="宋体" panose="02010600030101010101" pitchFamily="2" charset="-122"/>
              </a:rPr>
              <a:t>（</a:t>
            </a:r>
            <a:r>
              <a:rPr lang="en-GB" altLang="zh-CN" kern="0" dirty="0" smtClean="0">
                <a:solidFill>
                  <a:srgbClr val="FFFFFF"/>
                </a:solidFill>
                <a:latin typeface="+mj-lt"/>
                <a:ea typeface="宋体" panose="02010600030101010101" pitchFamily="2" charset="-122"/>
              </a:rPr>
              <a:t>Singapore</a:t>
            </a:r>
            <a:r>
              <a:rPr lang="zh-CN" altLang="en-GB" kern="0" dirty="0" smtClean="0">
                <a:solidFill>
                  <a:srgbClr val="FFFFFF"/>
                </a:solidFill>
                <a:latin typeface="+mj-lt"/>
                <a:ea typeface="宋体" panose="02010600030101010101" pitchFamily="2" charset="-122"/>
              </a:rPr>
              <a:t>）</a:t>
            </a:r>
            <a:endParaRPr kumimoji="0" lang="en-GB" altLang="zh-CN" i="0" u="none" strike="noStrike" kern="0" cap="none" spc="0" normalizeH="0" baseline="0" noProof="0" dirty="0" err="1" smtClean="0">
              <a:ln>
                <a:noFill/>
              </a:ln>
              <a:solidFill>
                <a:srgbClr val="FFFFFF"/>
              </a:solidFill>
              <a:effectLst/>
              <a:uLnTx/>
              <a:uFillTx/>
              <a:latin typeface="+mj-lt"/>
              <a:ea typeface="宋体" panose="02010600030101010101" pitchFamily="2" charset="-122"/>
            </a:endParaRPr>
          </a:p>
        </p:txBody>
      </p:sp>
      <p:sp>
        <p:nvSpPr>
          <p:cNvPr id="76" name="Rectangle 75"/>
          <p:cNvSpPr/>
          <p:nvPr/>
        </p:nvSpPr>
        <p:spPr bwMode="ltGray">
          <a:xfrm>
            <a:off x="943106" y="5573342"/>
            <a:ext cx="1457733" cy="403200"/>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zh-CN" i="0" u="none" strike="noStrike" kern="0" cap="none" spc="0" normalizeH="0" baseline="0" noProof="0" dirty="0" smtClean="0">
                <a:ln>
                  <a:noFill/>
                </a:ln>
                <a:solidFill>
                  <a:srgbClr val="FFFFFF"/>
                </a:solidFill>
                <a:effectLst/>
                <a:uLnTx/>
                <a:uFillTx/>
                <a:latin typeface="+mj-lt"/>
                <a:ea typeface="宋体" panose="02010600030101010101" pitchFamily="2" charset="-122"/>
                <a:cs typeface="+mn-cs"/>
              </a:rPr>
              <a:t>Intermediate Holding Company</a:t>
            </a:r>
          </a:p>
        </p:txBody>
      </p:sp>
      <p:sp>
        <p:nvSpPr>
          <p:cNvPr id="77" name="Rectangle 76"/>
          <p:cNvSpPr/>
          <p:nvPr/>
        </p:nvSpPr>
        <p:spPr bwMode="ltGray">
          <a:xfrm>
            <a:off x="943106" y="6400183"/>
            <a:ext cx="1457733" cy="40320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defTabSz="914400"/>
            <a:r>
              <a:rPr lang="en-GB" altLang="zh-CN" kern="0" dirty="0" smtClean="0">
                <a:solidFill>
                  <a:srgbClr val="FFFFFF"/>
                </a:solidFill>
                <a:latin typeface="+mj-lt"/>
                <a:ea typeface="宋体" panose="02010600030101010101" pitchFamily="2" charset="-122"/>
              </a:rPr>
              <a:t>China Company</a:t>
            </a:r>
            <a:endParaRPr lang="en-GB" altLang="zh-CN" kern="0" dirty="0">
              <a:solidFill>
                <a:srgbClr val="FFFFFF"/>
              </a:solidFill>
              <a:latin typeface="+mj-lt"/>
              <a:ea typeface="宋体" panose="02010600030101010101" pitchFamily="2" charset="-122"/>
            </a:endParaRPr>
          </a:p>
        </p:txBody>
      </p:sp>
      <p:sp>
        <p:nvSpPr>
          <p:cNvPr id="78" name="Curved Up Arrow 77"/>
          <p:cNvSpPr/>
          <p:nvPr/>
        </p:nvSpPr>
        <p:spPr bwMode="ltGray">
          <a:xfrm rot="19618534">
            <a:off x="2507590" y="5539967"/>
            <a:ext cx="1181118" cy="322882"/>
          </a:xfrm>
          <a:prstGeom prst="curvedUpArrow">
            <a:avLst/>
          </a:prstGeom>
          <a:ln/>
        </p:spPr>
        <p:style>
          <a:lnRef idx="1">
            <a:schemeClr val="accent1"/>
          </a:lnRef>
          <a:fillRef idx="3">
            <a:schemeClr val="accent1"/>
          </a:fillRef>
          <a:effectRef idx="2">
            <a:schemeClr val="accent1"/>
          </a:effectRef>
          <a:fontRef idx="minor">
            <a:schemeClr val="lt1"/>
          </a:fontRef>
        </p:style>
        <p:txBody>
          <a:bodyPr lIns="91429" tIns="45714" rIns="91429" bIns="45714"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zh-CN" i="0" u="none" strike="noStrike" kern="0" cap="none" spc="0" normalizeH="0" baseline="0" noProof="0" dirty="0" err="1" smtClean="0">
              <a:ln>
                <a:noFill/>
              </a:ln>
              <a:solidFill>
                <a:srgbClr val="FFFFFF"/>
              </a:solidFill>
              <a:effectLst/>
              <a:uLnTx/>
              <a:uFillTx/>
              <a:latin typeface="+mj-lt"/>
              <a:ea typeface="宋体" panose="02010600030101010101" pitchFamily="2" charset="-122"/>
              <a:cs typeface="+mn-cs"/>
            </a:endParaRPr>
          </a:p>
        </p:txBody>
      </p:sp>
      <p:sp>
        <p:nvSpPr>
          <p:cNvPr id="79" name="TextBox 78"/>
          <p:cNvSpPr txBox="1"/>
          <p:nvPr/>
        </p:nvSpPr>
        <p:spPr>
          <a:xfrm>
            <a:off x="3857838" y="5859150"/>
            <a:ext cx="960992" cy="241328"/>
          </a:xfrm>
          <a:prstGeom prst="rect">
            <a:avLst/>
          </a:prstGeom>
          <a:noFill/>
        </p:spPr>
        <p:txBody>
          <a:bodyPr vert="horz" wrap="square" lIns="0" tIns="0" rIns="0" bIns="0" rtlCol="0">
            <a:noAutofit/>
          </a:bodyPr>
          <a:lstStyle/>
          <a:p>
            <a:pPr defTabSz="914400">
              <a:spcAft>
                <a:spcPts val="900"/>
              </a:spcAft>
            </a:pPr>
            <a:r>
              <a:rPr lang="en-GB" altLang="zh-CN" dirty="0" smtClean="0">
                <a:solidFill>
                  <a:srgbClr val="000000"/>
                </a:solidFill>
                <a:latin typeface="+mj-lt"/>
                <a:ea typeface="宋体" panose="02010600030101010101" pitchFamily="2" charset="-122"/>
              </a:rPr>
              <a:t>Overseas</a:t>
            </a:r>
            <a:endParaRPr lang="en-GB" altLang="zh-CN" dirty="0">
              <a:solidFill>
                <a:srgbClr val="000000"/>
              </a:solidFill>
              <a:latin typeface="+mj-lt"/>
              <a:ea typeface="宋体" panose="02010600030101010101" pitchFamily="2" charset="-122"/>
            </a:endParaRPr>
          </a:p>
        </p:txBody>
      </p:sp>
      <p:sp>
        <p:nvSpPr>
          <p:cNvPr id="80" name="TextBox 79"/>
          <p:cNvSpPr txBox="1"/>
          <p:nvPr/>
        </p:nvSpPr>
        <p:spPr>
          <a:xfrm>
            <a:off x="3955569" y="6218090"/>
            <a:ext cx="960992" cy="221890"/>
          </a:xfrm>
          <a:prstGeom prst="rect">
            <a:avLst/>
          </a:prstGeom>
          <a:noFill/>
        </p:spPr>
        <p:txBody>
          <a:bodyPr vert="horz" wrap="square" lIns="0" tIns="0" rIns="0" bIns="0" rtlCol="0">
            <a:noAutofit/>
          </a:bodyPr>
          <a:lstStyle/>
          <a:p>
            <a:pPr defTabSz="914400">
              <a:spcAft>
                <a:spcPts val="900"/>
              </a:spcAft>
            </a:pPr>
            <a:r>
              <a:rPr lang="en-GB" altLang="zh-CN" dirty="0" smtClean="0">
                <a:solidFill>
                  <a:srgbClr val="000000"/>
                </a:solidFill>
                <a:latin typeface="+mj-lt"/>
                <a:ea typeface="宋体" panose="02010600030101010101" pitchFamily="2" charset="-122"/>
              </a:rPr>
              <a:t>China</a:t>
            </a:r>
            <a:endParaRPr lang="en-GB" altLang="zh-CN" dirty="0">
              <a:solidFill>
                <a:srgbClr val="000000"/>
              </a:solidFill>
              <a:latin typeface="+mj-lt"/>
              <a:ea typeface="宋体" panose="02010600030101010101" pitchFamily="2" charset="-122"/>
            </a:endParaRPr>
          </a:p>
        </p:txBody>
      </p:sp>
      <p:cxnSp>
        <p:nvCxnSpPr>
          <p:cNvPr id="82" name="Straight Arrow Connector 81"/>
          <p:cNvCxnSpPr>
            <a:stCxn id="68" idx="2"/>
            <a:endCxn id="76" idx="0"/>
          </p:cNvCxnSpPr>
          <p:nvPr/>
        </p:nvCxnSpPr>
        <p:spPr>
          <a:xfrm>
            <a:off x="1668139" y="5068617"/>
            <a:ext cx="3834" cy="504725"/>
          </a:xfrm>
          <a:prstGeom prst="straightConnector1">
            <a:avLst/>
          </a:prstGeom>
          <a:noFill/>
          <a:ln w="15875" cap="flat" cmpd="sng" algn="ctr">
            <a:solidFill>
              <a:srgbClr val="A32020">
                <a:shade val="95000"/>
                <a:satMod val="105000"/>
              </a:srgbClr>
            </a:solidFill>
            <a:prstDash val="solid"/>
            <a:tailEnd type="triangle"/>
          </a:ln>
          <a:effectLst/>
        </p:spPr>
      </p:cxnSp>
      <p:sp>
        <p:nvSpPr>
          <p:cNvPr id="83" name="Rectangle 82"/>
          <p:cNvSpPr/>
          <p:nvPr/>
        </p:nvSpPr>
        <p:spPr bwMode="ltGray">
          <a:xfrm>
            <a:off x="1784650" y="3625886"/>
            <a:ext cx="1487771" cy="40320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zh-CN" i="0" u="none" strike="noStrike" kern="0" cap="none" spc="0" normalizeH="0" baseline="0" noProof="0" dirty="0" smtClean="0">
                <a:ln>
                  <a:noFill/>
                </a:ln>
                <a:solidFill>
                  <a:srgbClr val="FFFFFF"/>
                </a:solidFill>
                <a:effectLst/>
                <a:uLnTx/>
                <a:uFillTx/>
                <a:latin typeface="+mj-lt"/>
                <a:ea typeface="宋体" panose="02010600030101010101" pitchFamily="2" charset="-122"/>
                <a:cs typeface="+mn-cs"/>
              </a:rPr>
              <a:t>Group HQ</a:t>
            </a:r>
          </a:p>
        </p:txBody>
      </p:sp>
      <p:sp>
        <p:nvSpPr>
          <p:cNvPr id="84" name="Multiply 83"/>
          <p:cNvSpPr/>
          <p:nvPr/>
        </p:nvSpPr>
        <p:spPr bwMode="ltGray">
          <a:xfrm>
            <a:off x="1559085" y="5230303"/>
            <a:ext cx="212368" cy="216024"/>
          </a:xfrm>
          <a:prstGeom prst="mathMultiply">
            <a:avLst/>
          </a:prstGeom>
          <a:solidFill>
            <a:srgbClr val="A32020"/>
          </a:solidFill>
          <a:ln w="3175" cap="flat" cmpd="sng" algn="ctr">
            <a:solidFill>
              <a:srgbClr val="A32020">
                <a:shade val="50000"/>
              </a:srgbClr>
            </a:solidFill>
            <a:prstDash val="solid"/>
          </a:ln>
          <a:effectLst/>
        </p:spPr>
        <p:txBody>
          <a:bodyPr lIns="91429" tIns="45714" rIns="91429" bIns="45714"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zh-CN" i="0" u="none" strike="noStrike" kern="0" cap="none" spc="0" normalizeH="0" baseline="0" noProof="0" dirty="0" err="1" smtClean="0">
              <a:ln>
                <a:noFill/>
              </a:ln>
              <a:solidFill>
                <a:srgbClr val="FFFFFF"/>
              </a:solidFill>
              <a:effectLst/>
              <a:uLnTx/>
              <a:uFillTx/>
              <a:latin typeface="+mj-lt"/>
              <a:ea typeface="宋体" panose="02010600030101010101" pitchFamily="2" charset="-122"/>
              <a:cs typeface="+mn-cs"/>
            </a:endParaRPr>
          </a:p>
        </p:txBody>
      </p:sp>
      <p:sp>
        <p:nvSpPr>
          <p:cNvPr id="85" name="Rectangle 84"/>
          <p:cNvSpPr/>
          <p:nvPr/>
        </p:nvSpPr>
        <p:spPr bwMode="ltGray">
          <a:xfrm>
            <a:off x="5767410" y="4737412"/>
            <a:ext cx="1487771" cy="40320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zh-CN" i="0" u="none" strike="noStrike" kern="0" cap="none" spc="0" normalizeH="0" baseline="0" noProof="0" dirty="0" smtClean="0">
                <a:ln>
                  <a:noFill/>
                </a:ln>
                <a:solidFill>
                  <a:srgbClr val="FFFFFF"/>
                </a:solidFill>
                <a:effectLst/>
                <a:uLnTx/>
                <a:uFillTx/>
                <a:latin typeface="+mj-lt"/>
                <a:ea typeface="宋体" panose="02010600030101010101" pitchFamily="2" charset="-122"/>
              </a:rPr>
              <a:t>Transferor</a:t>
            </a:r>
          </a:p>
          <a:p>
            <a:pPr marL="0" marR="0" lvl="0" indent="0" algn="ctr" defTabSz="914400" eaLnBrk="1" fontAlgn="auto" latinLnBrk="0" hangingPunct="1">
              <a:lnSpc>
                <a:spcPct val="100000"/>
              </a:lnSpc>
              <a:spcBef>
                <a:spcPts val="0"/>
              </a:spcBef>
              <a:spcAft>
                <a:spcPts val="0"/>
              </a:spcAft>
              <a:buClrTx/>
              <a:buSzTx/>
              <a:buFontTx/>
              <a:buNone/>
              <a:tabLst/>
              <a:defRPr/>
            </a:pPr>
            <a:r>
              <a:rPr lang="zh-CN" altLang="en-GB" kern="0" dirty="0" smtClean="0">
                <a:solidFill>
                  <a:srgbClr val="FFFFFF"/>
                </a:solidFill>
                <a:latin typeface="+mj-lt"/>
                <a:ea typeface="宋体" panose="02010600030101010101" pitchFamily="2" charset="-122"/>
              </a:rPr>
              <a:t>（</a:t>
            </a:r>
            <a:r>
              <a:rPr lang="en-GB" altLang="zh-CN" kern="0" dirty="0" smtClean="0">
                <a:solidFill>
                  <a:srgbClr val="FFFFFF"/>
                </a:solidFill>
                <a:latin typeface="+mj-lt"/>
                <a:ea typeface="宋体" panose="02010600030101010101" pitchFamily="2" charset="-122"/>
              </a:rPr>
              <a:t>Cayman</a:t>
            </a:r>
            <a:r>
              <a:rPr lang="zh-CN" altLang="en-GB" kern="0" dirty="0" smtClean="0">
                <a:solidFill>
                  <a:srgbClr val="FFFFFF"/>
                </a:solidFill>
                <a:latin typeface="+mj-lt"/>
                <a:ea typeface="宋体" panose="02010600030101010101" pitchFamily="2" charset="-122"/>
              </a:rPr>
              <a:t>）</a:t>
            </a:r>
            <a:endParaRPr kumimoji="0" lang="en-GB" altLang="zh-CN" i="0" u="none" strike="noStrike" kern="0" cap="none" spc="0" normalizeH="0" baseline="0" noProof="0" dirty="0" err="1" smtClean="0">
              <a:ln>
                <a:noFill/>
              </a:ln>
              <a:solidFill>
                <a:srgbClr val="FFFFFF"/>
              </a:solidFill>
              <a:effectLst/>
              <a:uLnTx/>
              <a:uFillTx/>
              <a:latin typeface="+mj-lt"/>
              <a:ea typeface="宋体" panose="02010600030101010101" pitchFamily="2" charset="-122"/>
            </a:endParaRPr>
          </a:p>
        </p:txBody>
      </p:sp>
      <p:sp>
        <p:nvSpPr>
          <p:cNvPr id="86" name="Rectangle 85"/>
          <p:cNvSpPr/>
          <p:nvPr/>
        </p:nvSpPr>
        <p:spPr bwMode="ltGray">
          <a:xfrm>
            <a:off x="7564998" y="4737412"/>
            <a:ext cx="1486800" cy="403200"/>
          </a:xfrm>
          <a:prstGeom prst="rect">
            <a:avLst/>
          </a:prstGeom>
          <a:ln/>
        </p:spPr>
        <p:style>
          <a:lnRef idx="1">
            <a:schemeClr val="accent4"/>
          </a:lnRef>
          <a:fillRef idx="3">
            <a:schemeClr val="accent4"/>
          </a:fillRef>
          <a:effectRef idx="2">
            <a:schemeClr val="accent4"/>
          </a:effectRef>
          <a:fontRef idx="minor">
            <a:schemeClr val="lt1"/>
          </a:fontRef>
        </p:style>
        <p:txBody>
          <a:bodyPr rtlCol="0" anchor="ctr"/>
          <a:lstStyle/>
          <a:p>
            <a:pPr lvl="0" algn="ctr" defTabSz="914400">
              <a:defRPr/>
            </a:pPr>
            <a:r>
              <a:rPr lang="en-GB" altLang="zh-CN" kern="0" dirty="0" smtClean="0">
                <a:solidFill>
                  <a:srgbClr val="FFFFFF"/>
                </a:solidFill>
                <a:latin typeface="+mj-lt"/>
                <a:ea typeface="宋体" panose="02010600030101010101" pitchFamily="2" charset="-122"/>
              </a:rPr>
              <a:t>Transferee</a:t>
            </a:r>
          </a:p>
          <a:p>
            <a:pPr lvl="0" algn="ctr" defTabSz="914400">
              <a:defRPr/>
            </a:pPr>
            <a:r>
              <a:rPr lang="zh-CN" altLang="en-GB" kern="0" dirty="0" smtClean="0">
                <a:solidFill>
                  <a:srgbClr val="FFFFFF"/>
                </a:solidFill>
                <a:latin typeface="+mj-lt"/>
                <a:ea typeface="宋体" panose="02010600030101010101" pitchFamily="2" charset="-122"/>
              </a:rPr>
              <a:t>（</a:t>
            </a:r>
            <a:r>
              <a:rPr lang="en-GB" altLang="zh-CN" kern="0" dirty="0" smtClean="0">
                <a:solidFill>
                  <a:srgbClr val="FFFFFF"/>
                </a:solidFill>
                <a:latin typeface="+mj-lt"/>
                <a:ea typeface="宋体" panose="02010600030101010101" pitchFamily="2" charset="-122"/>
              </a:rPr>
              <a:t>Singapore</a:t>
            </a:r>
            <a:r>
              <a:rPr lang="zh-CN" altLang="en-GB" kern="0" dirty="0" smtClean="0">
                <a:solidFill>
                  <a:srgbClr val="FFFFFF"/>
                </a:solidFill>
                <a:latin typeface="+mj-lt"/>
                <a:ea typeface="宋体" panose="02010600030101010101" pitchFamily="2" charset="-122"/>
              </a:rPr>
              <a:t>）</a:t>
            </a:r>
            <a:endParaRPr lang="en-GB" altLang="zh-CN" kern="0" dirty="0">
              <a:solidFill>
                <a:srgbClr val="FFFFFF"/>
              </a:solidFill>
              <a:latin typeface="+mj-lt"/>
              <a:ea typeface="宋体" panose="02010600030101010101" pitchFamily="2" charset="-122"/>
            </a:endParaRPr>
          </a:p>
        </p:txBody>
      </p:sp>
      <p:sp>
        <p:nvSpPr>
          <p:cNvPr id="87" name="Rectangle 86"/>
          <p:cNvSpPr/>
          <p:nvPr/>
        </p:nvSpPr>
        <p:spPr bwMode="ltGray">
          <a:xfrm>
            <a:off x="5786263" y="5601517"/>
            <a:ext cx="1457733" cy="403200"/>
          </a:xfrm>
          <a:prstGeom prst="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defTabSz="914400"/>
            <a:r>
              <a:rPr lang="en-GB" altLang="zh-CN" kern="0" dirty="0" smtClean="0">
                <a:solidFill>
                  <a:srgbClr val="FFFFFF"/>
                </a:solidFill>
                <a:latin typeface="+mj-lt"/>
                <a:ea typeface="宋体" panose="02010600030101010101" pitchFamily="2" charset="-122"/>
              </a:rPr>
              <a:t>Intermediate Holding Company</a:t>
            </a:r>
            <a:endParaRPr lang="en-GB" altLang="zh-CN" kern="0" dirty="0">
              <a:solidFill>
                <a:srgbClr val="FFFFFF"/>
              </a:solidFill>
              <a:latin typeface="+mj-lt"/>
              <a:ea typeface="宋体" panose="02010600030101010101" pitchFamily="2" charset="-122"/>
            </a:endParaRPr>
          </a:p>
        </p:txBody>
      </p:sp>
      <p:sp>
        <p:nvSpPr>
          <p:cNvPr id="88" name="Rectangle 87"/>
          <p:cNvSpPr/>
          <p:nvPr/>
        </p:nvSpPr>
        <p:spPr bwMode="ltGray">
          <a:xfrm>
            <a:off x="5786263" y="6448799"/>
            <a:ext cx="1457733" cy="403200"/>
          </a:xfrm>
          <a:prstGeom prst="rect">
            <a:avLst/>
          </a:prstGeom>
          <a:ln/>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zh-CN" i="0" u="none" strike="noStrike" kern="0" cap="none" spc="0" normalizeH="0" baseline="0" noProof="0" dirty="0" smtClean="0">
                <a:ln>
                  <a:noFill/>
                </a:ln>
                <a:solidFill>
                  <a:srgbClr val="FFFFFF"/>
                </a:solidFill>
                <a:effectLst/>
                <a:uLnTx/>
                <a:uFillTx/>
                <a:latin typeface="+mj-lt"/>
                <a:ea typeface="宋体" panose="02010600030101010101" pitchFamily="2" charset="-122"/>
                <a:cs typeface="+mn-cs"/>
              </a:rPr>
              <a:t>China Company</a:t>
            </a:r>
          </a:p>
        </p:txBody>
      </p:sp>
      <p:sp>
        <p:nvSpPr>
          <p:cNvPr id="90" name="Rectangle 89"/>
          <p:cNvSpPr/>
          <p:nvPr/>
        </p:nvSpPr>
        <p:spPr bwMode="ltGray">
          <a:xfrm>
            <a:off x="6626194" y="3641517"/>
            <a:ext cx="1487771" cy="40320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GB" altLang="zh-CN" i="0" u="none" strike="noStrike" kern="0" cap="none" spc="0" normalizeH="0" baseline="0" noProof="0" dirty="0" smtClean="0">
                <a:ln>
                  <a:noFill/>
                </a:ln>
                <a:solidFill>
                  <a:srgbClr val="FFFFFF"/>
                </a:solidFill>
                <a:effectLst/>
                <a:uLnTx/>
                <a:uFillTx/>
                <a:latin typeface="+mj-lt"/>
                <a:ea typeface="宋体" panose="02010600030101010101" pitchFamily="2" charset="-122"/>
                <a:cs typeface="+mn-cs"/>
              </a:rPr>
              <a:t>Group HQ</a:t>
            </a:r>
          </a:p>
        </p:txBody>
      </p:sp>
      <p:cxnSp>
        <p:nvCxnSpPr>
          <p:cNvPr id="91" name="Straight Arrow Connector 90"/>
          <p:cNvCxnSpPr>
            <a:stCxn id="87" idx="2"/>
            <a:endCxn id="88" idx="0"/>
          </p:cNvCxnSpPr>
          <p:nvPr/>
        </p:nvCxnSpPr>
        <p:spPr>
          <a:xfrm>
            <a:off x="6515130" y="6004717"/>
            <a:ext cx="0" cy="444082"/>
          </a:xfrm>
          <a:prstGeom prst="straightConnector1">
            <a:avLst/>
          </a:prstGeom>
          <a:noFill/>
          <a:ln w="15875" cap="flat" cmpd="sng" algn="ctr">
            <a:solidFill>
              <a:srgbClr val="A32020">
                <a:shade val="95000"/>
                <a:satMod val="105000"/>
              </a:srgbClr>
            </a:solidFill>
            <a:prstDash val="solid"/>
            <a:tailEnd type="triangle"/>
          </a:ln>
          <a:effectLst/>
        </p:spPr>
      </p:cxnSp>
      <p:cxnSp>
        <p:nvCxnSpPr>
          <p:cNvPr id="92" name="Straight Arrow Connector 91"/>
          <p:cNvCxnSpPr>
            <a:stCxn id="85" idx="2"/>
            <a:endCxn id="87" idx="0"/>
          </p:cNvCxnSpPr>
          <p:nvPr/>
        </p:nvCxnSpPr>
        <p:spPr>
          <a:xfrm>
            <a:off x="6511296" y="5140612"/>
            <a:ext cx="3834" cy="460905"/>
          </a:xfrm>
          <a:prstGeom prst="straightConnector1">
            <a:avLst/>
          </a:prstGeom>
          <a:noFill/>
          <a:ln w="15875" cap="flat" cmpd="sng" algn="ctr">
            <a:solidFill>
              <a:srgbClr val="A32020">
                <a:shade val="95000"/>
                <a:satMod val="105000"/>
              </a:srgbClr>
            </a:solidFill>
            <a:prstDash val="solid"/>
            <a:tailEnd type="triangle"/>
          </a:ln>
          <a:effectLst/>
        </p:spPr>
      </p:cxnSp>
      <p:sp>
        <p:nvSpPr>
          <p:cNvPr id="93" name="Multiply 92"/>
          <p:cNvSpPr/>
          <p:nvPr/>
        </p:nvSpPr>
        <p:spPr bwMode="ltGray">
          <a:xfrm>
            <a:off x="6410853" y="5254249"/>
            <a:ext cx="212368" cy="216024"/>
          </a:xfrm>
          <a:prstGeom prst="mathMultiply">
            <a:avLst/>
          </a:prstGeom>
          <a:solidFill>
            <a:srgbClr val="A32020"/>
          </a:solidFill>
          <a:ln w="3175" cap="flat" cmpd="sng" algn="ctr">
            <a:solidFill>
              <a:srgbClr val="A32020">
                <a:shade val="50000"/>
              </a:srgbClr>
            </a:solidFill>
            <a:prstDash val="solid"/>
          </a:ln>
          <a:effectLst/>
        </p:spPr>
        <p:txBody>
          <a:bodyPr lIns="91429" tIns="45714" rIns="91429" bIns="45714"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zh-CN" i="0" u="none" strike="noStrike" kern="0" cap="none" spc="0" normalizeH="0" baseline="0" noProof="0" dirty="0" err="1" smtClean="0">
              <a:ln>
                <a:noFill/>
              </a:ln>
              <a:solidFill>
                <a:srgbClr val="FFFFFF"/>
              </a:solidFill>
              <a:effectLst/>
              <a:uLnTx/>
              <a:uFillTx/>
              <a:latin typeface="+mj-lt"/>
              <a:ea typeface="宋体" panose="02010600030101010101" pitchFamily="2" charset="-122"/>
              <a:cs typeface="+mn-cs"/>
            </a:endParaRPr>
          </a:p>
        </p:txBody>
      </p:sp>
      <p:sp>
        <p:nvSpPr>
          <p:cNvPr id="94" name="TextBox 93"/>
          <p:cNvSpPr txBox="1"/>
          <p:nvPr/>
        </p:nvSpPr>
        <p:spPr>
          <a:xfrm>
            <a:off x="1724678" y="4134306"/>
            <a:ext cx="548541" cy="242156"/>
          </a:xfrm>
          <a:prstGeom prst="rect">
            <a:avLst/>
          </a:prstGeom>
          <a:noFill/>
        </p:spPr>
        <p:txBody>
          <a:bodyPr vert="horz" wrap="square" lIns="0" tIns="0" rIns="0" bIns="0" rtlCol="0">
            <a:noAutofit/>
          </a:bodyPr>
          <a:lstStyle/>
          <a:p>
            <a:pPr defTabSz="914400">
              <a:spcAft>
                <a:spcPts val="900"/>
              </a:spcAft>
            </a:pPr>
            <a:r>
              <a:rPr lang="en-GB" altLang="zh-CN" dirty="0" smtClean="0">
                <a:solidFill>
                  <a:srgbClr val="000000"/>
                </a:solidFill>
                <a:latin typeface="+mj-lt"/>
                <a:ea typeface="宋体" panose="02010600030101010101" pitchFamily="2" charset="-122"/>
              </a:rPr>
              <a:t>100%</a:t>
            </a:r>
            <a:endParaRPr lang="en-GB" altLang="zh-CN" dirty="0">
              <a:solidFill>
                <a:srgbClr val="000000"/>
              </a:solidFill>
              <a:latin typeface="+mj-lt"/>
              <a:ea typeface="宋体" panose="02010600030101010101" pitchFamily="2" charset="-122"/>
            </a:endParaRPr>
          </a:p>
        </p:txBody>
      </p:sp>
      <p:sp>
        <p:nvSpPr>
          <p:cNvPr id="95" name="TextBox 94"/>
          <p:cNvSpPr txBox="1"/>
          <p:nvPr/>
        </p:nvSpPr>
        <p:spPr>
          <a:xfrm>
            <a:off x="2988499" y="4114464"/>
            <a:ext cx="548541" cy="242156"/>
          </a:xfrm>
          <a:prstGeom prst="rect">
            <a:avLst/>
          </a:prstGeom>
          <a:noFill/>
        </p:spPr>
        <p:txBody>
          <a:bodyPr vert="horz" wrap="square" lIns="0" tIns="0" rIns="0" bIns="0" rtlCol="0">
            <a:noAutofit/>
          </a:bodyPr>
          <a:lstStyle/>
          <a:p>
            <a:pPr defTabSz="914400">
              <a:spcAft>
                <a:spcPts val="900"/>
              </a:spcAft>
            </a:pPr>
            <a:r>
              <a:rPr lang="en-GB" altLang="zh-CN" dirty="0" smtClean="0">
                <a:solidFill>
                  <a:srgbClr val="000000"/>
                </a:solidFill>
                <a:latin typeface="+mj-lt"/>
                <a:ea typeface="宋体" panose="02010600030101010101" pitchFamily="2" charset="-122"/>
              </a:rPr>
              <a:t>100%</a:t>
            </a:r>
            <a:endParaRPr lang="en-GB" altLang="zh-CN" dirty="0">
              <a:solidFill>
                <a:srgbClr val="000000"/>
              </a:solidFill>
              <a:latin typeface="+mj-lt"/>
              <a:ea typeface="宋体" panose="02010600030101010101" pitchFamily="2" charset="-122"/>
            </a:endParaRPr>
          </a:p>
        </p:txBody>
      </p:sp>
      <p:sp>
        <p:nvSpPr>
          <p:cNvPr id="96" name="TextBox 95"/>
          <p:cNvSpPr txBox="1"/>
          <p:nvPr/>
        </p:nvSpPr>
        <p:spPr>
          <a:xfrm>
            <a:off x="1089121" y="5296534"/>
            <a:ext cx="418848" cy="242156"/>
          </a:xfrm>
          <a:prstGeom prst="rect">
            <a:avLst/>
          </a:prstGeom>
          <a:noFill/>
        </p:spPr>
        <p:txBody>
          <a:bodyPr vert="horz" wrap="square" lIns="0" tIns="0" rIns="0" bIns="0" rtlCol="0">
            <a:noAutofit/>
          </a:bodyPr>
          <a:lstStyle/>
          <a:p>
            <a:pPr defTabSz="914400">
              <a:spcAft>
                <a:spcPts val="900"/>
              </a:spcAft>
            </a:pPr>
            <a:r>
              <a:rPr lang="en-GB" altLang="zh-CN" dirty="0" smtClean="0">
                <a:solidFill>
                  <a:srgbClr val="000000"/>
                </a:solidFill>
                <a:latin typeface="+mj-lt"/>
                <a:ea typeface="宋体" panose="02010600030101010101" pitchFamily="2" charset="-122"/>
              </a:rPr>
              <a:t>100%</a:t>
            </a:r>
            <a:endParaRPr lang="en-GB" altLang="zh-CN" dirty="0">
              <a:solidFill>
                <a:srgbClr val="000000"/>
              </a:solidFill>
              <a:latin typeface="+mj-lt"/>
              <a:ea typeface="宋体" panose="02010600030101010101" pitchFamily="2" charset="-122"/>
            </a:endParaRPr>
          </a:p>
        </p:txBody>
      </p:sp>
      <p:sp>
        <p:nvSpPr>
          <p:cNvPr id="97" name="TextBox 96"/>
          <p:cNvSpPr txBox="1"/>
          <p:nvPr/>
        </p:nvSpPr>
        <p:spPr>
          <a:xfrm>
            <a:off x="1122408" y="6151453"/>
            <a:ext cx="548541" cy="242156"/>
          </a:xfrm>
          <a:prstGeom prst="rect">
            <a:avLst/>
          </a:prstGeom>
          <a:noFill/>
        </p:spPr>
        <p:txBody>
          <a:bodyPr vert="horz" wrap="square" lIns="0" tIns="0" rIns="0" bIns="0" rtlCol="0">
            <a:noAutofit/>
          </a:bodyPr>
          <a:lstStyle/>
          <a:p>
            <a:pPr defTabSz="914400">
              <a:spcAft>
                <a:spcPts val="900"/>
              </a:spcAft>
            </a:pPr>
            <a:r>
              <a:rPr lang="en-GB" altLang="zh-CN" dirty="0" smtClean="0">
                <a:solidFill>
                  <a:srgbClr val="000000"/>
                </a:solidFill>
                <a:latin typeface="+mj-lt"/>
                <a:ea typeface="宋体" panose="02010600030101010101" pitchFamily="2" charset="-122"/>
              </a:rPr>
              <a:t>24%</a:t>
            </a:r>
            <a:endParaRPr lang="en-GB" altLang="zh-CN" dirty="0">
              <a:solidFill>
                <a:srgbClr val="000000"/>
              </a:solidFill>
              <a:latin typeface="+mj-lt"/>
              <a:ea typeface="宋体" panose="02010600030101010101" pitchFamily="2" charset="-122"/>
            </a:endParaRPr>
          </a:p>
        </p:txBody>
      </p:sp>
      <p:sp>
        <p:nvSpPr>
          <p:cNvPr id="98" name="TextBox 97"/>
          <p:cNvSpPr txBox="1"/>
          <p:nvPr/>
        </p:nvSpPr>
        <p:spPr>
          <a:xfrm>
            <a:off x="6636254" y="4182063"/>
            <a:ext cx="548541" cy="279961"/>
          </a:xfrm>
          <a:prstGeom prst="rect">
            <a:avLst/>
          </a:prstGeom>
          <a:noFill/>
        </p:spPr>
        <p:txBody>
          <a:bodyPr vert="horz" wrap="square" lIns="0" tIns="0" rIns="0" bIns="0" rtlCol="0">
            <a:noAutofit/>
          </a:bodyPr>
          <a:lstStyle/>
          <a:p>
            <a:pPr defTabSz="914400">
              <a:spcAft>
                <a:spcPts val="900"/>
              </a:spcAft>
            </a:pPr>
            <a:r>
              <a:rPr lang="en-GB" altLang="zh-CN" dirty="0" smtClean="0">
                <a:solidFill>
                  <a:srgbClr val="000000"/>
                </a:solidFill>
                <a:latin typeface="+mj-lt"/>
                <a:ea typeface="宋体" panose="02010600030101010101" pitchFamily="2" charset="-122"/>
              </a:rPr>
              <a:t>100%</a:t>
            </a:r>
            <a:endParaRPr lang="en-GB" altLang="zh-CN" dirty="0">
              <a:solidFill>
                <a:srgbClr val="000000"/>
              </a:solidFill>
              <a:latin typeface="+mj-lt"/>
              <a:ea typeface="宋体" panose="02010600030101010101" pitchFamily="2" charset="-122"/>
            </a:endParaRPr>
          </a:p>
        </p:txBody>
      </p:sp>
      <p:sp>
        <p:nvSpPr>
          <p:cNvPr id="99" name="TextBox 98"/>
          <p:cNvSpPr txBox="1"/>
          <p:nvPr/>
        </p:nvSpPr>
        <p:spPr>
          <a:xfrm>
            <a:off x="7697467" y="4181968"/>
            <a:ext cx="548541" cy="242156"/>
          </a:xfrm>
          <a:prstGeom prst="rect">
            <a:avLst/>
          </a:prstGeom>
          <a:noFill/>
        </p:spPr>
        <p:txBody>
          <a:bodyPr vert="horz" wrap="square" lIns="0" tIns="0" rIns="0" bIns="0" rtlCol="0">
            <a:noAutofit/>
          </a:bodyPr>
          <a:lstStyle/>
          <a:p>
            <a:pPr defTabSz="914400">
              <a:spcAft>
                <a:spcPts val="900"/>
              </a:spcAft>
            </a:pPr>
            <a:r>
              <a:rPr lang="en-GB" altLang="zh-CN" dirty="0" smtClean="0">
                <a:solidFill>
                  <a:srgbClr val="000000"/>
                </a:solidFill>
                <a:latin typeface="+mj-lt"/>
                <a:ea typeface="宋体" panose="02010600030101010101" pitchFamily="2" charset="-122"/>
              </a:rPr>
              <a:t>100%</a:t>
            </a:r>
            <a:endParaRPr lang="en-GB" altLang="zh-CN" dirty="0">
              <a:solidFill>
                <a:srgbClr val="000000"/>
              </a:solidFill>
              <a:latin typeface="+mj-lt"/>
              <a:ea typeface="宋体" panose="02010600030101010101" pitchFamily="2" charset="-122"/>
            </a:endParaRPr>
          </a:p>
        </p:txBody>
      </p:sp>
      <p:sp>
        <p:nvSpPr>
          <p:cNvPr id="100" name="TextBox 99"/>
          <p:cNvSpPr txBox="1"/>
          <p:nvPr/>
        </p:nvSpPr>
        <p:spPr>
          <a:xfrm>
            <a:off x="5793578" y="5344514"/>
            <a:ext cx="548541" cy="242156"/>
          </a:xfrm>
          <a:prstGeom prst="rect">
            <a:avLst/>
          </a:prstGeom>
          <a:noFill/>
        </p:spPr>
        <p:txBody>
          <a:bodyPr vert="horz" wrap="square" lIns="0" tIns="0" rIns="0" bIns="0" rtlCol="0">
            <a:noAutofit/>
          </a:bodyPr>
          <a:lstStyle/>
          <a:p>
            <a:pPr defTabSz="914400">
              <a:spcAft>
                <a:spcPts val="900"/>
              </a:spcAft>
            </a:pPr>
            <a:r>
              <a:rPr lang="en-GB" altLang="zh-CN" dirty="0" smtClean="0">
                <a:solidFill>
                  <a:srgbClr val="000000"/>
                </a:solidFill>
                <a:latin typeface="+mj-lt"/>
                <a:ea typeface="宋体" panose="02010600030101010101" pitchFamily="2" charset="-122"/>
              </a:rPr>
              <a:t>100%</a:t>
            </a:r>
            <a:endParaRPr lang="en-GB" altLang="zh-CN" dirty="0">
              <a:solidFill>
                <a:srgbClr val="000000"/>
              </a:solidFill>
              <a:latin typeface="+mj-lt"/>
              <a:ea typeface="宋体" panose="02010600030101010101" pitchFamily="2" charset="-122"/>
            </a:endParaRPr>
          </a:p>
        </p:txBody>
      </p:sp>
      <p:sp>
        <p:nvSpPr>
          <p:cNvPr id="101" name="TextBox 100"/>
          <p:cNvSpPr txBox="1"/>
          <p:nvPr/>
        </p:nvSpPr>
        <p:spPr>
          <a:xfrm>
            <a:off x="5793578" y="6239649"/>
            <a:ext cx="548541" cy="242156"/>
          </a:xfrm>
          <a:prstGeom prst="rect">
            <a:avLst/>
          </a:prstGeom>
          <a:noFill/>
        </p:spPr>
        <p:txBody>
          <a:bodyPr vert="horz" wrap="square" lIns="0" tIns="0" rIns="0" bIns="0" rtlCol="0">
            <a:noAutofit/>
          </a:bodyPr>
          <a:lstStyle/>
          <a:p>
            <a:pPr defTabSz="914400">
              <a:spcAft>
                <a:spcPts val="900"/>
              </a:spcAft>
            </a:pPr>
            <a:r>
              <a:rPr lang="en-GB" altLang="zh-CN" dirty="0" smtClean="0">
                <a:solidFill>
                  <a:srgbClr val="000000"/>
                </a:solidFill>
                <a:latin typeface="+mj-lt"/>
                <a:ea typeface="宋体" panose="02010600030101010101" pitchFamily="2" charset="-122"/>
              </a:rPr>
              <a:t>24%</a:t>
            </a:r>
            <a:endParaRPr lang="en-GB" altLang="zh-CN" dirty="0">
              <a:solidFill>
                <a:srgbClr val="000000"/>
              </a:solidFill>
              <a:latin typeface="+mj-lt"/>
              <a:ea typeface="宋体" panose="02010600030101010101" pitchFamily="2" charset="-122"/>
            </a:endParaRPr>
          </a:p>
        </p:txBody>
      </p:sp>
      <p:sp>
        <p:nvSpPr>
          <p:cNvPr id="105" name="TextBox 104"/>
          <p:cNvSpPr txBox="1"/>
          <p:nvPr/>
        </p:nvSpPr>
        <p:spPr>
          <a:xfrm>
            <a:off x="3963683" y="3498475"/>
            <a:ext cx="713821" cy="592663"/>
          </a:xfrm>
          <a:prstGeom prst="rect">
            <a:avLst/>
          </a:prstGeom>
          <a:noFill/>
        </p:spPr>
        <p:txBody>
          <a:bodyPr vert="horz" wrap="square" lIns="0" tIns="0" rIns="0" bIns="0" rtlCol="0">
            <a:noAutofit/>
          </a:bodyPr>
          <a:lstStyle/>
          <a:p>
            <a:pPr defTabSz="914400">
              <a:spcAft>
                <a:spcPts val="808"/>
              </a:spcAft>
            </a:pPr>
            <a:r>
              <a:rPr lang="en-GB" altLang="zh-CN" sz="3600" b="1" dirty="0" smtClean="0">
                <a:solidFill>
                  <a:srgbClr val="00B050"/>
                </a:solidFill>
                <a:latin typeface="+mj-lt"/>
                <a:ea typeface="宋体" panose="02010600030101010101" pitchFamily="2" charset="-122"/>
              </a:rPr>
              <a:t>√</a:t>
            </a:r>
            <a:endParaRPr lang="en-GB" altLang="zh-CN" sz="3600" b="1" dirty="0">
              <a:solidFill>
                <a:srgbClr val="00B050"/>
              </a:solidFill>
              <a:latin typeface="+mj-lt"/>
              <a:ea typeface="宋体" panose="02010600030101010101" pitchFamily="2" charset="-122"/>
            </a:endParaRPr>
          </a:p>
        </p:txBody>
      </p:sp>
      <p:sp>
        <p:nvSpPr>
          <p:cNvPr id="106" name="TextBox 105"/>
          <p:cNvSpPr txBox="1"/>
          <p:nvPr/>
        </p:nvSpPr>
        <p:spPr>
          <a:xfrm>
            <a:off x="8721845" y="3589400"/>
            <a:ext cx="713821" cy="592663"/>
          </a:xfrm>
          <a:prstGeom prst="rect">
            <a:avLst/>
          </a:prstGeom>
          <a:noFill/>
        </p:spPr>
        <p:txBody>
          <a:bodyPr vert="horz" wrap="square" lIns="0" tIns="0" rIns="0" bIns="0" rtlCol="0">
            <a:noAutofit/>
          </a:bodyPr>
          <a:lstStyle/>
          <a:p>
            <a:pPr defTabSz="914400">
              <a:spcAft>
                <a:spcPts val="808"/>
              </a:spcAft>
            </a:pPr>
            <a:r>
              <a:rPr lang="en-GB" altLang="zh-CN" sz="3600" dirty="0" smtClean="0">
                <a:solidFill>
                  <a:srgbClr val="FF0000"/>
                </a:solidFill>
                <a:latin typeface="+mj-lt"/>
                <a:ea typeface="宋体" panose="02010600030101010101" pitchFamily="2" charset="-122"/>
              </a:rPr>
              <a:t>×</a:t>
            </a:r>
            <a:endParaRPr lang="en-GB" altLang="zh-CN" sz="3600" dirty="0">
              <a:solidFill>
                <a:srgbClr val="FF0000"/>
              </a:solidFill>
              <a:latin typeface="+mj-lt"/>
              <a:ea typeface="宋体" panose="02010600030101010101" pitchFamily="2" charset="-122"/>
            </a:endParaRPr>
          </a:p>
        </p:txBody>
      </p:sp>
      <p:cxnSp>
        <p:nvCxnSpPr>
          <p:cNvPr id="107" name="Straight Connector 106"/>
          <p:cNvCxnSpPr/>
          <p:nvPr/>
        </p:nvCxnSpPr>
        <p:spPr>
          <a:xfrm flipV="1">
            <a:off x="5390600" y="6186306"/>
            <a:ext cx="3894350" cy="33826"/>
          </a:xfrm>
          <a:prstGeom prst="line">
            <a:avLst/>
          </a:prstGeom>
          <a:noFill/>
          <a:ln w="15875" cap="flat" cmpd="sng" algn="ctr">
            <a:solidFill>
              <a:srgbClr val="0070C0"/>
            </a:solidFill>
            <a:prstDash val="dash"/>
          </a:ln>
          <a:effectLst/>
        </p:spPr>
      </p:cxnSp>
      <p:sp>
        <p:nvSpPr>
          <p:cNvPr id="108" name="Curved Up Arrow 107"/>
          <p:cNvSpPr/>
          <p:nvPr/>
        </p:nvSpPr>
        <p:spPr bwMode="ltGray">
          <a:xfrm rot="19618534">
            <a:off x="7362654" y="5639421"/>
            <a:ext cx="1181118" cy="322882"/>
          </a:xfrm>
          <a:prstGeom prst="curvedUpArrow">
            <a:avLst/>
          </a:prstGeom>
          <a:ln/>
        </p:spPr>
        <p:style>
          <a:lnRef idx="1">
            <a:schemeClr val="accent1"/>
          </a:lnRef>
          <a:fillRef idx="3">
            <a:schemeClr val="accent1"/>
          </a:fillRef>
          <a:effectRef idx="2">
            <a:schemeClr val="accent1"/>
          </a:effectRef>
          <a:fontRef idx="minor">
            <a:schemeClr val="lt1"/>
          </a:fontRef>
        </p:style>
        <p:txBody>
          <a:bodyPr lIns="91429" tIns="45714" rIns="91429" bIns="45714"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zh-CN" i="0" u="none" strike="noStrike" kern="0" cap="none" spc="0" normalizeH="0" baseline="0" noProof="0" dirty="0" err="1" smtClean="0">
              <a:ln>
                <a:noFill/>
              </a:ln>
              <a:solidFill>
                <a:srgbClr val="FFFFFF"/>
              </a:solidFill>
              <a:effectLst/>
              <a:uLnTx/>
              <a:uFillTx/>
              <a:latin typeface="+mj-lt"/>
              <a:ea typeface="宋体" panose="02010600030101010101" pitchFamily="2" charset="-122"/>
              <a:cs typeface="+mn-cs"/>
            </a:endParaRPr>
          </a:p>
        </p:txBody>
      </p:sp>
      <p:cxnSp>
        <p:nvCxnSpPr>
          <p:cNvPr id="109" name="Elbow Connector 108"/>
          <p:cNvCxnSpPr>
            <a:stCxn id="83" idx="2"/>
            <a:endCxn id="68" idx="0"/>
          </p:cNvCxnSpPr>
          <p:nvPr/>
        </p:nvCxnSpPr>
        <p:spPr>
          <a:xfrm rot="5400000">
            <a:off x="1780173" y="3917053"/>
            <a:ext cx="636331" cy="860397"/>
          </a:xfrm>
          <a:prstGeom prst="bentConnector3">
            <a:avLst/>
          </a:prstGeom>
          <a:noFill/>
          <a:ln w="15875" cap="flat" cmpd="sng" algn="ctr">
            <a:solidFill>
              <a:srgbClr val="A32020">
                <a:shade val="95000"/>
                <a:satMod val="105000"/>
              </a:srgbClr>
            </a:solidFill>
            <a:prstDash val="solid"/>
            <a:tailEnd type="triangle"/>
          </a:ln>
          <a:effectLst/>
        </p:spPr>
      </p:cxnSp>
      <p:cxnSp>
        <p:nvCxnSpPr>
          <p:cNvPr id="110" name="Elbow Connector 109"/>
          <p:cNvCxnSpPr>
            <a:stCxn id="83" idx="2"/>
            <a:endCxn id="69" idx="0"/>
          </p:cNvCxnSpPr>
          <p:nvPr/>
        </p:nvCxnSpPr>
        <p:spPr>
          <a:xfrm rot="16200000" flipH="1">
            <a:off x="2659869" y="3897753"/>
            <a:ext cx="636331" cy="898996"/>
          </a:xfrm>
          <a:prstGeom prst="bentConnector3">
            <a:avLst/>
          </a:prstGeom>
          <a:noFill/>
          <a:ln w="15875" cap="flat" cmpd="sng" algn="ctr">
            <a:solidFill>
              <a:srgbClr val="A32020">
                <a:shade val="95000"/>
                <a:satMod val="105000"/>
              </a:srgbClr>
            </a:solidFill>
            <a:prstDash val="solid"/>
            <a:tailEnd type="triangle"/>
          </a:ln>
          <a:effectLst/>
        </p:spPr>
      </p:cxnSp>
      <p:cxnSp>
        <p:nvCxnSpPr>
          <p:cNvPr id="111" name="Elbow Connector 110"/>
          <p:cNvCxnSpPr>
            <a:stCxn id="90" idx="2"/>
            <a:endCxn id="85" idx="0"/>
          </p:cNvCxnSpPr>
          <p:nvPr/>
        </p:nvCxnSpPr>
        <p:spPr>
          <a:xfrm rot="5400000">
            <a:off x="6594341" y="3961672"/>
            <a:ext cx="692695" cy="858784"/>
          </a:xfrm>
          <a:prstGeom prst="bentConnector3">
            <a:avLst/>
          </a:prstGeom>
          <a:noFill/>
          <a:ln w="15875" cap="flat" cmpd="sng" algn="ctr">
            <a:solidFill>
              <a:srgbClr val="A32020">
                <a:shade val="95000"/>
                <a:satMod val="105000"/>
              </a:srgbClr>
            </a:solidFill>
            <a:prstDash val="solid"/>
            <a:tailEnd type="triangle"/>
          </a:ln>
          <a:effectLst/>
        </p:spPr>
      </p:cxnSp>
      <p:cxnSp>
        <p:nvCxnSpPr>
          <p:cNvPr id="112" name="Elbow Connector 111"/>
          <p:cNvCxnSpPr>
            <a:stCxn id="90" idx="2"/>
            <a:endCxn id="86" idx="0"/>
          </p:cNvCxnSpPr>
          <p:nvPr/>
        </p:nvCxnSpPr>
        <p:spPr>
          <a:xfrm rot="16200000" flipH="1">
            <a:off x="7492892" y="3921905"/>
            <a:ext cx="692695" cy="938318"/>
          </a:xfrm>
          <a:prstGeom prst="bentConnector3">
            <a:avLst/>
          </a:prstGeom>
          <a:noFill/>
          <a:ln w="15875" cap="flat" cmpd="sng" algn="ctr">
            <a:solidFill>
              <a:srgbClr val="A32020">
                <a:shade val="95000"/>
                <a:satMod val="105000"/>
              </a:srgbClr>
            </a:solidFill>
            <a:prstDash val="solid"/>
            <a:tailEnd type="triangle"/>
          </a:ln>
          <a:effectLst/>
        </p:spPr>
      </p:cxnSp>
      <p:grpSp>
        <p:nvGrpSpPr>
          <p:cNvPr id="119" name="Group 118"/>
          <p:cNvGrpSpPr/>
          <p:nvPr/>
        </p:nvGrpSpPr>
        <p:grpSpPr>
          <a:xfrm>
            <a:off x="461801" y="2024428"/>
            <a:ext cx="9596599" cy="1726983"/>
            <a:chOff x="432734" y="2037495"/>
            <a:chExt cx="9596599" cy="1726983"/>
          </a:xfrm>
        </p:grpSpPr>
        <p:grpSp>
          <p:nvGrpSpPr>
            <p:cNvPr id="120" name="Group 119"/>
            <p:cNvGrpSpPr/>
            <p:nvPr/>
          </p:nvGrpSpPr>
          <p:grpSpPr>
            <a:xfrm>
              <a:off x="461390" y="2037495"/>
              <a:ext cx="9057513" cy="587916"/>
              <a:chOff x="461390" y="2037495"/>
              <a:chExt cx="9057513" cy="587916"/>
            </a:xfrm>
          </p:grpSpPr>
          <p:sp>
            <p:nvSpPr>
              <p:cNvPr id="122" name="Rectangle 121"/>
              <p:cNvSpPr/>
              <p:nvPr/>
            </p:nvSpPr>
            <p:spPr bwMode="ltGray">
              <a:xfrm>
                <a:off x="461390" y="2037495"/>
                <a:ext cx="9057513" cy="587916"/>
              </a:xfrm>
              <a:prstGeom prst="rect">
                <a:avLst/>
              </a:prstGeom>
              <a:solidFill>
                <a:srgbClr val="FFFFFF">
                  <a:lumMod val="95000"/>
                </a:srgbClr>
              </a:solidFill>
              <a:ln w="3175" cap="flat" cmpd="sng" algn="ctr">
                <a:noFill/>
                <a:prstDash val="solid"/>
              </a:ln>
              <a:effectLst/>
            </p:spPr>
            <p:txBody>
              <a:bodyPr lIns="91429" tIns="45714" rIns="91429" bIns="45714"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zh-CN" sz="1800" b="0" i="0" u="none" strike="noStrike" kern="0" cap="none" spc="0" normalizeH="0" baseline="0" noProof="0" dirty="0" err="1" smtClean="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23" name="Rectangle 122"/>
              <p:cNvSpPr/>
              <p:nvPr/>
            </p:nvSpPr>
            <p:spPr>
              <a:xfrm>
                <a:off x="965447" y="2125882"/>
                <a:ext cx="7992125" cy="369320"/>
              </a:xfrm>
              <a:prstGeom prst="rect">
                <a:avLst/>
              </a:prstGeom>
            </p:spPr>
            <p:txBody>
              <a:bodyPr wrap="square" lIns="91429" tIns="45714" rIns="91429" bIns="45714">
                <a:spAutoFit/>
              </a:bodyPr>
              <a:lstStyle/>
              <a:p>
                <a:pPr defTabSz="914400" hangingPunct="0">
                  <a:buClr>
                    <a:srgbClr val="602320"/>
                  </a:buClr>
                </a:pPr>
                <a:r>
                  <a:rPr lang="en-GB" altLang="zh-CN" sz="1800" dirty="0" smtClean="0">
                    <a:latin typeface="+mj-lt"/>
                  </a:rPr>
                  <a:t>Overseas indirect transfer that meets ALL of the following conditions:</a:t>
                </a:r>
                <a:endParaRPr lang="en-GB" altLang="zh-CN" sz="1800" dirty="0">
                  <a:solidFill>
                    <a:srgbClr val="000000"/>
                  </a:solidFill>
                  <a:latin typeface="+mj-lt"/>
                  <a:ea typeface="宋体" panose="02010600030101010101" pitchFamily="2" charset="-122"/>
                </a:endParaRPr>
              </a:p>
            </p:txBody>
          </p:sp>
          <p:grpSp>
            <p:nvGrpSpPr>
              <p:cNvPr id="124" name="Group 123"/>
              <p:cNvGrpSpPr/>
              <p:nvPr/>
            </p:nvGrpSpPr>
            <p:grpSpPr>
              <a:xfrm>
                <a:off x="586890" y="2181511"/>
                <a:ext cx="451301" cy="443900"/>
                <a:chOff x="664315" y="1760964"/>
                <a:chExt cx="451301" cy="443900"/>
              </a:xfrm>
            </p:grpSpPr>
            <p:sp>
              <p:nvSpPr>
                <p:cNvPr id="125" name="Rectangle 124"/>
                <p:cNvSpPr/>
                <p:nvPr/>
              </p:nvSpPr>
              <p:spPr bwMode="ltGray">
                <a:xfrm>
                  <a:off x="664315" y="1760964"/>
                  <a:ext cx="260928" cy="299884"/>
                </a:xfrm>
                <a:prstGeom prst="rect">
                  <a:avLst/>
                </a:prstGeom>
                <a:solidFill>
                  <a:srgbClr val="602320"/>
                </a:solidFill>
                <a:ln w="317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altLang="zh-CN" sz="1800" b="0" i="0" u="none" strike="noStrike" kern="0" cap="none" spc="0" normalizeH="0" baseline="0" noProof="0" dirty="0" err="1" smtClean="0">
                    <a:ln>
                      <a:noFill/>
                    </a:ln>
                    <a:solidFill>
                      <a:srgbClr val="FFFFFF"/>
                    </a:solidFill>
                    <a:effectLst/>
                    <a:uLnTx/>
                    <a:uFillTx/>
                    <a:latin typeface="宋体" panose="02010600030101010101" pitchFamily="2" charset="-122"/>
                    <a:ea typeface="宋体" panose="02010600030101010101" pitchFamily="2" charset="-122"/>
                    <a:cs typeface="+mn-cs"/>
                  </a:endParaRPr>
                </a:p>
              </p:txBody>
            </p:sp>
            <p:sp>
              <p:nvSpPr>
                <p:cNvPr id="126" name="TextBox 125"/>
                <p:cNvSpPr txBox="1"/>
                <p:nvPr/>
              </p:nvSpPr>
              <p:spPr>
                <a:xfrm>
                  <a:off x="736323" y="1777343"/>
                  <a:ext cx="379293" cy="427521"/>
                </a:xfrm>
                <a:prstGeom prst="rect">
                  <a:avLst/>
                </a:prstGeom>
                <a:noFill/>
              </p:spPr>
              <p:txBody>
                <a:bodyPr vert="horz" wrap="square" lIns="0" tIns="0" rIns="0" bIns="0" rtlCol="0">
                  <a:noAutofit/>
                </a:bodyPr>
                <a:lstStyle/>
                <a:p>
                  <a:pPr marL="0" marR="0" lvl="0" indent="0" defTabSz="914400" eaLnBrk="1" fontAlgn="auto" latinLnBrk="0" hangingPunct="1">
                    <a:lnSpc>
                      <a:spcPct val="100000"/>
                    </a:lnSpc>
                    <a:spcBef>
                      <a:spcPts val="0"/>
                    </a:spcBef>
                    <a:spcAft>
                      <a:spcPts val="900"/>
                    </a:spcAft>
                    <a:buClrTx/>
                    <a:buSzTx/>
                    <a:buFontTx/>
                    <a:buNone/>
                    <a:tabLst/>
                    <a:defRPr/>
                  </a:pPr>
                  <a:r>
                    <a:rPr kumimoji="0" lang="en-GB" altLang="zh-CN" sz="1800" b="1" i="0" u="none" strike="noStrike" kern="0" cap="none" spc="0" normalizeH="0" baseline="0" noProof="0" dirty="0" smtClean="0">
                      <a:ln>
                        <a:noFill/>
                      </a:ln>
                      <a:solidFill>
                        <a:srgbClr val="FFFFFF"/>
                      </a:solidFill>
                      <a:effectLst/>
                      <a:uLnTx/>
                      <a:uFillTx/>
                      <a:latin typeface="宋体" panose="02010600030101010101" pitchFamily="2" charset="-122"/>
                      <a:ea typeface="宋体" panose="02010600030101010101" pitchFamily="2" charset="-122"/>
                    </a:rPr>
                    <a:t>3</a:t>
                  </a:r>
                </a:p>
              </p:txBody>
            </p:sp>
          </p:grpSp>
        </p:grpSp>
        <p:sp>
          <p:nvSpPr>
            <p:cNvPr id="121" name="Rectangle 120"/>
            <p:cNvSpPr/>
            <p:nvPr/>
          </p:nvSpPr>
          <p:spPr>
            <a:xfrm>
              <a:off x="432734" y="2687272"/>
              <a:ext cx="9596599" cy="1077206"/>
            </a:xfrm>
            <a:prstGeom prst="rect">
              <a:avLst/>
            </a:prstGeom>
          </p:spPr>
          <p:txBody>
            <a:bodyPr wrap="square" lIns="91429" tIns="45714" rIns="91429" bIns="45714">
              <a:spAutoFit/>
            </a:bodyPr>
            <a:lstStyle/>
            <a:p>
              <a:pPr marL="342900" indent="-342900">
                <a:buFont typeface="+mj-lt"/>
                <a:buAutoNum type="arabicParenR"/>
              </a:pPr>
              <a:r>
                <a:rPr lang="en-GB" altLang="zh-CN" sz="1600" dirty="0">
                  <a:latin typeface="+mj-lt"/>
                </a:rPr>
                <a:t>S</a:t>
              </a:r>
              <a:r>
                <a:rPr lang="en-GB" altLang="zh-CN" sz="1600" dirty="0" smtClean="0">
                  <a:latin typeface="+mj-lt"/>
                </a:rPr>
                <a:t>hareholding relationship</a:t>
              </a:r>
            </a:p>
            <a:p>
              <a:pPr marL="342900" indent="-342900">
                <a:buFont typeface="+mj-lt"/>
                <a:buAutoNum type="arabicParenR"/>
              </a:pPr>
              <a:r>
                <a:rPr lang="en-GB" altLang="zh-CN" sz="1600" dirty="0">
                  <a:latin typeface="+mj-lt"/>
                </a:rPr>
                <a:t>E</a:t>
              </a:r>
              <a:r>
                <a:rPr lang="en-GB" altLang="zh-CN" sz="1600" dirty="0" smtClean="0">
                  <a:latin typeface="+mj-lt"/>
                </a:rPr>
                <a:t>quity payment</a:t>
              </a:r>
            </a:p>
            <a:p>
              <a:pPr marL="342900" indent="-342900">
                <a:buFont typeface="+mj-lt"/>
                <a:buAutoNum type="arabicParenR"/>
              </a:pPr>
              <a:r>
                <a:rPr lang="en-GB" altLang="zh-CN" sz="1600" dirty="0" smtClean="0">
                  <a:solidFill>
                    <a:srgbClr val="FF0000"/>
                  </a:solidFill>
                  <a:latin typeface="+mj-lt"/>
                </a:rPr>
                <a:t>Does not result in Chin</a:t>
              </a:r>
              <a:r>
                <a:rPr lang="en-GB" altLang="zh-CN" sz="1600" spc="-100" dirty="0" smtClean="0">
                  <a:solidFill>
                    <a:srgbClr val="FF0000"/>
                  </a:solidFill>
                  <a:latin typeface="+mj-lt"/>
                </a:rPr>
                <a:t>a CIT</a:t>
              </a:r>
              <a:r>
                <a:rPr lang="en-GB" altLang="zh-CN" sz="1600" spc="-80" dirty="0" smtClean="0">
                  <a:solidFill>
                    <a:srgbClr val="FF0000"/>
                  </a:solidFill>
                  <a:latin typeface="+mj-lt"/>
                </a:rPr>
                <a:t> reduction on the gain arising from subsequent indirect transfers</a:t>
              </a:r>
            </a:p>
            <a:p>
              <a:pPr defTabSz="914400" hangingPunct="0"/>
              <a:endParaRPr lang="en-GB" altLang="zh-CN" sz="1600" dirty="0">
                <a:solidFill>
                  <a:srgbClr val="000000"/>
                </a:solidFill>
                <a:latin typeface="+mj-lt"/>
                <a:ea typeface="宋体" panose="02010600030101010101" pitchFamily="2" charset="-122"/>
              </a:endParaRPr>
            </a:p>
          </p:txBody>
        </p:sp>
      </p:grpSp>
      <p:sp>
        <p:nvSpPr>
          <p:cNvPr id="127" name="TextBox 126"/>
          <p:cNvSpPr txBox="1"/>
          <p:nvPr/>
        </p:nvSpPr>
        <p:spPr>
          <a:xfrm>
            <a:off x="8721845" y="5937303"/>
            <a:ext cx="960992" cy="241328"/>
          </a:xfrm>
          <a:prstGeom prst="rect">
            <a:avLst/>
          </a:prstGeom>
          <a:noFill/>
        </p:spPr>
        <p:txBody>
          <a:bodyPr vert="horz" wrap="square" lIns="0" tIns="0" rIns="0" bIns="0" rtlCol="0">
            <a:noAutofit/>
          </a:bodyPr>
          <a:lstStyle/>
          <a:p>
            <a:pPr defTabSz="914400">
              <a:spcAft>
                <a:spcPts val="900"/>
              </a:spcAft>
            </a:pPr>
            <a:r>
              <a:rPr lang="en-GB" altLang="zh-CN" dirty="0" smtClean="0">
                <a:solidFill>
                  <a:srgbClr val="000000"/>
                </a:solidFill>
                <a:latin typeface="+mj-lt"/>
                <a:ea typeface="宋体" panose="02010600030101010101" pitchFamily="2" charset="-122"/>
              </a:rPr>
              <a:t>Overseas</a:t>
            </a:r>
            <a:endParaRPr lang="en-GB" altLang="zh-CN" dirty="0">
              <a:solidFill>
                <a:srgbClr val="000000"/>
              </a:solidFill>
              <a:latin typeface="+mj-lt"/>
              <a:ea typeface="宋体" panose="02010600030101010101" pitchFamily="2" charset="-122"/>
            </a:endParaRPr>
          </a:p>
        </p:txBody>
      </p:sp>
      <p:sp>
        <p:nvSpPr>
          <p:cNvPr id="128" name="TextBox 127"/>
          <p:cNvSpPr txBox="1"/>
          <p:nvPr/>
        </p:nvSpPr>
        <p:spPr>
          <a:xfrm>
            <a:off x="8873736" y="6226909"/>
            <a:ext cx="960992" cy="221890"/>
          </a:xfrm>
          <a:prstGeom prst="rect">
            <a:avLst/>
          </a:prstGeom>
          <a:noFill/>
        </p:spPr>
        <p:txBody>
          <a:bodyPr vert="horz" wrap="square" lIns="0" tIns="0" rIns="0" bIns="0" rtlCol="0">
            <a:noAutofit/>
          </a:bodyPr>
          <a:lstStyle/>
          <a:p>
            <a:pPr defTabSz="914400">
              <a:spcAft>
                <a:spcPts val="900"/>
              </a:spcAft>
            </a:pPr>
            <a:r>
              <a:rPr lang="en-GB" altLang="zh-CN" dirty="0" smtClean="0">
                <a:solidFill>
                  <a:srgbClr val="000000"/>
                </a:solidFill>
                <a:latin typeface="+mj-lt"/>
                <a:ea typeface="宋体" panose="02010600030101010101" pitchFamily="2" charset="-122"/>
              </a:rPr>
              <a:t>China</a:t>
            </a:r>
            <a:endParaRPr lang="en-GB" altLang="zh-CN" dirty="0">
              <a:solidFill>
                <a:srgbClr val="000000"/>
              </a:solidFill>
              <a:latin typeface="+mj-lt"/>
              <a:ea typeface="宋体" panose="02010600030101010101" pitchFamily="2" charset="-122"/>
            </a:endParaRPr>
          </a:p>
        </p:txBody>
      </p:sp>
      <p:grpSp>
        <p:nvGrpSpPr>
          <p:cNvPr id="141" name="Group 140"/>
          <p:cNvGrpSpPr/>
          <p:nvPr>
            <p:custDataLst>
              <p:tags r:id="rId6"/>
            </p:custDataLst>
          </p:nvPr>
        </p:nvGrpSpPr>
        <p:grpSpPr>
          <a:xfrm>
            <a:off x="5283980" y="704088"/>
            <a:ext cx="4236835" cy="138499"/>
            <a:chOff x="5283980" y="704088"/>
            <a:chExt cx="4236835" cy="138499"/>
          </a:xfrm>
        </p:grpSpPr>
        <p:sp>
          <p:nvSpPr>
            <p:cNvPr id="142" name="745">
              <a:hlinkClick r:id="rId13" action="ppaction://hlinksldjump"/>
            </p:cNvPr>
            <p:cNvSpPr txBox="1"/>
            <p:nvPr>
              <p:custDataLst>
                <p:tags r:id="rId7"/>
              </p:custDataLst>
            </p:nvPr>
          </p:nvSpPr>
          <p:spPr>
            <a:xfrm>
              <a:off x="7868824" y="704088"/>
              <a:ext cx="1651991" cy="138499"/>
            </a:xfrm>
            <a:prstGeom prst="rect">
              <a:avLst/>
            </a:prstGeom>
            <a:noFill/>
            <a:ln>
              <a:noFill/>
            </a:ln>
          </p:spPr>
          <p:txBody>
            <a:bodyPr wrap="none" lIns="27432" tIns="0" rIns="27432" bIns="0" rtlCol="0">
              <a:spAutoFit/>
            </a:bodyPr>
            <a:lstStyle/>
            <a:p>
              <a:r>
                <a:rPr lang="en-US" sz="900" noProof="1" smtClean="0">
                  <a:solidFill>
                    <a:schemeClr val="tx2"/>
                  </a:solidFill>
                  <a:cs typeface="Arial" pitchFamily="34" charset="0"/>
                </a:rPr>
                <a:t>Part II  Indirect Equity Transfer </a:t>
              </a:r>
              <a:endParaRPr lang="en-GB" sz="900" noProof="1" smtClean="0">
                <a:solidFill>
                  <a:schemeClr val="tx2"/>
                </a:solidFill>
                <a:cs typeface="Arial" pitchFamily="34" charset="0"/>
              </a:endParaRPr>
            </a:p>
          </p:txBody>
        </p:sp>
        <p:cxnSp>
          <p:nvCxnSpPr>
            <p:cNvPr id="143" name="Divider1"/>
            <p:cNvCxnSpPr/>
            <p:nvPr>
              <p:custDataLst>
                <p:tags r:id="rId8"/>
              </p:custDataLst>
            </p:nvPr>
          </p:nvCxnSpPr>
          <p:spPr>
            <a:xfrm>
              <a:off x="7843424"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44" name="638">
              <a:hlinkClick r:id="rId14" action="ppaction://hlinksldjump"/>
            </p:cNvPr>
            <p:cNvSpPr txBox="1"/>
            <p:nvPr>
              <p:custDataLst>
                <p:tags r:id="rId9"/>
              </p:custDataLst>
            </p:nvPr>
          </p:nvSpPr>
          <p:spPr>
            <a:xfrm>
              <a:off x="5787725" y="704088"/>
              <a:ext cx="2030299" cy="138499"/>
            </a:xfrm>
            <a:prstGeom prst="rect">
              <a:avLst/>
            </a:prstGeom>
            <a:noFill/>
            <a:ln>
              <a:noFill/>
            </a:ln>
          </p:spPr>
          <p:txBody>
            <a:bodyPr wrap="none" lIns="27432" tIns="0" rIns="27432" bIns="0" rtlCol="0">
              <a:spAutoFit/>
            </a:bodyPr>
            <a:lstStyle/>
            <a:p>
              <a:r>
                <a:rPr lang="en-US" sz="900" noProof="1" smtClean="0">
                  <a:solidFill>
                    <a:schemeClr val="tx1"/>
                  </a:solidFill>
                  <a:latin typeface="+mn-lt"/>
                  <a:cs typeface="Arial" pitchFamily="34" charset="0"/>
                </a:rPr>
                <a:t>Part I  Brief Introduction to PRC GAAR</a:t>
              </a:r>
              <a:endParaRPr lang="en-GB" sz="900" noProof="1" smtClean="0">
                <a:solidFill>
                  <a:schemeClr val="tx1"/>
                </a:solidFill>
                <a:latin typeface="+mn-lt"/>
                <a:cs typeface="Arial" pitchFamily="34" charset="0"/>
              </a:endParaRPr>
            </a:p>
          </p:txBody>
        </p:sp>
        <p:cxnSp>
          <p:nvCxnSpPr>
            <p:cNvPr id="145" name="Divider2"/>
            <p:cNvCxnSpPr/>
            <p:nvPr>
              <p:custDataLst>
                <p:tags r:id="rId10"/>
              </p:custDataLst>
            </p:nvPr>
          </p:nvCxnSpPr>
          <p:spPr>
            <a:xfrm>
              <a:off x="5762325"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46" name="735">
              <a:hlinkClick r:id="rId15" action="ppaction://hlinksldjump"/>
            </p:cNvPr>
            <p:cNvSpPr txBox="1"/>
            <p:nvPr>
              <p:custDataLst>
                <p:tags r:id="rId11"/>
              </p:custDataLst>
            </p:nvPr>
          </p:nvSpPr>
          <p:spPr>
            <a:xfrm>
              <a:off x="5283980" y="704088"/>
              <a:ext cx="452945" cy="138499"/>
            </a:xfrm>
            <a:prstGeom prst="rect">
              <a:avLst/>
            </a:prstGeom>
            <a:noFill/>
            <a:ln>
              <a:noFill/>
            </a:ln>
          </p:spPr>
          <p:txBody>
            <a:bodyPr wrap="none" lIns="27432" tIns="0" rIns="27432" bIns="0" rtlCol="0">
              <a:spAutoFit/>
            </a:bodyPr>
            <a:lstStyle/>
            <a:p>
              <a:r>
                <a:rPr lang="en-GB" sz="900" noProof="1" smtClean="0">
                  <a:solidFill>
                    <a:schemeClr val="tx1"/>
                  </a:solidFill>
                  <a:latin typeface="+mn-lt"/>
                  <a:cs typeface="Arial" pitchFamily="34" charset="0"/>
                </a:rPr>
                <a:t>Agenda</a:t>
              </a:r>
              <a:endParaRPr lang="en-GB" sz="900" noProof="1" smtClean="0">
                <a:solidFill>
                  <a:schemeClr val="tx1"/>
                </a:solidFill>
                <a:latin typeface="+mn-lt"/>
                <a:cs typeface="Arial" pitchFamily="34" charset="0"/>
              </a:endParaRPr>
            </a:p>
          </p:txBody>
        </p:sp>
      </p:grpSp>
    </p:spTree>
    <p:custDataLst>
      <p:tags r:id="rId1"/>
    </p:custDataLst>
    <p:extLst>
      <p:ext uri="{BB962C8B-B14F-4D97-AF65-F5344CB8AC3E}">
        <p14:creationId xmlns:p14="http://schemas.microsoft.com/office/powerpoint/2010/main" val="293359434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en-GB"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sp>
        <p:nvSpPr>
          <p:cNvPr id="3" name="Title 2"/>
          <p:cNvSpPr>
            <a:spLocks noGrp="1"/>
          </p:cNvSpPr>
          <p:nvPr>
            <p:ph type="title"/>
          </p:nvPr>
        </p:nvSpPr>
        <p:spPr/>
        <p:txBody>
          <a:bodyPr/>
          <a:lstStyle/>
          <a:p>
            <a:r>
              <a:rPr lang="en-GB" altLang="zh-CN" kern="0" dirty="0" smtClean="0">
                <a:latin typeface="Georgia" pitchFamily="18" charset="0"/>
                <a:ea typeface="宋体" pitchFamily="2" charset="-122"/>
              </a:rPr>
              <a:t>Overview of Reported </a:t>
            </a:r>
            <a:r>
              <a:rPr lang="en-GB" altLang="zh-CN" kern="0" dirty="0">
                <a:latin typeface="Georgia" pitchFamily="18" charset="0"/>
                <a:ea typeface="宋体" pitchFamily="2" charset="-122"/>
              </a:rPr>
              <a:t>O</a:t>
            </a:r>
            <a:r>
              <a:rPr lang="en-GB" altLang="zh-CN" kern="0" dirty="0" smtClean="0">
                <a:latin typeface="Georgia" pitchFamily="18" charset="0"/>
                <a:ea typeface="宋体" pitchFamily="2" charset="-122"/>
              </a:rPr>
              <a:t>ffshore </a:t>
            </a:r>
            <a:r>
              <a:rPr lang="en-GB" altLang="zh-CN" kern="0" dirty="0">
                <a:latin typeface="Georgia" pitchFamily="18" charset="0"/>
                <a:ea typeface="宋体" pitchFamily="2" charset="-122"/>
              </a:rPr>
              <a:t>I</a:t>
            </a:r>
            <a:r>
              <a:rPr lang="en-GB" altLang="zh-CN" kern="0" dirty="0" smtClean="0">
                <a:latin typeface="Georgia" pitchFamily="18" charset="0"/>
                <a:ea typeface="宋体" pitchFamily="2" charset="-122"/>
              </a:rPr>
              <a:t>ndirect </a:t>
            </a:r>
            <a:r>
              <a:rPr lang="en-GB" altLang="zh-CN" kern="0" dirty="0">
                <a:latin typeface="Georgia" pitchFamily="18" charset="0"/>
                <a:ea typeface="宋体" pitchFamily="2" charset="-122"/>
              </a:rPr>
              <a:t>E</a:t>
            </a:r>
            <a:r>
              <a:rPr lang="en-GB" altLang="zh-CN" kern="0" dirty="0" smtClean="0">
                <a:latin typeface="Georgia" pitchFamily="18" charset="0"/>
                <a:ea typeface="宋体" pitchFamily="2" charset="-122"/>
              </a:rPr>
              <a:t>quity </a:t>
            </a:r>
            <a:r>
              <a:rPr lang="en-GB" altLang="zh-CN" kern="0" dirty="0">
                <a:latin typeface="Georgia" pitchFamily="18" charset="0"/>
                <a:ea typeface="宋体" pitchFamily="2" charset="-122"/>
              </a:rPr>
              <a:t>T</a:t>
            </a:r>
            <a:r>
              <a:rPr lang="en-GB" altLang="zh-CN" kern="0" dirty="0" smtClean="0">
                <a:latin typeface="Georgia" pitchFamily="18" charset="0"/>
                <a:ea typeface="宋体" pitchFamily="2" charset="-122"/>
              </a:rPr>
              <a:t>ransfer </a:t>
            </a:r>
            <a:r>
              <a:rPr lang="en-GB" altLang="zh-CN" kern="0" dirty="0">
                <a:latin typeface="Georgia" pitchFamily="18" charset="0"/>
                <a:ea typeface="宋体" pitchFamily="2" charset="-122"/>
              </a:rPr>
              <a:t>C</a:t>
            </a:r>
            <a:r>
              <a:rPr lang="en-GB" altLang="zh-CN" kern="0" dirty="0" smtClean="0">
                <a:latin typeface="Georgia" pitchFamily="18" charset="0"/>
                <a:ea typeface="宋体" pitchFamily="2" charset="-122"/>
              </a:rPr>
              <a:t>ases </a:t>
            </a:r>
            <a:endParaRPr lang="en-GB" b="0" i="0" dirty="0">
              <a:latin typeface="宋体" panose="02010600030101010101" pitchFamily="2" charset="-122"/>
              <a:ea typeface="宋体" panose="02010600030101010101" pitchFamily="2" charset="-122"/>
            </a:endParaRPr>
          </a:p>
        </p:txBody>
      </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en-GB" sz="1100" noProof="1" smtClean="0">
                <a:latin typeface="+mj-lt"/>
              </a:rPr>
              <a:t>19</a:t>
            </a:r>
            <a:endParaRPr lang="en-GB" sz="1100" noProof="1" smtClean="0">
              <a:latin typeface="+mj-lt"/>
            </a:endParaRP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en-GB" altLang="zh-CN" sz="1100" noProof="1" smtClean="0">
                <a:solidFill>
                  <a:schemeClr val="tx1"/>
                </a:solidFill>
                <a:latin typeface="+mj-lt"/>
                <a:ea typeface="宋体" panose="02010600030101010101" pitchFamily="2" charset="-122"/>
              </a:rPr>
              <a:t>Overview of PRC GAAR</a:t>
            </a:r>
            <a:endParaRPr lang="en-GB" sz="1100" noProof="1" smtClean="0">
              <a:solidFill>
                <a:schemeClr val="tx1"/>
              </a:solidFill>
              <a:latin typeface="+mj-lt"/>
              <a:ea typeface="宋体" panose="02010600030101010101" pitchFamily="2" charset="-122"/>
            </a:endParaRP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en-GB" altLang="zh-CN" sz="900" noProof="1" smtClean="0">
                <a:solidFill>
                  <a:schemeClr val="tx1"/>
                </a:solidFill>
              </a:rPr>
              <a:t>-1 Part II  Indirect Equity Transfer </a:t>
            </a:r>
            <a:endParaRPr lang="en-GB" sz="900" noProof="1" smtClean="0">
              <a:solidFill>
                <a:schemeClr val="tx1"/>
              </a:solidFill>
            </a:endParaRPr>
          </a:p>
        </p:txBody>
      </p:sp>
      <p:sp>
        <p:nvSpPr>
          <p:cNvPr id="63" name="Content Placeholder 2"/>
          <p:cNvSpPr txBox="1">
            <a:spLocks/>
          </p:cNvSpPr>
          <p:nvPr/>
        </p:nvSpPr>
        <p:spPr>
          <a:xfrm>
            <a:off x="535491" y="2056611"/>
            <a:ext cx="9021837" cy="1001088"/>
          </a:xfrm>
          <a:prstGeom prst="rect">
            <a:avLst/>
          </a:prstGeom>
          <a:solidFill>
            <a:schemeClr val="accent3">
              <a:lumMod val="60000"/>
              <a:lumOff val="40000"/>
              <a:alpha val="50196"/>
            </a:schemeClr>
          </a:solidFill>
        </p:spPr>
        <p:txBody>
          <a:bodyPr vert="horz" lIns="108000" tIns="0" rIns="108000" bIns="0" rtlCol="0" anchor="ctr">
            <a:noAutofit/>
          </a:bodyPr>
          <a:lstStyle>
            <a:lvl1pPr marL="0" marR="0" indent="0" algn="l" defTabSz="914400" rtl="0" eaLnBrk="1" fontAlgn="auto" latinLnBrk="0" hangingPunct="1">
              <a:lnSpc>
                <a:spcPct val="100000"/>
              </a:lnSpc>
              <a:spcBef>
                <a:spcPts val="0"/>
              </a:spcBef>
              <a:spcAft>
                <a:spcPts val="900"/>
              </a:spcAft>
              <a:buClr>
                <a:schemeClr val="tx1"/>
              </a:buClr>
              <a:buSzTx/>
              <a:buFontTx/>
              <a:buNone/>
              <a:tabLst/>
              <a:defRPr sz="2000" kern="1200" baseline="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marL="273050" lvl="0" indent="-273050" eaLnBrk="0" fontAlgn="base" hangingPunct="0">
              <a:spcBef>
                <a:spcPct val="0"/>
              </a:spcBef>
              <a:buClr>
                <a:srgbClr val="000000"/>
              </a:buClr>
              <a:buFont typeface="Arial" pitchFamily="34" charset="0"/>
              <a:buChar char="•"/>
              <a:tabLst>
                <a:tab pos="263525" algn="l"/>
              </a:tabLst>
            </a:pPr>
            <a:r>
              <a:rPr lang="en-GB" altLang="zh-CN" sz="1600" b="1" dirty="0" smtClean="0">
                <a:solidFill>
                  <a:srgbClr val="A32020"/>
                </a:solidFill>
              </a:rPr>
              <a:t>63 </a:t>
            </a:r>
            <a:r>
              <a:rPr lang="en-GB" altLang="zh-CN" sz="1600" dirty="0" smtClean="0">
                <a:solidFill>
                  <a:srgbClr val="000000"/>
                </a:solidFill>
              </a:rPr>
              <a:t>cases of indirect equity transfer have been published in media since 2008.</a:t>
            </a:r>
            <a:endParaRPr lang="en-GB" altLang="zh-CN" sz="1600" dirty="0" smtClean="0">
              <a:solidFill>
                <a:srgbClr val="FF0000"/>
              </a:solidFill>
            </a:endParaRPr>
          </a:p>
          <a:p>
            <a:pPr marL="268288" lvl="0" indent="-268288" eaLnBrk="0" fontAlgn="base" hangingPunct="0">
              <a:spcBef>
                <a:spcPct val="0"/>
              </a:spcBef>
              <a:buClr>
                <a:srgbClr val="000000"/>
              </a:buClr>
              <a:buFont typeface="Arial" pitchFamily="34" charset="0"/>
              <a:buChar char="•"/>
            </a:pPr>
            <a:r>
              <a:rPr lang="en-GB" altLang="zh-CN" sz="1600" dirty="0" smtClean="0">
                <a:solidFill>
                  <a:srgbClr val="000000"/>
                </a:solidFill>
              </a:rPr>
              <a:t>Over RMB </a:t>
            </a:r>
            <a:r>
              <a:rPr lang="en-GB" altLang="zh-CN" sz="1600" b="1" dirty="0" smtClean="0">
                <a:solidFill>
                  <a:srgbClr val="A32020"/>
                </a:solidFill>
              </a:rPr>
              <a:t>6.74</a:t>
            </a:r>
            <a:r>
              <a:rPr lang="en-GB" altLang="zh-CN" sz="1600" dirty="0" smtClean="0">
                <a:solidFill>
                  <a:srgbClr val="FF0000"/>
                </a:solidFill>
              </a:rPr>
              <a:t> </a:t>
            </a:r>
            <a:r>
              <a:rPr lang="en-GB" altLang="zh-CN" sz="1600" dirty="0" smtClean="0">
                <a:solidFill>
                  <a:srgbClr val="000000"/>
                </a:solidFill>
              </a:rPr>
              <a:t>billion CIT* collected on capital gains.</a:t>
            </a:r>
          </a:p>
          <a:p>
            <a:pPr marL="273050" lvl="0" indent="-273050" eaLnBrk="0" fontAlgn="base" hangingPunct="0">
              <a:spcBef>
                <a:spcPct val="0"/>
              </a:spcBef>
              <a:buClr>
                <a:srgbClr val="000000"/>
              </a:buClr>
              <a:buFont typeface="Arial" pitchFamily="34" charset="0"/>
              <a:buChar char="•"/>
            </a:pPr>
            <a:r>
              <a:rPr lang="en-GB" altLang="zh-CN" sz="1600" dirty="0" smtClean="0">
                <a:solidFill>
                  <a:srgbClr val="000000"/>
                </a:solidFill>
              </a:rPr>
              <a:t>Largest CIT amount collected from one case in Beijing – RMB </a:t>
            </a:r>
            <a:r>
              <a:rPr lang="en-GB" altLang="zh-CN" sz="1600" b="1" dirty="0" smtClean="0">
                <a:solidFill>
                  <a:srgbClr val="A32020"/>
                </a:solidFill>
              </a:rPr>
              <a:t>1.2</a:t>
            </a:r>
            <a:r>
              <a:rPr lang="en-GB" altLang="zh-CN" sz="1600" dirty="0" smtClean="0">
                <a:solidFill>
                  <a:srgbClr val="000000"/>
                </a:solidFill>
              </a:rPr>
              <a:t> billion</a:t>
            </a:r>
            <a:endParaRPr lang="en-GB" sz="1600" dirty="0">
              <a:solidFill>
                <a:srgbClr val="000000"/>
              </a:solidFill>
            </a:endParaRPr>
          </a:p>
        </p:txBody>
      </p:sp>
      <p:grpSp>
        <p:nvGrpSpPr>
          <p:cNvPr id="149" name="Group 148"/>
          <p:cNvGrpSpPr/>
          <p:nvPr/>
        </p:nvGrpSpPr>
        <p:grpSpPr>
          <a:xfrm>
            <a:off x="514917" y="3217209"/>
            <a:ext cx="1769436" cy="643073"/>
            <a:chOff x="446214" y="3206967"/>
            <a:chExt cx="1769436" cy="643073"/>
          </a:xfrm>
        </p:grpSpPr>
        <p:sp>
          <p:nvSpPr>
            <p:cNvPr id="150" name="Oval 149"/>
            <p:cNvSpPr>
              <a:spLocks noChangeArrowheads="1"/>
            </p:cNvSpPr>
            <p:nvPr/>
          </p:nvSpPr>
          <p:spPr bwMode="auto">
            <a:xfrm>
              <a:off x="567779" y="3582093"/>
              <a:ext cx="182328" cy="183600"/>
            </a:xfrm>
            <a:prstGeom prst="ellipse">
              <a:avLst/>
            </a:prstGeom>
            <a:ln>
              <a:headEnd/>
              <a:tailEnd/>
            </a:ln>
          </p:spPr>
          <p:style>
            <a:lnRef idx="1">
              <a:schemeClr val="accent3"/>
            </a:lnRef>
            <a:fillRef idx="3">
              <a:schemeClr val="accent3"/>
            </a:fillRef>
            <a:effectRef idx="2">
              <a:schemeClr val="accent3"/>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100" b="1" dirty="0" smtClean="0">
                  <a:latin typeface="黑体" pitchFamily="2" charset="-122"/>
                  <a:ea typeface="黑体" pitchFamily="2" charset="-122"/>
                </a:rPr>
                <a:t>27</a:t>
              </a:r>
              <a:endParaRPr lang="en-GB" altLang="zh-CN" sz="1100" b="1" dirty="0">
                <a:latin typeface="黑体" pitchFamily="2" charset="-122"/>
                <a:ea typeface="黑体" pitchFamily="2" charset="-122"/>
              </a:endParaRPr>
            </a:p>
          </p:txBody>
        </p:sp>
        <p:sp>
          <p:nvSpPr>
            <p:cNvPr id="151" name="TextBox 150"/>
            <p:cNvSpPr txBox="1"/>
            <p:nvPr/>
          </p:nvSpPr>
          <p:spPr>
            <a:xfrm>
              <a:off x="871693" y="3582093"/>
              <a:ext cx="1033307" cy="211076"/>
            </a:xfrm>
            <a:prstGeom prst="rect">
              <a:avLst/>
            </a:prstGeom>
            <a:noFill/>
          </p:spPr>
          <p:txBody>
            <a:bodyPr wrap="square" lIns="0" tIns="0" rIns="0" bIns="0" rtlCol="0">
              <a:noAutofit/>
            </a:bodyPr>
            <a:lstStyle/>
            <a:p>
              <a:pPr indent="-274320">
                <a:spcAft>
                  <a:spcPts val="900"/>
                </a:spcAft>
              </a:pPr>
              <a:r>
                <a:rPr lang="en-GB" altLang="zh-CN" sz="1200" dirty="0" smtClean="0">
                  <a:latin typeface="Georgia" pitchFamily="18" charset="0"/>
                </a:rPr>
                <a:t>PN7 cases</a:t>
              </a:r>
              <a:endParaRPr lang="en-GB" altLang="zh-CN" sz="1200" dirty="0">
                <a:latin typeface="Georgia" pitchFamily="18" charset="0"/>
              </a:endParaRPr>
            </a:p>
          </p:txBody>
        </p:sp>
        <p:sp>
          <p:nvSpPr>
            <p:cNvPr id="152" name="Oval 151"/>
            <p:cNvSpPr>
              <a:spLocks noChangeArrowheads="1"/>
            </p:cNvSpPr>
            <p:nvPr/>
          </p:nvSpPr>
          <p:spPr bwMode="auto">
            <a:xfrm>
              <a:off x="567779" y="3267678"/>
              <a:ext cx="182328" cy="183600"/>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100" b="1" dirty="0" smtClean="0">
                  <a:latin typeface="黑体" pitchFamily="2" charset="-122"/>
                  <a:ea typeface="黑体" pitchFamily="2" charset="-122"/>
                </a:rPr>
                <a:t>36</a:t>
              </a:r>
              <a:endParaRPr lang="en-GB" altLang="zh-CN" sz="1100" b="1" dirty="0">
                <a:latin typeface="黑体" pitchFamily="2" charset="-122"/>
                <a:ea typeface="黑体" pitchFamily="2" charset="-122"/>
              </a:endParaRPr>
            </a:p>
          </p:txBody>
        </p:sp>
        <p:sp>
          <p:nvSpPr>
            <p:cNvPr id="153" name="TextBox 152"/>
            <p:cNvSpPr txBox="1"/>
            <p:nvPr/>
          </p:nvSpPr>
          <p:spPr>
            <a:xfrm>
              <a:off x="860173" y="3269820"/>
              <a:ext cx="1355477" cy="240701"/>
            </a:xfrm>
            <a:prstGeom prst="rect">
              <a:avLst/>
            </a:prstGeom>
            <a:noFill/>
          </p:spPr>
          <p:txBody>
            <a:bodyPr wrap="square" lIns="0" tIns="0" rIns="0" bIns="0" rtlCol="0">
              <a:noAutofit/>
            </a:bodyPr>
            <a:lstStyle/>
            <a:p>
              <a:pPr indent="-274320">
                <a:spcAft>
                  <a:spcPts val="900"/>
                </a:spcAft>
              </a:pPr>
              <a:r>
                <a:rPr lang="en-GB" sz="1200" dirty="0" smtClean="0">
                  <a:latin typeface="Georgia" pitchFamily="18" charset="0"/>
                </a:rPr>
                <a:t>Circular 698 cases</a:t>
              </a:r>
              <a:endParaRPr lang="en-GB" sz="1200" dirty="0">
                <a:latin typeface="Georgia" pitchFamily="18" charset="0"/>
              </a:endParaRPr>
            </a:p>
          </p:txBody>
        </p:sp>
        <p:sp>
          <p:nvSpPr>
            <p:cNvPr id="154" name="Rectangle 153"/>
            <p:cNvSpPr/>
            <p:nvPr/>
          </p:nvSpPr>
          <p:spPr bwMode="blackWhite">
            <a:xfrm>
              <a:off x="446214" y="3206967"/>
              <a:ext cx="1769436" cy="643073"/>
            </a:xfrm>
            <a:prstGeom prst="rect">
              <a:avLst/>
            </a:prstGeom>
            <a:noFill/>
            <a:ln w="12700">
              <a:solidFill>
                <a:schemeClr val="accent1"/>
              </a:solidFill>
              <a:prstDash val="sysDot"/>
              <a:round/>
              <a:headEnd/>
              <a:tailEnd type="triangle" w="med" len="med"/>
            </a:ln>
            <a:effectLst/>
          </p:spPr>
          <p:txBody>
            <a:bodyPr lIns="36000" tIns="0" rIns="0" bIns="0" rtlCol="0" anchor="ctr"/>
            <a:lstStyle/>
            <a:p>
              <a:pPr algn="ctr"/>
              <a:endParaRPr lang="en-GB" altLang="zh-CN" sz="1200" dirty="0">
                <a:solidFill>
                  <a:schemeClr val="accent5"/>
                </a:solidFill>
                <a:latin typeface="宋体" pitchFamily="2" charset="-122"/>
                <a:ea typeface="宋体" pitchFamily="2" charset="-122"/>
              </a:endParaRPr>
            </a:p>
          </p:txBody>
        </p:sp>
      </p:grpSp>
      <p:sp>
        <p:nvSpPr>
          <p:cNvPr id="155" name="TextBox 154"/>
          <p:cNvSpPr txBox="1"/>
          <p:nvPr/>
        </p:nvSpPr>
        <p:spPr>
          <a:xfrm>
            <a:off x="565056" y="5756356"/>
            <a:ext cx="3634553" cy="529981"/>
          </a:xfrm>
          <a:prstGeom prst="rect">
            <a:avLst/>
          </a:prstGeom>
          <a:noFill/>
        </p:spPr>
        <p:txBody>
          <a:bodyPr wrap="square" lIns="0" tIns="0" rIns="0" bIns="0" rtlCol="0">
            <a:noAutofit/>
          </a:bodyPr>
          <a:lstStyle/>
          <a:p>
            <a:pPr marL="174625" lvl="0" indent="-174625">
              <a:spcAft>
                <a:spcPts val="900"/>
              </a:spcAft>
            </a:pPr>
            <a:r>
              <a:rPr lang="en-GB" altLang="zh-CN" sz="1200" dirty="0" smtClean="0">
                <a:solidFill>
                  <a:srgbClr val="000000"/>
                </a:solidFill>
                <a:latin typeface="Georgia" pitchFamily="18" charset="0"/>
                <a:ea typeface="宋体" pitchFamily="2" charset="-122"/>
              </a:rPr>
              <a:t>*    This is a rough estimation based on the available public information (some cases do not disclose the amount of CIT collected)</a:t>
            </a:r>
          </a:p>
          <a:p>
            <a:pPr marL="174625" lvl="0" indent="-174625">
              <a:spcAft>
                <a:spcPts val="900"/>
              </a:spcAft>
            </a:pPr>
            <a:r>
              <a:rPr lang="en-GB" altLang="zh-CN" sz="1200" dirty="0" smtClean="0">
                <a:solidFill>
                  <a:srgbClr val="000000"/>
                </a:solidFill>
                <a:latin typeface="Georgia" pitchFamily="18" charset="0"/>
                <a:ea typeface="宋体" pitchFamily="2" charset="-122"/>
              </a:rPr>
              <a:t>** Trust-Mart case involves TREs in 23 provinces/cities in China.  Shenzhen STB is the leading tax bureau for this case.  </a:t>
            </a:r>
            <a:endParaRPr lang="en-GB" sz="1200" dirty="0">
              <a:solidFill>
                <a:srgbClr val="000000"/>
              </a:solidFill>
              <a:latin typeface="Georgia" pitchFamily="18" charset="0"/>
              <a:ea typeface="宋体" pitchFamily="2" charset="-122"/>
            </a:endParaRPr>
          </a:p>
        </p:txBody>
      </p:sp>
      <p:grpSp>
        <p:nvGrpSpPr>
          <p:cNvPr id="509" name="Group 508"/>
          <p:cNvGrpSpPr/>
          <p:nvPr/>
        </p:nvGrpSpPr>
        <p:grpSpPr>
          <a:xfrm>
            <a:off x="3954979" y="2560676"/>
            <a:ext cx="5326065" cy="4509808"/>
            <a:chOff x="2477744" y="2093847"/>
            <a:chExt cx="5810113" cy="4822014"/>
          </a:xfrm>
        </p:grpSpPr>
        <p:sp>
          <p:nvSpPr>
            <p:cNvPr id="510" name="形状"/>
            <p:cNvSpPr/>
            <p:nvPr/>
          </p:nvSpPr>
          <p:spPr>
            <a:xfrm>
              <a:off x="5839884" y="6515590"/>
              <a:ext cx="303199" cy="250860"/>
            </a:xfrm>
            <a:custGeom>
              <a:avLst/>
              <a:gdLst/>
              <a:ahLst/>
              <a:cxnLst>
                <a:cxn ang="0">
                  <a:pos x="wd2" y="hd2"/>
                </a:cxn>
                <a:cxn ang="5400000">
                  <a:pos x="wd2" y="hd2"/>
                </a:cxn>
                <a:cxn ang="10800000">
                  <a:pos x="wd2" y="hd2"/>
                </a:cxn>
                <a:cxn ang="16200000">
                  <a:pos x="wd2" y="hd2"/>
                </a:cxn>
              </a:cxnLst>
              <a:rect l="0" t="0" r="r" b="b"/>
              <a:pathLst>
                <a:path w="21580" h="21443" extrusionOk="0">
                  <a:moveTo>
                    <a:pt x="5513" y="4545"/>
                  </a:moveTo>
                  <a:cubicBezTo>
                    <a:pt x="5221" y="4646"/>
                    <a:pt x="4908" y="4503"/>
                    <a:pt x="4745" y="4196"/>
                  </a:cubicBezTo>
                  <a:cubicBezTo>
                    <a:pt x="4421" y="3585"/>
                    <a:pt x="4774" y="2783"/>
                    <a:pt x="5377" y="2761"/>
                  </a:cubicBezTo>
                  <a:lnTo>
                    <a:pt x="7556" y="3473"/>
                  </a:lnTo>
                  <a:cubicBezTo>
                    <a:pt x="7674" y="3131"/>
                    <a:pt x="7837" y="2813"/>
                    <a:pt x="8037" y="2532"/>
                  </a:cubicBezTo>
                  <a:cubicBezTo>
                    <a:pt x="8390" y="2036"/>
                    <a:pt x="8848" y="1664"/>
                    <a:pt x="9362" y="1457"/>
                  </a:cubicBezTo>
                  <a:cubicBezTo>
                    <a:pt x="9328" y="2252"/>
                    <a:pt x="9980" y="2831"/>
                    <a:pt x="10603" y="2557"/>
                  </a:cubicBezTo>
                  <a:cubicBezTo>
                    <a:pt x="10866" y="2442"/>
                    <a:pt x="11061" y="2172"/>
                    <a:pt x="11120" y="1843"/>
                  </a:cubicBezTo>
                  <a:cubicBezTo>
                    <a:pt x="11332" y="2524"/>
                    <a:pt x="11955" y="2881"/>
                    <a:pt x="12530" y="2651"/>
                  </a:cubicBezTo>
                  <a:cubicBezTo>
                    <a:pt x="13044" y="2444"/>
                    <a:pt x="13326" y="1833"/>
                    <a:pt x="13739" y="1452"/>
                  </a:cubicBezTo>
                  <a:cubicBezTo>
                    <a:pt x="14055" y="1162"/>
                    <a:pt x="14441" y="1004"/>
                    <a:pt x="14838" y="1003"/>
                  </a:cubicBezTo>
                  <a:lnTo>
                    <a:pt x="17305" y="1089"/>
                  </a:lnTo>
                  <a:lnTo>
                    <a:pt x="18177" y="0"/>
                  </a:lnTo>
                  <a:cubicBezTo>
                    <a:pt x="18387" y="569"/>
                    <a:pt x="18744" y="1043"/>
                    <a:pt x="19195" y="1349"/>
                  </a:cubicBezTo>
                  <a:cubicBezTo>
                    <a:pt x="19625" y="1640"/>
                    <a:pt x="20118" y="1766"/>
                    <a:pt x="20608" y="1710"/>
                  </a:cubicBezTo>
                  <a:lnTo>
                    <a:pt x="21580" y="5438"/>
                  </a:lnTo>
                  <a:lnTo>
                    <a:pt x="19761" y="7145"/>
                  </a:lnTo>
                  <a:lnTo>
                    <a:pt x="17673" y="9337"/>
                  </a:lnTo>
                  <a:cubicBezTo>
                    <a:pt x="18031" y="9673"/>
                    <a:pt x="18203" y="10220"/>
                    <a:pt x="18122" y="10756"/>
                  </a:cubicBezTo>
                  <a:cubicBezTo>
                    <a:pt x="18022" y="11416"/>
                    <a:pt x="17578" y="11878"/>
                    <a:pt x="17299" y="12430"/>
                  </a:cubicBezTo>
                  <a:cubicBezTo>
                    <a:pt x="16955" y="13112"/>
                    <a:pt x="16850" y="13930"/>
                    <a:pt x="17007" y="14705"/>
                  </a:cubicBezTo>
                  <a:lnTo>
                    <a:pt x="16349" y="16109"/>
                  </a:lnTo>
                  <a:lnTo>
                    <a:pt x="14165" y="16515"/>
                  </a:lnTo>
                  <a:lnTo>
                    <a:pt x="13020" y="18623"/>
                  </a:lnTo>
                  <a:lnTo>
                    <a:pt x="11975" y="19294"/>
                  </a:lnTo>
                  <a:lnTo>
                    <a:pt x="10102" y="19220"/>
                  </a:lnTo>
                  <a:cubicBezTo>
                    <a:pt x="10302" y="19684"/>
                    <a:pt x="10287" y="20239"/>
                    <a:pt x="10063" y="20687"/>
                  </a:cubicBezTo>
                  <a:cubicBezTo>
                    <a:pt x="9745" y="21321"/>
                    <a:pt x="9100" y="21600"/>
                    <a:pt x="8519" y="21354"/>
                  </a:cubicBezTo>
                  <a:lnTo>
                    <a:pt x="7040" y="20907"/>
                  </a:lnTo>
                  <a:cubicBezTo>
                    <a:pt x="6807" y="20611"/>
                    <a:pt x="6502" y="20412"/>
                    <a:pt x="6168" y="20341"/>
                  </a:cubicBezTo>
                  <a:cubicBezTo>
                    <a:pt x="5803" y="20263"/>
                    <a:pt x="5419" y="20342"/>
                    <a:pt x="5068" y="20193"/>
                  </a:cubicBezTo>
                  <a:cubicBezTo>
                    <a:pt x="4740" y="20054"/>
                    <a:pt x="4486" y="19736"/>
                    <a:pt x="4383" y="19336"/>
                  </a:cubicBezTo>
                  <a:cubicBezTo>
                    <a:pt x="4065" y="19632"/>
                    <a:pt x="3644" y="19714"/>
                    <a:pt x="3263" y="19556"/>
                  </a:cubicBezTo>
                  <a:cubicBezTo>
                    <a:pt x="3005" y="19449"/>
                    <a:pt x="2787" y="19236"/>
                    <a:pt x="2645" y="18955"/>
                  </a:cubicBezTo>
                  <a:cubicBezTo>
                    <a:pt x="2496" y="18724"/>
                    <a:pt x="2294" y="18550"/>
                    <a:pt x="2064" y="18455"/>
                  </a:cubicBezTo>
                  <a:cubicBezTo>
                    <a:pt x="1703" y="18306"/>
                    <a:pt x="1301" y="18361"/>
                    <a:pt x="951" y="18180"/>
                  </a:cubicBezTo>
                  <a:cubicBezTo>
                    <a:pt x="682" y="18041"/>
                    <a:pt x="472" y="17778"/>
                    <a:pt x="367" y="17450"/>
                  </a:cubicBezTo>
                  <a:cubicBezTo>
                    <a:pt x="517" y="17120"/>
                    <a:pt x="599" y="16752"/>
                    <a:pt x="607" y="16376"/>
                  </a:cubicBezTo>
                  <a:cubicBezTo>
                    <a:pt x="619" y="15791"/>
                    <a:pt x="453" y="15220"/>
                    <a:pt x="140" y="14771"/>
                  </a:cubicBezTo>
                  <a:cubicBezTo>
                    <a:pt x="249" y="14172"/>
                    <a:pt x="281" y="13556"/>
                    <a:pt x="234" y="12945"/>
                  </a:cubicBezTo>
                  <a:cubicBezTo>
                    <a:pt x="174" y="12144"/>
                    <a:pt x="-20" y="11358"/>
                    <a:pt x="2" y="10553"/>
                  </a:cubicBezTo>
                  <a:cubicBezTo>
                    <a:pt x="20" y="9851"/>
                    <a:pt x="202" y="9169"/>
                    <a:pt x="526" y="8584"/>
                  </a:cubicBezTo>
                  <a:cubicBezTo>
                    <a:pt x="1128" y="8152"/>
                    <a:pt x="1724" y="7706"/>
                    <a:pt x="2312" y="7246"/>
                  </a:cubicBezTo>
                  <a:cubicBezTo>
                    <a:pt x="3405" y="6391"/>
                    <a:pt x="4473" y="5491"/>
                    <a:pt x="5513" y="4545"/>
                  </a:cubicBezTo>
                  <a:close/>
                </a:path>
              </a:pathLst>
            </a:custGeom>
            <a:solidFill>
              <a:schemeClr val="accent2">
                <a:lumMod val="40000"/>
                <a:lumOff val="60000"/>
              </a:scheme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11" name="形状"/>
            <p:cNvSpPr/>
            <p:nvPr/>
          </p:nvSpPr>
          <p:spPr>
            <a:xfrm>
              <a:off x="2477744" y="2093847"/>
              <a:ext cx="5670336" cy="4408068"/>
            </a:xfrm>
            <a:custGeom>
              <a:avLst/>
              <a:gdLst/>
              <a:ahLst/>
              <a:cxnLst>
                <a:cxn ang="0">
                  <a:pos x="wd2" y="hd2"/>
                </a:cxn>
                <a:cxn ang="5400000">
                  <a:pos x="wd2" y="hd2"/>
                </a:cxn>
                <a:cxn ang="10800000">
                  <a:pos x="wd2" y="hd2"/>
                </a:cxn>
                <a:cxn ang="16200000">
                  <a:pos x="wd2" y="hd2"/>
                </a:cxn>
              </a:cxnLst>
              <a:rect l="0" t="0" r="r" b="b"/>
              <a:pathLst>
                <a:path w="21600" h="21594" extrusionOk="0">
                  <a:moveTo>
                    <a:pt x="12577" y="20796"/>
                  </a:moveTo>
                  <a:cubicBezTo>
                    <a:pt x="12577" y="20753"/>
                    <a:pt x="12608" y="20722"/>
                    <a:pt x="12640" y="20734"/>
                  </a:cubicBezTo>
                  <a:cubicBezTo>
                    <a:pt x="12666" y="20745"/>
                    <a:pt x="12683" y="20786"/>
                    <a:pt x="12711" y="20782"/>
                  </a:cubicBezTo>
                  <a:cubicBezTo>
                    <a:pt x="12783" y="20772"/>
                    <a:pt x="12731" y="20636"/>
                    <a:pt x="12776" y="20599"/>
                  </a:cubicBezTo>
                  <a:cubicBezTo>
                    <a:pt x="12812" y="20570"/>
                    <a:pt x="12857" y="20613"/>
                    <a:pt x="12846" y="20665"/>
                  </a:cubicBezTo>
                  <a:cubicBezTo>
                    <a:pt x="12845" y="20706"/>
                    <a:pt x="12867" y="20740"/>
                    <a:pt x="12898" y="20746"/>
                  </a:cubicBezTo>
                  <a:cubicBezTo>
                    <a:pt x="12918" y="20750"/>
                    <a:pt x="12938" y="20740"/>
                    <a:pt x="12958" y="20738"/>
                  </a:cubicBezTo>
                  <a:cubicBezTo>
                    <a:pt x="12991" y="20734"/>
                    <a:pt x="13023" y="20751"/>
                    <a:pt x="13045" y="20782"/>
                  </a:cubicBezTo>
                  <a:lnTo>
                    <a:pt x="13037" y="20860"/>
                  </a:lnTo>
                  <a:lnTo>
                    <a:pt x="13218" y="20843"/>
                  </a:lnTo>
                  <a:lnTo>
                    <a:pt x="13315" y="20780"/>
                  </a:lnTo>
                  <a:cubicBezTo>
                    <a:pt x="13325" y="20819"/>
                    <a:pt x="13349" y="20850"/>
                    <a:pt x="13379" y="20866"/>
                  </a:cubicBezTo>
                  <a:cubicBezTo>
                    <a:pt x="13399" y="20876"/>
                    <a:pt x="13420" y="20879"/>
                    <a:pt x="13441" y="20873"/>
                  </a:cubicBezTo>
                  <a:lnTo>
                    <a:pt x="13367" y="20947"/>
                  </a:lnTo>
                  <a:cubicBezTo>
                    <a:pt x="13347" y="20977"/>
                    <a:pt x="13331" y="21010"/>
                    <a:pt x="13319" y="21046"/>
                  </a:cubicBezTo>
                  <a:cubicBezTo>
                    <a:pt x="13305" y="21090"/>
                    <a:pt x="13297" y="21136"/>
                    <a:pt x="13297" y="21184"/>
                  </a:cubicBezTo>
                  <a:cubicBezTo>
                    <a:pt x="13294" y="21244"/>
                    <a:pt x="13306" y="21303"/>
                    <a:pt x="13331" y="21353"/>
                  </a:cubicBezTo>
                  <a:cubicBezTo>
                    <a:pt x="13345" y="21381"/>
                    <a:pt x="13362" y="21406"/>
                    <a:pt x="13384" y="21424"/>
                  </a:cubicBezTo>
                  <a:cubicBezTo>
                    <a:pt x="13402" y="21439"/>
                    <a:pt x="13424" y="21453"/>
                    <a:pt x="13426" y="21481"/>
                  </a:cubicBezTo>
                  <a:cubicBezTo>
                    <a:pt x="13428" y="21514"/>
                    <a:pt x="13393" y="21542"/>
                    <a:pt x="13405" y="21575"/>
                  </a:cubicBezTo>
                  <a:cubicBezTo>
                    <a:pt x="13414" y="21599"/>
                    <a:pt x="13441" y="21600"/>
                    <a:pt x="13451" y="21577"/>
                  </a:cubicBezTo>
                  <a:cubicBezTo>
                    <a:pt x="13476" y="21586"/>
                    <a:pt x="13502" y="21590"/>
                    <a:pt x="13528" y="21588"/>
                  </a:cubicBezTo>
                  <a:cubicBezTo>
                    <a:pt x="13552" y="21586"/>
                    <a:pt x="13576" y="21579"/>
                    <a:pt x="13599" y="21567"/>
                  </a:cubicBezTo>
                  <a:lnTo>
                    <a:pt x="13685" y="21513"/>
                  </a:lnTo>
                  <a:cubicBezTo>
                    <a:pt x="13699" y="21490"/>
                    <a:pt x="13708" y="21461"/>
                    <a:pt x="13709" y="21432"/>
                  </a:cubicBezTo>
                  <a:cubicBezTo>
                    <a:pt x="13710" y="21409"/>
                    <a:pt x="13706" y="21385"/>
                    <a:pt x="13696" y="21366"/>
                  </a:cubicBezTo>
                  <a:cubicBezTo>
                    <a:pt x="13678" y="21332"/>
                    <a:pt x="13646" y="21318"/>
                    <a:pt x="13616" y="21329"/>
                  </a:cubicBezTo>
                  <a:cubicBezTo>
                    <a:pt x="13646" y="21327"/>
                    <a:pt x="13661" y="21281"/>
                    <a:pt x="13641" y="21251"/>
                  </a:cubicBezTo>
                  <a:cubicBezTo>
                    <a:pt x="13618" y="21217"/>
                    <a:pt x="13567" y="21247"/>
                    <a:pt x="13548" y="21205"/>
                  </a:cubicBezTo>
                  <a:cubicBezTo>
                    <a:pt x="13539" y="21184"/>
                    <a:pt x="13546" y="21158"/>
                    <a:pt x="13564" y="21149"/>
                  </a:cubicBezTo>
                  <a:lnTo>
                    <a:pt x="13648" y="21128"/>
                  </a:lnTo>
                  <a:lnTo>
                    <a:pt x="13746" y="21202"/>
                  </a:lnTo>
                  <a:cubicBezTo>
                    <a:pt x="13724" y="21166"/>
                    <a:pt x="13714" y="21121"/>
                    <a:pt x="13717" y="21076"/>
                  </a:cubicBezTo>
                  <a:cubicBezTo>
                    <a:pt x="13719" y="21048"/>
                    <a:pt x="13726" y="21021"/>
                    <a:pt x="13738" y="20997"/>
                  </a:cubicBezTo>
                  <a:lnTo>
                    <a:pt x="13853" y="20875"/>
                  </a:lnTo>
                  <a:cubicBezTo>
                    <a:pt x="13868" y="20836"/>
                    <a:pt x="13898" y="20811"/>
                    <a:pt x="13931" y="20808"/>
                  </a:cubicBezTo>
                  <a:cubicBezTo>
                    <a:pt x="13975" y="20804"/>
                    <a:pt x="14016" y="20841"/>
                    <a:pt x="14061" y="20836"/>
                  </a:cubicBezTo>
                  <a:cubicBezTo>
                    <a:pt x="14091" y="20832"/>
                    <a:pt x="14118" y="20809"/>
                    <a:pt x="14132" y="20775"/>
                  </a:cubicBezTo>
                  <a:lnTo>
                    <a:pt x="14193" y="20794"/>
                  </a:lnTo>
                  <a:cubicBezTo>
                    <a:pt x="14213" y="20786"/>
                    <a:pt x="14229" y="20769"/>
                    <a:pt x="14241" y="20746"/>
                  </a:cubicBezTo>
                  <a:cubicBezTo>
                    <a:pt x="14253" y="20722"/>
                    <a:pt x="14268" y="20695"/>
                    <a:pt x="14285" y="20710"/>
                  </a:cubicBezTo>
                  <a:cubicBezTo>
                    <a:pt x="14303" y="20726"/>
                    <a:pt x="14283" y="20758"/>
                    <a:pt x="14287" y="20782"/>
                  </a:cubicBezTo>
                  <a:cubicBezTo>
                    <a:pt x="14299" y="20852"/>
                    <a:pt x="14402" y="20769"/>
                    <a:pt x="14358" y="20724"/>
                  </a:cubicBezTo>
                  <a:lnTo>
                    <a:pt x="14377" y="20623"/>
                  </a:lnTo>
                  <a:lnTo>
                    <a:pt x="14482" y="20629"/>
                  </a:lnTo>
                  <a:lnTo>
                    <a:pt x="14547" y="20659"/>
                  </a:lnTo>
                  <a:lnTo>
                    <a:pt x="14626" y="20610"/>
                  </a:lnTo>
                  <a:lnTo>
                    <a:pt x="14736" y="20692"/>
                  </a:lnTo>
                  <a:lnTo>
                    <a:pt x="14848" y="20530"/>
                  </a:lnTo>
                  <a:cubicBezTo>
                    <a:pt x="14830" y="20496"/>
                    <a:pt x="14825" y="20454"/>
                    <a:pt x="14836" y="20416"/>
                  </a:cubicBezTo>
                  <a:cubicBezTo>
                    <a:pt x="14841" y="20396"/>
                    <a:pt x="14851" y="20377"/>
                    <a:pt x="14857" y="20357"/>
                  </a:cubicBezTo>
                  <a:cubicBezTo>
                    <a:pt x="14872" y="20309"/>
                    <a:pt x="14869" y="20254"/>
                    <a:pt x="14848" y="20209"/>
                  </a:cubicBezTo>
                  <a:lnTo>
                    <a:pt x="14905" y="20411"/>
                  </a:lnTo>
                  <a:lnTo>
                    <a:pt x="14957" y="20522"/>
                  </a:lnTo>
                  <a:cubicBezTo>
                    <a:pt x="14982" y="20503"/>
                    <a:pt x="15008" y="20484"/>
                    <a:pt x="15033" y="20465"/>
                  </a:cubicBezTo>
                  <a:cubicBezTo>
                    <a:pt x="15068" y="20438"/>
                    <a:pt x="15103" y="20412"/>
                    <a:pt x="15137" y="20386"/>
                  </a:cubicBezTo>
                  <a:cubicBezTo>
                    <a:pt x="15103" y="20358"/>
                    <a:pt x="15079" y="20315"/>
                    <a:pt x="15070" y="20264"/>
                  </a:cubicBezTo>
                  <a:cubicBezTo>
                    <a:pt x="15057" y="20194"/>
                    <a:pt x="15076" y="20122"/>
                    <a:pt x="15081" y="20050"/>
                  </a:cubicBezTo>
                  <a:cubicBezTo>
                    <a:pt x="15086" y="19984"/>
                    <a:pt x="15079" y="19918"/>
                    <a:pt x="15060" y="19855"/>
                  </a:cubicBezTo>
                  <a:cubicBezTo>
                    <a:pt x="15073" y="19898"/>
                    <a:pt x="15094" y="19935"/>
                    <a:pt x="15121" y="19965"/>
                  </a:cubicBezTo>
                  <a:cubicBezTo>
                    <a:pt x="15138" y="19983"/>
                    <a:pt x="15157" y="19998"/>
                    <a:pt x="15178" y="20009"/>
                  </a:cubicBezTo>
                  <a:cubicBezTo>
                    <a:pt x="15181" y="20040"/>
                    <a:pt x="15192" y="20069"/>
                    <a:pt x="15209" y="20091"/>
                  </a:cubicBezTo>
                  <a:cubicBezTo>
                    <a:pt x="15217" y="20101"/>
                    <a:pt x="15226" y="20109"/>
                    <a:pt x="15233" y="20120"/>
                  </a:cubicBezTo>
                  <a:cubicBezTo>
                    <a:pt x="15248" y="20144"/>
                    <a:pt x="15252" y="20179"/>
                    <a:pt x="15242" y="20206"/>
                  </a:cubicBezTo>
                  <a:cubicBezTo>
                    <a:pt x="15228" y="20243"/>
                    <a:pt x="15197" y="20270"/>
                    <a:pt x="15218" y="20305"/>
                  </a:cubicBezTo>
                  <a:cubicBezTo>
                    <a:pt x="15239" y="20341"/>
                    <a:pt x="15282" y="20315"/>
                    <a:pt x="15275" y="20272"/>
                  </a:cubicBezTo>
                  <a:cubicBezTo>
                    <a:pt x="15307" y="20250"/>
                    <a:pt x="15339" y="20230"/>
                    <a:pt x="15372" y="20212"/>
                  </a:cubicBezTo>
                  <a:cubicBezTo>
                    <a:pt x="15395" y="20199"/>
                    <a:pt x="15419" y="20186"/>
                    <a:pt x="15443" y="20175"/>
                  </a:cubicBezTo>
                  <a:cubicBezTo>
                    <a:pt x="15427" y="20149"/>
                    <a:pt x="15428" y="20111"/>
                    <a:pt x="15446" y="20087"/>
                  </a:cubicBezTo>
                  <a:cubicBezTo>
                    <a:pt x="15473" y="20051"/>
                    <a:pt x="15519" y="20060"/>
                    <a:pt x="15536" y="20104"/>
                  </a:cubicBezTo>
                  <a:lnTo>
                    <a:pt x="15547" y="19989"/>
                  </a:lnTo>
                  <a:lnTo>
                    <a:pt x="15634" y="19938"/>
                  </a:lnTo>
                  <a:cubicBezTo>
                    <a:pt x="15613" y="19968"/>
                    <a:pt x="15613" y="20013"/>
                    <a:pt x="15635" y="20043"/>
                  </a:cubicBezTo>
                  <a:cubicBezTo>
                    <a:pt x="15646" y="20057"/>
                    <a:pt x="15661" y="20065"/>
                    <a:pt x="15677" y="20065"/>
                  </a:cubicBezTo>
                  <a:lnTo>
                    <a:pt x="15772" y="19917"/>
                  </a:lnTo>
                  <a:lnTo>
                    <a:pt x="15921" y="19886"/>
                  </a:lnTo>
                  <a:lnTo>
                    <a:pt x="15962" y="19979"/>
                  </a:lnTo>
                  <a:lnTo>
                    <a:pt x="15996" y="19842"/>
                  </a:lnTo>
                  <a:lnTo>
                    <a:pt x="16076" y="19777"/>
                  </a:lnTo>
                  <a:lnTo>
                    <a:pt x="16131" y="19855"/>
                  </a:lnTo>
                  <a:lnTo>
                    <a:pt x="16453" y="19703"/>
                  </a:lnTo>
                  <a:lnTo>
                    <a:pt x="16492" y="19510"/>
                  </a:lnTo>
                  <a:cubicBezTo>
                    <a:pt x="16509" y="19475"/>
                    <a:pt x="16539" y="19453"/>
                    <a:pt x="16572" y="19453"/>
                  </a:cubicBezTo>
                  <a:cubicBezTo>
                    <a:pt x="16609" y="19453"/>
                    <a:pt x="16655" y="19480"/>
                    <a:pt x="16679" y="19437"/>
                  </a:cubicBezTo>
                  <a:cubicBezTo>
                    <a:pt x="16698" y="19403"/>
                    <a:pt x="16675" y="19353"/>
                    <a:pt x="16693" y="19319"/>
                  </a:cubicBezTo>
                  <a:cubicBezTo>
                    <a:pt x="16716" y="19275"/>
                    <a:pt x="16764" y="19303"/>
                    <a:pt x="16804" y="19304"/>
                  </a:cubicBezTo>
                  <a:cubicBezTo>
                    <a:pt x="16863" y="19306"/>
                    <a:pt x="16910" y="19244"/>
                    <a:pt x="16909" y="19169"/>
                  </a:cubicBezTo>
                  <a:cubicBezTo>
                    <a:pt x="16899" y="19121"/>
                    <a:pt x="16919" y="19071"/>
                    <a:pt x="16955" y="19054"/>
                  </a:cubicBezTo>
                  <a:cubicBezTo>
                    <a:pt x="16973" y="19044"/>
                    <a:pt x="16994" y="19045"/>
                    <a:pt x="17011" y="19032"/>
                  </a:cubicBezTo>
                  <a:cubicBezTo>
                    <a:pt x="17037" y="19011"/>
                    <a:pt x="17044" y="18966"/>
                    <a:pt x="17026" y="18934"/>
                  </a:cubicBezTo>
                  <a:lnTo>
                    <a:pt x="17124" y="18870"/>
                  </a:lnTo>
                  <a:lnTo>
                    <a:pt x="17063" y="18728"/>
                  </a:lnTo>
                  <a:cubicBezTo>
                    <a:pt x="17099" y="18765"/>
                    <a:pt x="17149" y="18771"/>
                    <a:pt x="17190" y="18744"/>
                  </a:cubicBezTo>
                  <a:cubicBezTo>
                    <a:pt x="17215" y="18727"/>
                    <a:pt x="17235" y="18698"/>
                    <a:pt x="17245" y="18663"/>
                  </a:cubicBezTo>
                  <a:lnTo>
                    <a:pt x="17326" y="18677"/>
                  </a:lnTo>
                  <a:cubicBezTo>
                    <a:pt x="17347" y="18649"/>
                    <a:pt x="17362" y="18614"/>
                    <a:pt x="17370" y="18577"/>
                  </a:cubicBezTo>
                  <a:cubicBezTo>
                    <a:pt x="17377" y="18543"/>
                    <a:pt x="17378" y="18508"/>
                    <a:pt x="17373" y="18473"/>
                  </a:cubicBezTo>
                  <a:cubicBezTo>
                    <a:pt x="17400" y="18489"/>
                    <a:pt x="17432" y="18470"/>
                    <a:pt x="17439" y="18433"/>
                  </a:cubicBezTo>
                  <a:cubicBezTo>
                    <a:pt x="17444" y="18408"/>
                    <a:pt x="17435" y="18382"/>
                    <a:pt x="17440" y="18357"/>
                  </a:cubicBezTo>
                  <a:cubicBezTo>
                    <a:pt x="17446" y="18330"/>
                    <a:pt x="17467" y="18312"/>
                    <a:pt x="17488" y="18316"/>
                  </a:cubicBezTo>
                  <a:cubicBezTo>
                    <a:pt x="17504" y="18285"/>
                    <a:pt x="17524" y="18259"/>
                    <a:pt x="17547" y="18238"/>
                  </a:cubicBezTo>
                  <a:cubicBezTo>
                    <a:pt x="17563" y="18225"/>
                    <a:pt x="17580" y="18214"/>
                    <a:pt x="17598" y="18206"/>
                  </a:cubicBezTo>
                  <a:lnTo>
                    <a:pt x="17541" y="18116"/>
                  </a:lnTo>
                  <a:lnTo>
                    <a:pt x="17635" y="17961"/>
                  </a:lnTo>
                  <a:cubicBezTo>
                    <a:pt x="17627" y="18010"/>
                    <a:pt x="17643" y="18061"/>
                    <a:pt x="17676" y="18089"/>
                  </a:cubicBezTo>
                  <a:cubicBezTo>
                    <a:pt x="17689" y="18100"/>
                    <a:pt x="17704" y="18107"/>
                    <a:pt x="17720" y="18108"/>
                  </a:cubicBezTo>
                  <a:lnTo>
                    <a:pt x="17772" y="18094"/>
                  </a:lnTo>
                  <a:cubicBezTo>
                    <a:pt x="17779" y="18072"/>
                    <a:pt x="17789" y="18052"/>
                    <a:pt x="17802" y="18036"/>
                  </a:cubicBezTo>
                  <a:cubicBezTo>
                    <a:pt x="17818" y="18016"/>
                    <a:pt x="17838" y="18002"/>
                    <a:pt x="17859" y="17995"/>
                  </a:cubicBezTo>
                  <a:cubicBezTo>
                    <a:pt x="17845" y="17978"/>
                    <a:pt x="17830" y="17962"/>
                    <a:pt x="17816" y="17946"/>
                  </a:cubicBezTo>
                  <a:cubicBezTo>
                    <a:pt x="17784" y="17911"/>
                    <a:pt x="17751" y="17879"/>
                    <a:pt x="17716" y="17848"/>
                  </a:cubicBezTo>
                  <a:cubicBezTo>
                    <a:pt x="17745" y="17807"/>
                    <a:pt x="17746" y="17744"/>
                    <a:pt x="17719" y="17701"/>
                  </a:cubicBezTo>
                  <a:cubicBezTo>
                    <a:pt x="17703" y="17675"/>
                    <a:pt x="17679" y="17660"/>
                    <a:pt x="17654" y="17659"/>
                  </a:cubicBezTo>
                  <a:cubicBezTo>
                    <a:pt x="17669" y="17638"/>
                    <a:pt x="17681" y="17615"/>
                    <a:pt x="17692" y="17590"/>
                  </a:cubicBezTo>
                  <a:cubicBezTo>
                    <a:pt x="17703" y="17563"/>
                    <a:pt x="17711" y="17534"/>
                    <a:pt x="17716" y="17504"/>
                  </a:cubicBezTo>
                  <a:cubicBezTo>
                    <a:pt x="17723" y="17466"/>
                    <a:pt x="17750" y="17440"/>
                    <a:pt x="17780" y="17441"/>
                  </a:cubicBezTo>
                  <a:cubicBezTo>
                    <a:pt x="17803" y="17441"/>
                    <a:pt x="17824" y="17458"/>
                    <a:pt x="17834" y="17484"/>
                  </a:cubicBezTo>
                  <a:lnTo>
                    <a:pt x="17773" y="17352"/>
                  </a:lnTo>
                  <a:cubicBezTo>
                    <a:pt x="17797" y="17331"/>
                    <a:pt x="17822" y="17315"/>
                    <a:pt x="17848" y="17303"/>
                  </a:cubicBezTo>
                  <a:cubicBezTo>
                    <a:pt x="17864" y="17295"/>
                    <a:pt x="17881" y="17290"/>
                    <a:pt x="17898" y="17286"/>
                  </a:cubicBezTo>
                  <a:lnTo>
                    <a:pt x="17833" y="17182"/>
                  </a:lnTo>
                  <a:cubicBezTo>
                    <a:pt x="17841" y="17149"/>
                    <a:pt x="17861" y="17122"/>
                    <a:pt x="17885" y="17108"/>
                  </a:cubicBezTo>
                  <a:cubicBezTo>
                    <a:pt x="17906" y="17097"/>
                    <a:pt x="17929" y="17095"/>
                    <a:pt x="17945" y="17075"/>
                  </a:cubicBezTo>
                  <a:cubicBezTo>
                    <a:pt x="17962" y="17055"/>
                    <a:pt x="17965" y="17022"/>
                    <a:pt x="17953" y="16997"/>
                  </a:cubicBezTo>
                  <a:lnTo>
                    <a:pt x="18012" y="16943"/>
                  </a:lnTo>
                  <a:cubicBezTo>
                    <a:pt x="18003" y="16903"/>
                    <a:pt x="18008" y="16861"/>
                    <a:pt x="18027" y="16827"/>
                  </a:cubicBezTo>
                  <a:cubicBezTo>
                    <a:pt x="18036" y="16809"/>
                    <a:pt x="18050" y="16794"/>
                    <a:pt x="18056" y="16774"/>
                  </a:cubicBezTo>
                  <a:cubicBezTo>
                    <a:pt x="18070" y="16731"/>
                    <a:pt x="18049" y="16687"/>
                    <a:pt x="18043" y="16642"/>
                  </a:cubicBezTo>
                  <a:cubicBezTo>
                    <a:pt x="18039" y="16609"/>
                    <a:pt x="18043" y="16576"/>
                    <a:pt x="18055" y="16547"/>
                  </a:cubicBezTo>
                  <a:lnTo>
                    <a:pt x="18145" y="16461"/>
                  </a:lnTo>
                  <a:lnTo>
                    <a:pt x="18054" y="16316"/>
                  </a:lnTo>
                  <a:cubicBezTo>
                    <a:pt x="18101" y="16338"/>
                    <a:pt x="18149" y="16354"/>
                    <a:pt x="18198" y="16361"/>
                  </a:cubicBezTo>
                  <a:cubicBezTo>
                    <a:pt x="18228" y="16366"/>
                    <a:pt x="18258" y="16368"/>
                    <a:pt x="18287" y="16367"/>
                  </a:cubicBezTo>
                  <a:lnTo>
                    <a:pt x="18204" y="16161"/>
                  </a:lnTo>
                  <a:lnTo>
                    <a:pt x="18287" y="16096"/>
                  </a:lnTo>
                  <a:lnTo>
                    <a:pt x="18336" y="16225"/>
                  </a:lnTo>
                  <a:lnTo>
                    <a:pt x="18366" y="16108"/>
                  </a:lnTo>
                  <a:lnTo>
                    <a:pt x="18451" y="16096"/>
                  </a:lnTo>
                  <a:cubicBezTo>
                    <a:pt x="18446" y="16064"/>
                    <a:pt x="18439" y="16032"/>
                    <a:pt x="18428" y="16002"/>
                  </a:cubicBezTo>
                  <a:cubicBezTo>
                    <a:pt x="18411" y="15951"/>
                    <a:pt x="18388" y="15904"/>
                    <a:pt x="18358" y="15863"/>
                  </a:cubicBezTo>
                  <a:cubicBezTo>
                    <a:pt x="18377" y="15845"/>
                    <a:pt x="18392" y="15822"/>
                    <a:pt x="18404" y="15796"/>
                  </a:cubicBezTo>
                  <a:cubicBezTo>
                    <a:pt x="18422" y="15758"/>
                    <a:pt x="18430" y="15714"/>
                    <a:pt x="18428" y="15669"/>
                  </a:cubicBezTo>
                  <a:cubicBezTo>
                    <a:pt x="18416" y="15641"/>
                    <a:pt x="18395" y="15619"/>
                    <a:pt x="18370" y="15611"/>
                  </a:cubicBezTo>
                  <a:cubicBezTo>
                    <a:pt x="18353" y="15604"/>
                    <a:pt x="18333" y="15603"/>
                    <a:pt x="18323" y="15583"/>
                  </a:cubicBezTo>
                  <a:cubicBezTo>
                    <a:pt x="18309" y="15551"/>
                    <a:pt x="18331" y="15512"/>
                    <a:pt x="18359" y="15521"/>
                  </a:cubicBezTo>
                  <a:lnTo>
                    <a:pt x="18471" y="15489"/>
                  </a:lnTo>
                  <a:lnTo>
                    <a:pt x="18513" y="15516"/>
                  </a:lnTo>
                  <a:cubicBezTo>
                    <a:pt x="18493" y="15487"/>
                    <a:pt x="18483" y="15447"/>
                    <a:pt x="18488" y="15408"/>
                  </a:cubicBezTo>
                  <a:cubicBezTo>
                    <a:pt x="18492" y="15377"/>
                    <a:pt x="18504" y="15349"/>
                    <a:pt x="18522" y="15328"/>
                  </a:cubicBezTo>
                  <a:lnTo>
                    <a:pt x="18441" y="15216"/>
                  </a:lnTo>
                  <a:lnTo>
                    <a:pt x="18560" y="15076"/>
                  </a:lnTo>
                  <a:lnTo>
                    <a:pt x="18416" y="15052"/>
                  </a:lnTo>
                  <a:lnTo>
                    <a:pt x="18307" y="14987"/>
                  </a:lnTo>
                  <a:lnTo>
                    <a:pt x="18235" y="14901"/>
                  </a:lnTo>
                  <a:lnTo>
                    <a:pt x="18127" y="14864"/>
                  </a:lnTo>
                  <a:lnTo>
                    <a:pt x="18016" y="14992"/>
                  </a:lnTo>
                  <a:lnTo>
                    <a:pt x="17936" y="15015"/>
                  </a:lnTo>
                  <a:lnTo>
                    <a:pt x="17875" y="14828"/>
                  </a:lnTo>
                  <a:lnTo>
                    <a:pt x="17959" y="14852"/>
                  </a:lnTo>
                  <a:lnTo>
                    <a:pt x="18002" y="14815"/>
                  </a:lnTo>
                  <a:lnTo>
                    <a:pt x="18036" y="14699"/>
                  </a:lnTo>
                  <a:lnTo>
                    <a:pt x="18124" y="14646"/>
                  </a:lnTo>
                  <a:cubicBezTo>
                    <a:pt x="18147" y="14622"/>
                    <a:pt x="18168" y="14594"/>
                    <a:pt x="18186" y="14563"/>
                  </a:cubicBezTo>
                  <a:cubicBezTo>
                    <a:pt x="18199" y="14538"/>
                    <a:pt x="18211" y="14512"/>
                    <a:pt x="18220" y="14485"/>
                  </a:cubicBezTo>
                  <a:cubicBezTo>
                    <a:pt x="18246" y="14478"/>
                    <a:pt x="18271" y="14475"/>
                    <a:pt x="18297" y="14474"/>
                  </a:cubicBezTo>
                  <a:cubicBezTo>
                    <a:pt x="18320" y="14474"/>
                    <a:pt x="18342" y="14476"/>
                    <a:pt x="18365" y="14481"/>
                  </a:cubicBezTo>
                  <a:lnTo>
                    <a:pt x="18375" y="14342"/>
                  </a:lnTo>
                  <a:lnTo>
                    <a:pt x="18333" y="14196"/>
                  </a:lnTo>
                  <a:lnTo>
                    <a:pt x="18247" y="14092"/>
                  </a:lnTo>
                  <a:cubicBezTo>
                    <a:pt x="18189" y="14075"/>
                    <a:pt x="18135" y="14039"/>
                    <a:pt x="18092" y="13988"/>
                  </a:cubicBezTo>
                  <a:cubicBezTo>
                    <a:pt x="18072" y="13965"/>
                    <a:pt x="18055" y="13940"/>
                    <a:pt x="18041" y="13912"/>
                  </a:cubicBezTo>
                  <a:lnTo>
                    <a:pt x="18141" y="13886"/>
                  </a:lnTo>
                  <a:cubicBezTo>
                    <a:pt x="18159" y="13910"/>
                    <a:pt x="18180" y="13930"/>
                    <a:pt x="18204" y="13944"/>
                  </a:cubicBezTo>
                  <a:cubicBezTo>
                    <a:pt x="18228" y="13959"/>
                    <a:pt x="18254" y="13967"/>
                    <a:pt x="18281" y="13970"/>
                  </a:cubicBezTo>
                  <a:lnTo>
                    <a:pt x="18335" y="13885"/>
                  </a:lnTo>
                  <a:lnTo>
                    <a:pt x="18284" y="13789"/>
                  </a:lnTo>
                  <a:cubicBezTo>
                    <a:pt x="18266" y="13767"/>
                    <a:pt x="18244" y="13749"/>
                    <a:pt x="18220" y="13736"/>
                  </a:cubicBezTo>
                  <a:cubicBezTo>
                    <a:pt x="18198" y="13724"/>
                    <a:pt x="18173" y="13718"/>
                    <a:pt x="18151" y="13704"/>
                  </a:cubicBezTo>
                  <a:cubicBezTo>
                    <a:pt x="18130" y="13692"/>
                    <a:pt x="18112" y="13674"/>
                    <a:pt x="18096" y="13652"/>
                  </a:cubicBezTo>
                  <a:lnTo>
                    <a:pt x="18068" y="13534"/>
                  </a:lnTo>
                  <a:cubicBezTo>
                    <a:pt x="18046" y="13493"/>
                    <a:pt x="18015" y="13463"/>
                    <a:pt x="17978" y="13448"/>
                  </a:cubicBezTo>
                  <a:cubicBezTo>
                    <a:pt x="17958" y="13440"/>
                    <a:pt x="17936" y="13436"/>
                    <a:pt x="17915" y="13439"/>
                  </a:cubicBezTo>
                  <a:lnTo>
                    <a:pt x="17855" y="13338"/>
                  </a:lnTo>
                  <a:lnTo>
                    <a:pt x="17877" y="13203"/>
                  </a:lnTo>
                  <a:cubicBezTo>
                    <a:pt x="17842" y="13177"/>
                    <a:pt x="17812" y="13143"/>
                    <a:pt x="17787" y="13102"/>
                  </a:cubicBezTo>
                  <a:cubicBezTo>
                    <a:pt x="17758" y="13053"/>
                    <a:pt x="17737" y="12996"/>
                    <a:pt x="17728" y="12935"/>
                  </a:cubicBezTo>
                  <a:cubicBezTo>
                    <a:pt x="17712" y="12907"/>
                    <a:pt x="17699" y="12876"/>
                    <a:pt x="17689" y="12844"/>
                  </a:cubicBezTo>
                  <a:cubicBezTo>
                    <a:pt x="17676" y="12802"/>
                    <a:pt x="17668" y="12757"/>
                    <a:pt x="17654" y="12715"/>
                  </a:cubicBezTo>
                  <a:cubicBezTo>
                    <a:pt x="17625" y="12630"/>
                    <a:pt x="17572" y="12562"/>
                    <a:pt x="17543" y="12476"/>
                  </a:cubicBezTo>
                  <a:cubicBezTo>
                    <a:pt x="17528" y="12429"/>
                    <a:pt x="17520" y="12378"/>
                    <a:pt x="17521" y="12327"/>
                  </a:cubicBezTo>
                  <a:cubicBezTo>
                    <a:pt x="17492" y="12314"/>
                    <a:pt x="17463" y="12303"/>
                    <a:pt x="17433" y="12295"/>
                  </a:cubicBezTo>
                  <a:cubicBezTo>
                    <a:pt x="17376" y="12280"/>
                    <a:pt x="17313" y="12274"/>
                    <a:pt x="17269" y="12221"/>
                  </a:cubicBezTo>
                  <a:cubicBezTo>
                    <a:pt x="17251" y="12200"/>
                    <a:pt x="17238" y="12172"/>
                    <a:pt x="17231" y="12141"/>
                  </a:cubicBezTo>
                  <a:lnTo>
                    <a:pt x="17130" y="12108"/>
                  </a:lnTo>
                  <a:cubicBezTo>
                    <a:pt x="17107" y="12111"/>
                    <a:pt x="17084" y="12096"/>
                    <a:pt x="17072" y="12070"/>
                  </a:cubicBezTo>
                  <a:cubicBezTo>
                    <a:pt x="17052" y="12027"/>
                    <a:pt x="17067" y="11971"/>
                    <a:pt x="17103" y="11952"/>
                  </a:cubicBezTo>
                  <a:lnTo>
                    <a:pt x="17133" y="11879"/>
                  </a:lnTo>
                  <a:lnTo>
                    <a:pt x="17166" y="11765"/>
                  </a:lnTo>
                  <a:lnTo>
                    <a:pt x="17236" y="11679"/>
                  </a:lnTo>
                  <a:lnTo>
                    <a:pt x="17220" y="11577"/>
                  </a:lnTo>
                  <a:lnTo>
                    <a:pt x="17303" y="11484"/>
                  </a:lnTo>
                  <a:cubicBezTo>
                    <a:pt x="17322" y="11484"/>
                    <a:pt x="17340" y="11473"/>
                    <a:pt x="17352" y="11455"/>
                  </a:cubicBezTo>
                  <a:cubicBezTo>
                    <a:pt x="17374" y="11422"/>
                    <a:pt x="17374" y="11373"/>
                    <a:pt x="17352" y="11339"/>
                  </a:cubicBezTo>
                  <a:lnTo>
                    <a:pt x="17447" y="11248"/>
                  </a:lnTo>
                  <a:lnTo>
                    <a:pt x="17354" y="11176"/>
                  </a:lnTo>
                  <a:lnTo>
                    <a:pt x="17427" y="11114"/>
                  </a:lnTo>
                  <a:lnTo>
                    <a:pt x="17464" y="11226"/>
                  </a:lnTo>
                  <a:cubicBezTo>
                    <a:pt x="17479" y="11197"/>
                    <a:pt x="17500" y="11174"/>
                    <a:pt x="17525" y="11160"/>
                  </a:cubicBezTo>
                  <a:cubicBezTo>
                    <a:pt x="17544" y="11149"/>
                    <a:pt x="17565" y="11144"/>
                    <a:pt x="17585" y="11145"/>
                  </a:cubicBezTo>
                  <a:lnTo>
                    <a:pt x="17586" y="10969"/>
                  </a:lnTo>
                  <a:lnTo>
                    <a:pt x="17673" y="10948"/>
                  </a:lnTo>
                  <a:lnTo>
                    <a:pt x="17630" y="10833"/>
                  </a:lnTo>
                  <a:lnTo>
                    <a:pt x="17725" y="10801"/>
                  </a:lnTo>
                  <a:cubicBezTo>
                    <a:pt x="17754" y="10785"/>
                    <a:pt x="17779" y="10761"/>
                    <a:pt x="17798" y="10730"/>
                  </a:cubicBezTo>
                  <a:cubicBezTo>
                    <a:pt x="17817" y="10701"/>
                    <a:pt x="17833" y="10664"/>
                    <a:pt x="17863" y="10657"/>
                  </a:cubicBezTo>
                  <a:cubicBezTo>
                    <a:pt x="17884" y="10652"/>
                    <a:pt x="17906" y="10665"/>
                    <a:pt x="17916" y="10690"/>
                  </a:cubicBezTo>
                  <a:cubicBezTo>
                    <a:pt x="17945" y="10676"/>
                    <a:pt x="17968" y="10648"/>
                    <a:pt x="17981" y="10612"/>
                  </a:cubicBezTo>
                  <a:cubicBezTo>
                    <a:pt x="17990" y="10588"/>
                    <a:pt x="17995" y="10558"/>
                    <a:pt x="18015" y="10547"/>
                  </a:cubicBezTo>
                  <a:cubicBezTo>
                    <a:pt x="18037" y="10535"/>
                    <a:pt x="18063" y="10554"/>
                    <a:pt x="18065" y="10586"/>
                  </a:cubicBezTo>
                  <a:lnTo>
                    <a:pt x="18113" y="10521"/>
                  </a:lnTo>
                  <a:lnTo>
                    <a:pt x="18113" y="10622"/>
                  </a:lnTo>
                  <a:cubicBezTo>
                    <a:pt x="18138" y="10631"/>
                    <a:pt x="18164" y="10629"/>
                    <a:pt x="18187" y="10615"/>
                  </a:cubicBezTo>
                  <a:cubicBezTo>
                    <a:pt x="18216" y="10597"/>
                    <a:pt x="18236" y="10564"/>
                    <a:pt x="18244" y="10525"/>
                  </a:cubicBezTo>
                  <a:cubicBezTo>
                    <a:pt x="18226" y="10517"/>
                    <a:pt x="18211" y="10499"/>
                    <a:pt x="18205" y="10476"/>
                  </a:cubicBezTo>
                  <a:cubicBezTo>
                    <a:pt x="18189" y="10413"/>
                    <a:pt x="18229" y="10350"/>
                    <a:pt x="18280" y="10358"/>
                  </a:cubicBezTo>
                  <a:cubicBezTo>
                    <a:pt x="18265" y="10381"/>
                    <a:pt x="18236" y="10373"/>
                    <a:pt x="18231" y="10343"/>
                  </a:cubicBezTo>
                  <a:cubicBezTo>
                    <a:pt x="18226" y="10310"/>
                    <a:pt x="18256" y="10294"/>
                    <a:pt x="18270" y="10270"/>
                  </a:cubicBezTo>
                  <a:cubicBezTo>
                    <a:pt x="18282" y="10251"/>
                    <a:pt x="18284" y="10225"/>
                    <a:pt x="18275" y="10203"/>
                  </a:cubicBezTo>
                  <a:lnTo>
                    <a:pt x="18180" y="10263"/>
                  </a:lnTo>
                  <a:cubicBezTo>
                    <a:pt x="18145" y="10293"/>
                    <a:pt x="18097" y="10287"/>
                    <a:pt x="18068" y="10247"/>
                  </a:cubicBezTo>
                  <a:cubicBezTo>
                    <a:pt x="18052" y="10225"/>
                    <a:pt x="18043" y="10196"/>
                    <a:pt x="18045" y="10166"/>
                  </a:cubicBezTo>
                  <a:lnTo>
                    <a:pt x="17991" y="10243"/>
                  </a:lnTo>
                  <a:lnTo>
                    <a:pt x="17892" y="10278"/>
                  </a:lnTo>
                  <a:cubicBezTo>
                    <a:pt x="17859" y="10291"/>
                    <a:pt x="17823" y="10268"/>
                    <a:pt x="17811" y="10227"/>
                  </a:cubicBezTo>
                  <a:cubicBezTo>
                    <a:pt x="17804" y="10202"/>
                    <a:pt x="17803" y="10170"/>
                    <a:pt x="17783" y="10163"/>
                  </a:cubicBezTo>
                  <a:cubicBezTo>
                    <a:pt x="17757" y="10154"/>
                    <a:pt x="17745" y="10197"/>
                    <a:pt x="17723" y="10209"/>
                  </a:cubicBezTo>
                  <a:cubicBezTo>
                    <a:pt x="17687" y="10227"/>
                    <a:pt x="17652" y="10176"/>
                    <a:pt x="17673" y="10133"/>
                  </a:cubicBezTo>
                  <a:cubicBezTo>
                    <a:pt x="17658" y="10144"/>
                    <a:pt x="17641" y="10149"/>
                    <a:pt x="17625" y="10148"/>
                  </a:cubicBezTo>
                  <a:cubicBezTo>
                    <a:pt x="17588" y="10144"/>
                    <a:pt x="17557" y="10110"/>
                    <a:pt x="17549" y="10064"/>
                  </a:cubicBezTo>
                  <a:cubicBezTo>
                    <a:pt x="17536" y="10075"/>
                    <a:pt x="17524" y="10086"/>
                    <a:pt x="17510" y="10095"/>
                  </a:cubicBezTo>
                  <a:cubicBezTo>
                    <a:pt x="17458" y="10132"/>
                    <a:pt x="17400" y="10154"/>
                    <a:pt x="17340" y="10158"/>
                  </a:cubicBezTo>
                  <a:lnTo>
                    <a:pt x="17405" y="10195"/>
                  </a:lnTo>
                  <a:cubicBezTo>
                    <a:pt x="17378" y="10243"/>
                    <a:pt x="17346" y="10287"/>
                    <a:pt x="17310" y="10325"/>
                  </a:cubicBezTo>
                  <a:cubicBezTo>
                    <a:pt x="17274" y="10362"/>
                    <a:pt x="17235" y="10394"/>
                    <a:pt x="17193" y="10418"/>
                  </a:cubicBezTo>
                  <a:lnTo>
                    <a:pt x="17218" y="10495"/>
                  </a:lnTo>
                  <a:lnTo>
                    <a:pt x="17159" y="10567"/>
                  </a:lnTo>
                  <a:cubicBezTo>
                    <a:pt x="17132" y="10570"/>
                    <a:pt x="17107" y="10574"/>
                    <a:pt x="17081" y="10579"/>
                  </a:cubicBezTo>
                  <a:cubicBezTo>
                    <a:pt x="17045" y="10585"/>
                    <a:pt x="17009" y="10594"/>
                    <a:pt x="16973" y="10603"/>
                  </a:cubicBezTo>
                  <a:cubicBezTo>
                    <a:pt x="16942" y="10593"/>
                    <a:pt x="16912" y="10573"/>
                    <a:pt x="16887" y="10546"/>
                  </a:cubicBezTo>
                  <a:cubicBezTo>
                    <a:pt x="16860" y="10517"/>
                    <a:pt x="16838" y="10479"/>
                    <a:pt x="16824" y="10437"/>
                  </a:cubicBezTo>
                  <a:cubicBezTo>
                    <a:pt x="16846" y="10416"/>
                    <a:pt x="16861" y="10385"/>
                    <a:pt x="16865" y="10350"/>
                  </a:cubicBezTo>
                  <a:cubicBezTo>
                    <a:pt x="16867" y="10325"/>
                    <a:pt x="16864" y="10299"/>
                    <a:pt x="16855" y="10276"/>
                  </a:cubicBezTo>
                  <a:lnTo>
                    <a:pt x="16920" y="10206"/>
                  </a:lnTo>
                  <a:cubicBezTo>
                    <a:pt x="16903" y="10179"/>
                    <a:pt x="16885" y="10153"/>
                    <a:pt x="16867" y="10127"/>
                  </a:cubicBezTo>
                  <a:cubicBezTo>
                    <a:pt x="16856" y="10110"/>
                    <a:pt x="16844" y="10093"/>
                    <a:pt x="16831" y="10077"/>
                  </a:cubicBezTo>
                  <a:cubicBezTo>
                    <a:pt x="16816" y="10058"/>
                    <a:pt x="16798" y="10041"/>
                    <a:pt x="16784" y="10020"/>
                  </a:cubicBezTo>
                  <a:cubicBezTo>
                    <a:pt x="16768" y="9997"/>
                    <a:pt x="16756" y="9969"/>
                    <a:pt x="16750" y="9938"/>
                  </a:cubicBezTo>
                  <a:lnTo>
                    <a:pt x="16681" y="10003"/>
                  </a:lnTo>
                  <a:lnTo>
                    <a:pt x="16591" y="10022"/>
                  </a:lnTo>
                  <a:cubicBezTo>
                    <a:pt x="16577" y="10010"/>
                    <a:pt x="16558" y="10010"/>
                    <a:pt x="16544" y="10020"/>
                  </a:cubicBezTo>
                  <a:cubicBezTo>
                    <a:pt x="16521" y="10037"/>
                    <a:pt x="16515" y="10070"/>
                    <a:pt x="16505" y="10099"/>
                  </a:cubicBezTo>
                  <a:cubicBezTo>
                    <a:pt x="16495" y="10127"/>
                    <a:pt x="16482" y="10153"/>
                    <a:pt x="16464" y="10175"/>
                  </a:cubicBezTo>
                  <a:cubicBezTo>
                    <a:pt x="16492" y="10136"/>
                    <a:pt x="16492" y="10076"/>
                    <a:pt x="16464" y="10038"/>
                  </a:cubicBezTo>
                  <a:cubicBezTo>
                    <a:pt x="16455" y="10025"/>
                    <a:pt x="16443" y="10016"/>
                    <a:pt x="16433" y="10003"/>
                  </a:cubicBezTo>
                  <a:cubicBezTo>
                    <a:pt x="16418" y="9985"/>
                    <a:pt x="16409" y="9961"/>
                    <a:pt x="16407" y="9936"/>
                  </a:cubicBezTo>
                  <a:cubicBezTo>
                    <a:pt x="16416" y="9995"/>
                    <a:pt x="16343" y="10009"/>
                    <a:pt x="16338" y="9950"/>
                  </a:cubicBezTo>
                  <a:cubicBezTo>
                    <a:pt x="16337" y="9934"/>
                    <a:pt x="16345" y="9921"/>
                    <a:pt x="16347" y="9906"/>
                  </a:cubicBezTo>
                  <a:cubicBezTo>
                    <a:pt x="16357" y="9859"/>
                    <a:pt x="16321" y="9826"/>
                    <a:pt x="16296" y="9789"/>
                  </a:cubicBezTo>
                  <a:cubicBezTo>
                    <a:pt x="16265" y="9744"/>
                    <a:pt x="16252" y="9683"/>
                    <a:pt x="16261" y="9623"/>
                  </a:cubicBezTo>
                  <a:cubicBezTo>
                    <a:pt x="16294" y="9585"/>
                    <a:pt x="16313" y="9531"/>
                    <a:pt x="16314" y="9474"/>
                  </a:cubicBezTo>
                  <a:cubicBezTo>
                    <a:pt x="16315" y="9437"/>
                    <a:pt x="16308" y="9396"/>
                    <a:pt x="16324" y="9363"/>
                  </a:cubicBezTo>
                  <a:cubicBezTo>
                    <a:pt x="16336" y="9339"/>
                    <a:pt x="16357" y="9326"/>
                    <a:pt x="16379" y="9328"/>
                  </a:cubicBezTo>
                  <a:lnTo>
                    <a:pt x="16460" y="9320"/>
                  </a:lnTo>
                  <a:lnTo>
                    <a:pt x="16526" y="9427"/>
                  </a:lnTo>
                  <a:lnTo>
                    <a:pt x="16656" y="9312"/>
                  </a:lnTo>
                  <a:lnTo>
                    <a:pt x="16782" y="9307"/>
                  </a:lnTo>
                  <a:lnTo>
                    <a:pt x="16872" y="9124"/>
                  </a:lnTo>
                  <a:lnTo>
                    <a:pt x="16863" y="9011"/>
                  </a:lnTo>
                  <a:lnTo>
                    <a:pt x="16969" y="8793"/>
                  </a:lnTo>
                  <a:cubicBezTo>
                    <a:pt x="17009" y="8794"/>
                    <a:pt x="17048" y="8776"/>
                    <a:pt x="17077" y="8742"/>
                  </a:cubicBezTo>
                  <a:cubicBezTo>
                    <a:pt x="17104" y="8711"/>
                    <a:pt x="17122" y="8668"/>
                    <a:pt x="17151" y="8639"/>
                  </a:cubicBezTo>
                  <a:cubicBezTo>
                    <a:pt x="17179" y="8611"/>
                    <a:pt x="17216" y="8600"/>
                    <a:pt x="17245" y="8572"/>
                  </a:cubicBezTo>
                  <a:cubicBezTo>
                    <a:pt x="17268" y="8550"/>
                    <a:pt x="17284" y="8517"/>
                    <a:pt x="17291" y="8481"/>
                  </a:cubicBezTo>
                  <a:cubicBezTo>
                    <a:pt x="17287" y="8454"/>
                    <a:pt x="17288" y="8427"/>
                    <a:pt x="17294" y="8401"/>
                  </a:cubicBezTo>
                  <a:cubicBezTo>
                    <a:pt x="17302" y="8369"/>
                    <a:pt x="17317" y="8340"/>
                    <a:pt x="17338" y="8320"/>
                  </a:cubicBezTo>
                  <a:lnTo>
                    <a:pt x="17440" y="8154"/>
                  </a:lnTo>
                  <a:lnTo>
                    <a:pt x="17514" y="8055"/>
                  </a:lnTo>
                  <a:cubicBezTo>
                    <a:pt x="17544" y="8052"/>
                    <a:pt x="17573" y="8053"/>
                    <a:pt x="17603" y="8058"/>
                  </a:cubicBezTo>
                  <a:cubicBezTo>
                    <a:pt x="17629" y="8062"/>
                    <a:pt x="17657" y="8069"/>
                    <a:pt x="17680" y="8053"/>
                  </a:cubicBezTo>
                  <a:cubicBezTo>
                    <a:pt x="17703" y="8038"/>
                    <a:pt x="17715" y="8005"/>
                    <a:pt x="17710" y="7972"/>
                  </a:cubicBezTo>
                  <a:lnTo>
                    <a:pt x="17764" y="7918"/>
                  </a:lnTo>
                  <a:cubicBezTo>
                    <a:pt x="17763" y="7953"/>
                    <a:pt x="17764" y="7988"/>
                    <a:pt x="17768" y="8022"/>
                  </a:cubicBezTo>
                  <a:cubicBezTo>
                    <a:pt x="17772" y="8057"/>
                    <a:pt x="17780" y="8093"/>
                    <a:pt x="17802" y="8113"/>
                  </a:cubicBezTo>
                  <a:cubicBezTo>
                    <a:pt x="17820" y="8130"/>
                    <a:pt x="17846" y="8132"/>
                    <a:pt x="17860" y="8155"/>
                  </a:cubicBezTo>
                  <a:cubicBezTo>
                    <a:pt x="17873" y="8176"/>
                    <a:pt x="17871" y="8205"/>
                    <a:pt x="17878" y="8230"/>
                  </a:cubicBezTo>
                  <a:cubicBezTo>
                    <a:pt x="17886" y="8257"/>
                    <a:pt x="17904" y="8277"/>
                    <a:pt x="17926" y="8284"/>
                  </a:cubicBezTo>
                  <a:cubicBezTo>
                    <a:pt x="17914" y="8319"/>
                    <a:pt x="17902" y="8354"/>
                    <a:pt x="17890" y="8389"/>
                  </a:cubicBezTo>
                  <a:cubicBezTo>
                    <a:pt x="17869" y="8449"/>
                    <a:pt x="17846" y="8509"/>
                    <a:pt x="17822" y="8567"/>
                  </a:cubicBezTo>
                  <a:lnTo>
                    <a:pt x="17710" y="8720"/>
                  </a:lnTo>
                  <a:cubicBezTo>
                    <a:pt x="17690" y="8731"/>
                    <a:pt x="17675" y="8753"/>
                    <a:pt x="17669" y="8780"/>
                  </a:cubicBezTo>
                  <a:cubicBezTo>
                    <a:pt x="17662" y="8812"/>
                    <a:pt x="17667" y="8846"/>
                    <a:pt x="17683" y="8871"/>
                  </a:cubicBezTo>
                  <a:lnTo>
                    <a:pt x="17608" y="8931"/>
                  </a:lnTo>
                  <a:cubicBezTo>
                    <a:pt x="17628" y="8937"/>
                    <a:pt x="17642" y="8958"/>
                    <a:pt x="17645" y="8984"/>
                  </a:cubicBezTo>
                  <a:cubicBezTo>
                    <a:pt x="17649" y="9013"/>
                    <a:pt x="17637" y="9043"/>
                    <a:pt x="17615" y="9055"/>
                  </a:cubicBezTo>
                  <a:lnTo>
                    <a:pt x="17763" y="9009"/>
                  </a:lnTo>
                  <a:lnTo>
                    <a:pt x="17855" y="9005"/>
                  </a:lnTo>
                  <a:lnTo>
                    <a:pt x="17740" y="9100"/>
                  </a:lnTo>
                  <a:lnTo>
                    <a:pt x="17768" y="9211"/>
                  </a:lnTo>
                  <a:lnTo>
                    <a:pt x="17723" y="9213"/>
                  </a:lnTo>
                  <a:cubicBezTo>
                    <a:pt x="17731" y="9234"/>
                    <a:pt x="17722" y="9259"/>
                    <a:pt x="17704" y="9264"/>
                  </a:cubicBezTo>
                  <a:cubicBezTo>
                    <a:pt x="17686" y="9269"/>
                    <a:pt x="17665" y="9249"/>
                    <a:pt x="17650" y="9267"/>
                  </a:cubicBezTo>
                  <a:cubicBezTo>
                    <a:pt x="17636" y="9282"/>
                    <a:pt x="17646" y="9309"/>
                    <a:pt x="17640" y="9329"/>
                  </a:cubicBezTo>
                  <a:cubicBezTo>
                    <a:pt x="17632" y="9359"/>
                    <a:pt x="17601" y="9364"/>
                    <a:pt x="17587" y="9338"/>
                  </a:cubicBezTo>
                  <a:cubicBezTo>
                    <a:pt x="17587" y="9361"/>
                    <a:pt x="17589" y="9384"/>
                    <a:pt x="17593" y="9407"/>
                  </a:cubicBezTo>
                  <a:cubicBezTo>
                    <a:pt x="17597" y="9431"/>
                    <a:pt x="17603" y="9455"/>
                    <a:pt x="17611" y="9477"/>
                  </a:cubicBezTo>
                  <a:lnTo>
                    <a:pt x="17734" y="9380"/>
                  </a:lnTo>
                  <a:cubicBezTo>
                    <a:pt x="17759" y="9399"/>
                    <a:pt x="17791" y="9387"/>
                    <a:pt x="17804" y="9354"/>
                  </a:cubicBezTo>
                  <a:cubicBezTo>
                    <a:pt x="17817" y="9323"/>
                    <a:pt x="17807" y="9285"/>
                    <a:pt x="17783" y="9268"/>
                  </a:cubicBezTo>
                  <a:lnTo>
                    <a:pt x="17841" y="9238"/>
                  </a:lnTo>
                  <a:lnTo>
                    <a:pt x="17890" y="9289"/>
                  </a:lnTo>
                  <a:lnTo>
                    <a:pt x="17964" y="9063"/>
                  </a:lnTo>
                  <a:lnTo>
                    <a:pt x="18072" y="8945"/>
                  </a:lnTo>
                  <a:lnTo>
                    <a:pt x="18140" y="8828"/>
                  </a:lnTo>
                  <a:cubicBezTo>
                    <a:pt x="18189" y="8804"/>
                    <a:pt x="18236" y="8773"/>
                    <a:pt x="18280" y="8736"/>
                  </a:cubicBezTo>
                  <a:cubicBezTo>
                    <a:pt x="18298" y="8721"/>
                    <a:pt x="18316" y="8705"/>
                    <a:pt x="18333" y="8688"/>
                  </a:cubicBezTo>
                  <a:lnTo>
                    <a:pt x="18379" y="8630"/>
                  </a:lnTo>
                  <a:lnTo>
                    <a:pt x="18474" y="8601"/>
                  </a:lnTo>
                  <a:lnTo>
                    <a:pt x="18616" y="8595"/>
                  </a:lnTo>
                  <a:cubicBezTo>
                    <a:pt x="18640" y="8572"/>
                    <a:pt x="18661" y="8545"/>
                    <a:pt x="18679" y="8514"/>
                  </a:cubicBezTo>
                  <a:cubicBezTo>
                    <a:pt x="18702" y="8474"/>
                    <a:pt x="18720" y="8428"/>
                    <a:pt x="18730" y="8379"/>
                  </a:cubicBezTo>
                  <a:cubicBezTo>
                    <a:pt x="18770" y="8347"/>
                    <a:pt x="18802" y="8301"/>
                    <a:pt x="18823" y="8248"/>
                  </a:cubicBezTo>
                  <a:cubicBezTo>
                    <a:pt x="18832" y="8226"/>
                    <a:pt x="18839" y="8202"/>
                    <a:pt x="18844" y="8178"/>
                  </a:cubicBezTo>
                  <a:cubicBezTo>
                    <a:pt x="18873" y="8158"/>
                    <a:pt x="18895" y="8125"/>
                    <a:pt x="18906" y="8086"/>
                  </a:cubicBezTo>
                  <a:cubicBezTo>
                    <a:pt x="18912" y="8064"/>
                    <a:pt x="18915" y="8040"/>
                    <a:pt x="18926" y="8022"/>
                  </a:cubicBezTo>
                  <a:cubicBezTo>
                    <a:pt x="18943" y="7991"/>
                    <a:pt x="18972" y="7982"/>
                    <a:pt x="18999" y="7972"/>
                  </a:cubicBezTo>
                  <a:cubicBezTo>
                    <a:pt x="19032" y="7959"/>
                    <a:pt x="19064" y="7943"/>
                    <a:pt x="19096" y="7923"/>
                  </a:cubicBezTo>
                  <a:lnTo>
                    <a:pt x="19255" y="7780"/>
                  </a:lnTo>
                  <a:lnTo>
                    <a:pt x="19349" y="7489"/>
                  </a:lnTo>
                  <a:cubicBezTo>
                    <a:pt x="19367" y="7464"/>
                    <a:pt x="19381" y="7435"/>
                    <a:pt x="19392" y="7404"/>
                  </a:cubicBezTo>
                  <a:cubicBezTo>
                    <a:pt x="19410" y="7350"/>
                    <a:pt x="19415" y="7291"/>
                    <a:pt x="19407" y="7233"/>
                  </a:cubicBezTo>
                  <a:lnTo>
                    <a:pt x="19530" y="7131"/>
                  </a:lnTo>
                  <a:lnTo>
                    <a:pt x="19669" y="7321"/>
                  </a:lnTo>
                  <a:lnTo>
                    <a:pt x="19924" y="7298"/>
                  </a:lnTo>
                  <a:lnTo>
                    <a:pt x="20022" y="7187"/>
                  </a:lnTo>
                  <a:lnTo>
                    <a:pt x="19960" y="7117"/>
                  </a:lnTo>
                  <a:lnTo>
                    <a:pt x="19892" y="6932"/>
                  </a:lnTo>
                  <a:lnTo>
                    <a:pt x="20016" y="6878"/>
                  </a:lnTo>
                  <a:lnTo>
                    <a:pt x="20185" y="6851"/>
                  </a:lnTo>
                  <a:lnTo>
                    <a:pt x="20244" y="6674"/>
                  </a:lnTo>
                  <a:lnTo>
                    <a:pt x="20308" y="6528"/>
                  </a:lnTo>
                  <a:lnTo>
                    <a:pt x="20439" y="6462"/>
                  </a:lnTo>
                  <a:lnTo>
                    <a:pt x="20424" y="6118"/>
                  </a:lnTo>
                  <a:lnTo>
                    <a:pt x="20560" y="6153"/>
                  </a:lnTo>
                  <a:cubicBezTo>
                    <a:pt x="20568" y="6183"/>
                    <a:pt x="20576" y="6213"/>
                    <a:pt x="20585" y="6243"/>
                  </a:cubicBezTo>
                  <a:cubicBezTo>
                    <a:pt x="20593" y="6272"/>
                    <a:pt x="20601" y="6302"/>
                    <a:pt x="20609" y="6332"/>
                  </a:cubicBezTo>
                  <a:cubicBezTo>
                    <a:pt x="20630" y="6341"/>
                    <a:pt x="20651" y="6350"/>
                    <a:pt x="20672" y="6359"/>
                  </a:cubicBezTo>
                  <a:cubicBezTo>
                    <a:pt x="20692" y="6367"/>
                    <a:pt x="20713" y="6376"/>
                    <a:pt x="20734" y="6385"/>
                  </a:cubicBezTo>
                  <a:lnTo>
                    <a:pt x="20725" y="6256"/>
                  </a:lnTo>
                  <a:lnTo>
                    <a:pt x="20674" y="6189"/>
                  </a:lnTo>
                  <a:cubicBezTo>
                    <a:pt x="20690" y="6144"/>
                    <a:pt x="20723" y="6111"/>
                    <a:pt x="20761" y="6102"/>
                  </a:cubicBezTo>
                  <a:cubicBezTo>
                    <a:pt x="20793" y="6094"/>
                    <a:pt x="20830" y="6102"/>
                    <a:pt x="20853" y="6070"/>
                  </a:cubicBezTo>
                  <a:cubicBezTo>
                    <a:pt x="20876" y="6037"/>
                    <a:pt x="20867" y="5991"/>
                    <a:pt x="20863" y="5950"/>
                  </a:cubicBezTo>
                  <a:cubicBezTo>
                    <a:pt x="20857" y="5893"/>
                    <a:pt x="20860" y="5836"/>
                    <a:pt x="20873" y="5781"/>
                  </a:cubicBezTo>
                  <a:lnTo>
                    <a:pt x="20831" y="5585"/>
                  </a:lnTo>
                  <a:lnTo>
                    <a:pt x="20793" y="5405"/>
                  </a:lnTo>
                  <a:lnTo>
                    <a:pt x="20801" y="5304"/>
                  </a:lnTo>
                  <a:lnTo>
                    <a:pt x="20695" y="4975"/>
                  </a:lnTo>
                  <a:lnTo>
                    <a:pt x="20665" y="4910"/>
                  </a:lnTo>
                  <a:lnTo>
                    <a:pt x="20612" y="4866"/>
                  </a:lnTo>
                  <a:lnTo>
                    <a:pt x="20671" y="4803"/>
                  </a:lnTo>
                  <a:lnTo>
                    <a:pt x="20778" y="4751"/>
                  </a:lnTo>
                  <a:lnTo>
                    <a:pt x="20880" y="4437"/>
                  </a:lnTo>
                  <a:lnTo>
                    <a:pt x="20965" y="4493"/>
                  </a:lnTo>
                  <a:cubicBezTo>
                    <a:pt x="21004" y="4506"/>
                    <a:pt x="21044" y="4518"/>
                    <a:pt x="21083" y="4527"/>
                  </a:cubicBezTo>
                  <a:cubicBezTo>
                    <a:pt x="21136" y="4539"/>
                    <a:pt x="21188" y="4548"/>
                    <a:pt x="21242" y="4553"/>
                  </a:cubicBezTo>
                  <a:lnTo>
                    <a:pt x="21312" y="4459"/>
                  </a:lnTo>
                  <a:lnTo>
                    <a:pt x="21288" y="4316"/>
                  </a:lnTo>
                  <a:cubicBezTo>
                    <a:pt x="21284" y="4283"/>
                    <a:pt x="21288" y="4250"/>
                    <a:pt x="21297" y="4219"/>
                  </a:cubicBezTo>
                  <a:cubicBezTo>
                    <a:pt x="21314" y="4163"/>
                    <a:pt x="21350" y="4120"/>
                    <a:pt x="21395" y="4103"/>
                  </a:cubicBezTo>
                  <a:lnTo>
                    <a:pt x="21348" y="4009"/>
                  </a:lnTo>
                  <a:lnTo>
                    <a:pt x="21420" y="3814"/>
                  </a:lnTo>
                  <a:cubicBezTo>
                    <a:pt x="21412" y="3796"/>
                    <a:pt x="21407" y="3775"/>
                    <a:pt x="21406" y="3754"/>
                  </a:cubicBezTo>
                  <a:cubicBezTo>
                    <a:pt x="21403" y="3709"/>
                    <a:pt x="21417" y="3665"/>
                    <a:pt x="21443" y="3635"/>
                  </a:cubicBezTo>
                  <a:lnTo>
                    <a:pt x="21401" y="3481"/>
                  </a:lnTo>
                  <a:lnTo>
                    <a:pt x="21427" y="3382"/>
                  </a:lnTo>
                  <a:cubicBezTo>
                    <a:pt x="21409" y="3330"/>
                    <a:pt x="21404" y="3272"/>
                    <a:pt x="21410" y="3216"/>
                  </a:cubicBezTo>
                  <a:cubicBezTo>
                    <a:pt x="21416" y="3171"/>
                    <a:pt x="21429" y="3127"/>
                    <a:pt x="21432" y="3081"/>
                  </a:cubicBezTo>
                  <a:cubicBezTo>
                    <a:pt x="21434" y="3039"/>
                    <a:pt x="21427" y="2997"/>
                    <a:pt x="21412" y="2960"/>
                  </a:cubicBezTo>
                  <a:lnTo>
                    <a:pt x="21505" y="2854"/>
                  </a:lnTo>
                  <a:cubicBezTo>
                    <a:pt x="21521" y="2841"/>
                    <a:pt x="21534" y="2823"/>
                    <a:pt x="21543" y="2801"/>
                  </a:cubicBezTo>
                  <a:cubicBezTo>
                    <a:pt x="21557" y="2767"/>
                    <a:pt x="21559" y="2726"/>
                    <a:pt x="21549" y="2690"/>
                  </a:cubicBezTo>
                  <a:lnTo>
                    <a:pt x="21521" y="2627"/>
                  </a:lnTo>
                  <a:lnTo>
                    <a:pt x="21453" y="2565"/>
                  </a:lnTo>
                  <a:lnTo>
                    <a:pt x="21458" y="2387"/>
                  </a:lnTo>
                  <a:cubicBezTo>
                    <a:pt x="21490" y="2385"/>
                    <a:pt x="21520" y="2370"/>
                    <a:pt x="21545" y="2344"/>
                  </a:cubicBezTo>
                  <a:cubicBezTo>
                    <a:pt x="21576" y="2311"/>
                    <a:pt x="21596" y="2263"/>
                    <a:pt x="21600" y="2210"/>
                  </a:cubicBezTo>
                  <a:lnTo>
                    <a:pt x="21541" y="2190"/>
                  </a:lnTo>
                  <a:lnTo>
                    <a:pt x="21387" y="2290"/>
                  </a:lnTo>
                  <a:lnTo>
                    <a:pt x="21282" y="2352"/>
                  </a:lnTo>
                  <a:lnTo>
                    <a:pt x="21100" y="2554"/>
                  </a:lnTo>
                  <a:lnTo>
                    <a:pt x="20956" y="2603"/>
                  </a:lnTo>
                  <a:lnTo>
                    <a:pt x="20887" y="2725"/>
                  </a:lnTo>
                  <a:lnTo>
                    <a:pt x="20832" y="2756"/>
                  </a:lnTo>
                  <a:lnTo>
                    <a:pt x="20818" y="2924"/>
                  </a:lnTo>
                  <a:lnTo>
                    <a:pt x="20751" y="2919"/>
                  </a:lnTo>
                  <a:lnTo>
                    <a:pt x="20635" y="2995"/>
                  </a:lnTo>
                  <a:lnTo>
                    <a:pt x="20551" y="3019"/>
                  </a:lnTo>
                  <a:lnTo>
                    <a:pt x="20479" y="2997"/>
                  </a:lnTo>
                  <a:lnTo>
                    <a:pt x="20344" y="3063"/>
                  </a:lnTo>
                  <a:lnTo>
                    <a:pt x="20275" y="2998"/>
                  </a:lnTo>
                  <a:lnTo>
                    <a:pt x="20160" y="2855"/>
                  </a:lnTo>
                  <a:lnTo>
                    <a:pt x="20227" y="2729"/>
                  </a:lnTo>
                  <a:lnTo>
                    <a:pt x="20193" y="2603"/>
                  </a:lnTo>
                  <a:lnTo>
                    <a:pt x="20110" y="2592"/>
                  </a:lnTo>
                  <a:lnTo>
                    <a:pt x="20076" y="2550"/>
                  </a:lnTo>
                  <a:lnTo>
                    <a:pt x="20104" y="2398"/>
                  </a:lnTo>
                  <a:lnTo>
                    <a:pt x="19916" y="2398"/>
                  </a:lnTo>
                  <a:lnTo>
                    <a:pt x="19718" y="2229"/>
                  </a:lnTo>
                  <a:lnTo>
                    <a:pt x="19664" y="2150"/>
                  </a:lnTo>
                  <a:lnTo>
                    <a:pt x="19612" y="2188"/>
                  </a:lnTo>
                  <a:lnTo>
                    <a:pt x="19527" y="2208"/>
                  </a:lnTo>
                  <a:lnTo>
                    <a:pt x="19429" y="2141"/>
                  </a:lnTo>
                  <a:lnTo>
                    <a:pt x="19339" y="2101"/>
                  </a:lnTo>
                  <a:lnTo>
                    <a:pt x="19229" y="2141"/>
                  </a:lnTo>
                  <a:lnTo>
                    <a:pt x="19171" y="2136"/>
                  </a:lnTo>
                  <a:lnTo>
                    <a:pt x="19099" y="2161"/>
                  </a:lnTo>
                  <a:lnTo>
                    <a:pt x="18993" y="2025"/>
                  </a:lnTo>
                  <a:lnTo>
                    <a:pt x="18979" y="1894"/>
                  </a:lnTo>
                  <a:lnTo>
                    <a:pt x="18989" y="1767"/>
                  </a:lnTo>
                  <a:lnTo>
                    <a:pt x="18928" y="1736"/>
                  </a:lnTo>
                  <a:lnTo>
                    <a:pt x="18878" y="1669"/>
                  </a:lnTo>
                  <a:lnTo>
                    <a:pt x="18893" y="1570"/>
                  </a:lnTo>
                  <a:lnTo>
                    <a:pt x="18815" y="1410"/>
                  </a:lnTo>
                  <a:lnTo>
                    <a:pt x="18705" y="1303"/>
                  </a:lnTo>
                  <a:lnTo>
                    <a:pt x="18696" y="1161"/>
                  </a:lnTo>
                  <a:lnTo>
                    <a:pt x="18474" y="764"/>
                  </a:lnTo>
                  <a:lnTo>
                    <a:pt x="18416" y="655"/>
                  </a:lnTo>
                  <a:lnTo>
                    <a:pt x="18429" y="533"/>
                  </a:lnTo>
                  <a:lnTo>
                    <a:pt x="18283" y="412"/>
                  </a:lnTo>
                  <a:lnTo>
                    <a:pt x="18311" y="342"/>
                  </a:lnTo>
                  <a:lnTo>
                    <a:pt x="18149" y="198"/>
                  </a:lnTo>
                  <a:lnTo>
                    <a:pt x="17961" y="134"/>
                  </a:lnTo>
                  <a:lnTo>
                    <a:pt x="17896" y="242"/>
                  </a:lnTo>
                  <a:lnTo>
                    <a:pt x="17709" y="83"/>
                  </a:lnTo>
                  <a:lnTo>
                    <a:pt x="17612" y="67"/>
                  </a:lnTo>
                  <a:lnTo>
                    <a:pt x="17422" y="0"/>
                  </a:lnTo>
                  <a:lnTo>
                    <a:pt x="17301" y="92"/>
                  </a:lnTo>
                  <a:lnTo>
                    <a:pt x="17149" y="137"/>
                  </a:lnTo>
                  <a:lnTo>
                    <a:pt x="17088" y="103"/>
                  </a:lnTo>
                  <a:lnTo>
                    <a:pt x="16981" y="183"/>
                  </a:lnTo>
                  <a:lnTo>
                    <a:pt x="16778" y="294"/>
                  </a:lnTo>
                  <a:lnTo>
                    <a:pt x="16689" y="313"/>
                  </a:lnTo>
                  <a:cubicBezTo>
                    <a:pt x="16671" y="375"/>
                    <a:pt x="16646" y="433"/>
                    <a:pt x="16615" y="486"/>
                  </a:cubicBezTo>
                  <a:cubicBezTo>
                    <a:pt x="16595" y="519"/>
                    <a:pt x="16573" y="550"/>
                    <a:pt x="16552" y="581"/>
                  </a:cubicBezTo>
                  <a:cubicBezTo>
                    <a:pt x="16528" y="615"/>
                    <a:pt x="16504" y="650"/>
                    <a:pt x="16480" y="684"/>
                  </a:cubicBezTo>
                  <a:lnTo>
                    <a:pt x="16520" y="805"/>
                  </a:lnTo>
                  <a:lnTo>
                    <a:pt x="16614" y="722"/>
                  </a:lnTo>
                  <a:lnTo>
                    <a:pt x="16717" y="813"/>
                  </a:lnTo>
                  <a:lnTo>
                    <a:pt x="16686" y="919"/>
                  </a:lnTo>
                  <a:lnTo>
                    <a:pt x="16743" y="1031"/>
                  </a:lnTo>
                  <a:lnTo>
                    <a:pt x="16705" y="1143"/>
                  </a:lnTo>
                  <a:lnTo>
                    <a:pt x="16559" y="1322"/>
                  </a:lnTo>
                  <a:lnTo>
                    <a:pt x="16487" y="1543"/>
                  </a:lnTo>
                  <a:cubicBezTo>
                    <a:pt x="16501" y="1625"/>
                    <a:pt x="16484" y="1712"/>
                    <a:pt x="16442" y="1776"/>
                  </a:cubicBezTo>
                  <a:cubicBezTo>
                    <a:pt x="16424" y="1802"/>
                    <a:pt x="16403" y="1824"/>
                    <a:pt x="16380" y="1839"/>
                  </a:cubicBezTo>
                  <a:cubicBezTo>
                    <a:pt x="16386" y="1882"/>
                    <a:pt x="16386" y="1925"/>
                    <a:pt x="16380" y="1967"/>
                  </a:cubicBezTo>
                  <a:cubicBezTo>
                    <a:pt x="16369" y="2034"/>
                    <a:pt x="16341" y="2094"/>
                    <a:pt x="16301" y="2139"/>
                  </a:cubicBezTo>
                  <a:lnTo>
                    <a:pt x="16383" y="2253"/>
                  </a:lnTo>
                  <a:lnTo>
                    <a:pt x="16283" y="2404"/>
                  </a:lnTo>
                  <a:lnTo>
                    <a:pt x="16158" y="2460"/>
                  </a:lnTo>
                  <a:cubicBezTo>
                    <a:pt x="16136" y="2522"/>
                    <a:pt x="16103" y="2576"/>
                    <a:pt x="16060" y="2617"/>
                  </a:cubicBezTo>
                  <a:cubicBezTo>
                    <a:pt x="16031" y="2646"/>
                    <a:pt x="15998" y="2668"/>
                    <a:pt x="15963" y="2682"/>
                  </a:cubicBezTo>
                  <a:lnTo>
                    <a:pt x="15851" y="2743"/>
                  </a:lnTo>
                  <a:lnTo>
                    <a:pt x="15781" y="2694"/>
                  </a:lnTo>
                  <a:lnTo>
                    <a:pt x="15645" y="2677"/>
                  </a:lnTo>
                  <a:lnTo>
                    <a:pt x="15561" y="2567"/>
                  </a:lnTo>
                  <a:lnTo>
                    <a:pt x="15369" y="3177"/>
                  </a:lnTo>
                  <a:cubicBezTo>
                    <a:pt x="15378" y="3217"/>
                    <a:pt x="15379" y="3259"/>
                    <a:pt x="15373" y="3300"/>
                  </a:cubicBezTo>
                  <a:cubicBezTo>
                    <a:pt x="15361" y="3381"/>
                    <a:pt x="15322" y="3450"/>
                    <a:pt x="15267" y="3490"/>
                  </a:cubicBezTo>
                  <a:lnTo>
                    <a:pt x="15296" y="3629"/>
                  </a:lnTo>
                  <a:lnTo>
                    <a:pt x="15196" y="3693"/>
                  </a:lnTo>
                  <a:lnTo>
                    <a:pt x="15221" y="3857"/>
                  </a:lnTo>
                  <a:lnTo>
                    <a:pt x="15374" y="3975"/>
                  </a:lnTo>
                  <a:lnTo>
                    <a:pt x="15467" y="3840"/>
                  </a:lnTo>
                  <a:cubicBezTo>
                    <a:pt x="15490" y="3853"/>
                    <a:pt x="15516" y="3859"/>
                    <a:pt x="15541" y="3857"/>
                  </a:cubicBezTo>
                  <a:cubicBezTo>
                    <a:pt x="15579" y="3853"/>
                    <a:pt x="15615" y="3832"/>
                    <a:pt x="15641" y="3798"/>
                  </a:cubicBezTo>
                  <a:lnTo>
                    <a:pt x="15838" y="3936"/>
                  </a:lnTo>
                  <a:lnTo>
                    <a:pt x="15976" y="3724"/>
                  </a:lnTo>
                  <a:lnTo>
                    <a:pt x="16235" y="3692"/>
                  </a:lnTo>
                  <a:lnTo>
                    <a:pt x="16298" y="3849"/>
                  </a:lnTo>
                  <a:lnTo>
                    <a:pt x="16418" y="3899"/>
                  </a:lnTo>
                  <a:lnTo>
                    <a:pt x="16657" y="4134"/>
                  </a:lnTo>
                  <a:lnTo>
                    <a:pt x="16718" y="4408"/>
                  </a:lnTo>
                  <a:lnTo>
                    <a:pt x="16652" y="4520"/>
                  </a:lnTo>
                  <a:lnTo>
                    <a:pt x="16510" y="4504"/>
                  </a:lnTo>
                  <a:lnTo>
                    <a:pt x="16391" y="4436"/>
                  </a:lnTo>
                  <a:lnTo>
                    <a:pt x="16319" y="4497"/>
                  </a:lnTo>
                  <a:lnTo>
                    <a:pt x="16208" y="4466"/>
                  </a:lnTo>
                  <a:lnTo>
                    <a:pt x="16086" y="4591"/>
                  </a:lnTo>
                  <a:lnTo>
                    <a:pt x="16005" y="4646"/>
                  </a:lnTo>
                  <a:lnTo>
                    <a:pt x="15932" y="4583"/>
                  </a:lnTo>
                  <a:lnTo>
                    <a:pt x="15856" y="4743"/>
                  </a:lnTo>
                  <a:lnTo>
                    <a:pt x="15711" y="4786"/>
                  </a:lnTo>
                  <a:lnTo>
                    <a:pt x="15630" y="4825"/>
                  </a:lnTo>
                  <a:lnTo>
                    <a:pt x="15530" y="5034"/>
                  </a:lnTo>
                  <a:lnTo>
                    <a:pt x="15517" y="5160"/>
                  </a:lnTo>
                  <a:lnTo>
                    <a:pt x="15467" y="5217"/>
                  </a:lnTo>
                  <a:lnTo>
                    <a:pt x="15416" y="5251"/>
                  </a:lnTo>
                  <a:lnTo>
                    <a:pt x="15293" y="5407"/>
                  </a:lnTo>
                  <a:lnTo>
                    <a:pt x="15119" y="5433"/>
                  </a:lnTo>
                  <a:lnTo>
                    <a:pt x="15000" y="5411"/>
                  </a:lnTo>
                  <a:lnTo>
                    <a:pt x="14927" y="5474"/>
                  </a:lnTo>
                  <a:lnTo>
                    <a:pt x="14956" y="5568"/>
                  </a:lnTo>
                  <a:cubicBezTo>
                    <a:pt x="14902" y="5685"/>
                    <a:pt x="14819" y="5776"/>
                    <a:pt x="14721" y="5827"/>
                  </a:cubicBezTo>
                  <a:cubicBezTo>
                    <a:pt x="14694" y="5841"/>
                    <a:pt x="14666" y="5852"/>
                    <a:pt x="14637" y="5859"/>
                  </a:cubicBezTo>
                  <a:lnTo>
                    <a:pt x="14340" y="5833"/>
                  </a:lnTo>
                  <a:lnTo>
                    <a:pt x="14223" y="5701"/>
                  </a:lnTo>
                  <a:lnTo>
                    <a:pt x="14073" y="5690"/>
                  </a:lnTo>
                  <a:lnTo>
                    <a:pt x="13995" y="5789"/>
                  </a:lnTo>
                  <a:cubicBezTo>
                    <a:pt x="13980" y="5856"/>
                    <a:pt x="13961" y="5922"/>
                    <a:pt x="13940" y="5986"/>
                  </a:cubicBezTo>
                  <a:cubicBezTo>
                    <a:pt x="13921" y="6041"/>
                    <a:pt x="13900" y="6096"/>
                    <a:pt x="13876" y="6148"/>
                  </a:cubicBezTo>
                  <a:lnTo>
                    <a:pt x="13937" y="6241"/>
                  </a:lnTo>
                  <a:cubicBezTo>
                    <a:pt x="13931" y="6277"/>
                    <a:pt x="13939" y="6315"/>
                    <a:pt x="13959" y="6343"/>
                  </a:cubicBezTo>
                  <a:cubicBezTo>
                    <a:pt x="13982" y="6375"/>
                    <a:pt x="14017" y="6387"/>
                    <a:pt x="14044" y="6413"/>
                  </a:cubicBezTo>
                  <a:cubicBezTo>
                    <a:pt x="14068" y="6434"/>
                    <a:pt x="14085" y="6465"/>
                    <a:pt x="14093" y="6500"/>
                  </a:cubicBezTo>
                  <a:cubicBezTo>
                    <a:pt x="14080" y="6547"/>
                    <a:pt x="14060" y="6589"/>
                    <a:pt x="14034" y="6625"/>
                  </a:cubicBezTo>
                  <a:cubicBezTo>
                    <a:pt x="13999" y="6673"/>
                    <a:pt x="13955" y="6708"/>
                    <a:pt x="13907" y="6727"/>
                  </a:cubicBezTo>
                  <a:lnTo>
                    <a:pt x="13748" y="6848"/>
                  </a:lnTo>
                  <a:cubicBezTo>
                    <a:pt x="13713" y="6930"/>
                    <a:pt x="13668" y="7005"/>
                    <a:pt x="13616" y="7070"/>
                  </a:cubicBezTo>
                  <a:cubicBezTo>
                    <a:pt x="13576" y="7120"/>
                    <a:pt x="13533" y="7163"/>
                    <a:pt x="13486" y="7200"/>
                  </a:cubicBezTo>
                  <a:lnTo>
                    <a:pt x="13413" y="7256"/>
                  </a:lnTo>
                  <a:lnTo>
                    <a:pt x="13329" y="7277"/>
                  </a:lnTo>
                  <a:cubicBezTo>
                    <a:pt x="13313" y="7330"/>
                    <a:pt x="13283" y="7374"/>
                    <a:pt x="13244" y="7402"/>
                  </a:cubicBezTo>
                  <a:cubicBezTo>
                    <a:pt x="13215" y="7423"/>
                    <a:pt x="13183" y="7434"/>
                    <a:pt x="13150" y="7434"/>
                  </a:cubicBezTo>
                  <a:lnTo>
                    <a:pt x="13043" y="7398"/>
                  </a:lnTo>
                  <a:lnTo>
                    <a:pt x="12899" y="7431"/>
                  </a:lnTo>
                  <a:lnTo>
                    <a:pt x="12748" y="7403"/>
                  </a:lnTo>
                  <a:lnTo>
                    <a:pt x="12617" y="7448"/>
                  </a:lnTo>
                  <a:lnTo>
                    <a:pt x="12505" y="7401"/>
                  </a:lnTo>
                  <a:lnTo>
                    <a:pt x="12378" y="7464"/>
                  </a:lnTo>
                  <a:lnTo>
                    <a:pt x="12207" y="7501"/>
                  </a:lnTo>
                  <a:lnTo>
                    <a:pt x="11735" y="7789"/>
                  </a:lnTo>
                  <a:lnTo>
                    <a:pt x="11619" y="7919"/>
                  </a:lnTo>
                  <a:lnTo>
                    <a:pt x="11521" y="7854"/>
                  </a:lnTo>
                  <a:lnTo>
                    <a:pt x="11445" y="7876"/>
                  </a:lnTo>
                  <a:lnTo>
                    <a:pt x="11435" y="7736"/>
                  </a:lnTo>
                  <a:lnTo>
                    <a:pt x="11159" y="7745"/>
                  </a:lnTo>
                  <a:lnTo>
                    <a:pt x="10801" y="7516"/>
                  </a:lnTo>
                  <a:lnTo>
                    <a:pt x="10708" y="7462"/>
                  </a:lnTo>
                  <a:lnTo>
                    <a:pt x="10570" y="7435"/>
                  </a:lnTo>
                  <a:lnTo>
                    <a:pt x="10437" y="7216"/>
                  </a:lnTo>
                  <a:lnTo>
                    <a:pt x="10089" y="7054"/>
                  </a:lnTo>
                  <a:lnTo>
                    <a:pt x="9963" y="7042"/>
                  </a:lnTo>
                  <a:lnTo>
                    <a:pt x="9553" y="7065"/>
                  </a:lnTo>
                  <a:lnTo>
                    <a:pt x="9185" y="6960"/>
                  </a:lnTo>
                  <a:lnTo>
                    <a:pt x="8813" y="6799"/>
                  </a:lnTo>
                  <a:lnTo>
                    <a:pt x="8514" y="6797"/>
                  </a:lnTo>
                  <a:lnTo>
                    <a:pt x="8524" y="6648"/>
                  </a:lnTo>
                  <a:lnTo>
                    <a:pt x="8394" y="6439"/>
                  </a:lnTo>
                  <a:cubicBezTo>
                    <a:pt x="8406" y="6387"/>
                    <a:pt x="8413" y="6334"/>
                    <a:pt x="8413" y="6280"/>
                  </a:cubicBezTo>
                  <a:cubicBezTo>
                    <a:pt x="8413" y="6168"/>
                    <a:pt x="8386" y="6059"/>
                    <a:pt x="8336" y="5968"/>
                  </a:cubicBezTo>
                  <a:lnTo>
                    <a:pt x="8278" y="5902"/>
                  </a:lnTo>
                  <a:lnTo>
                    <a:pt x="8336" y="5760"/>
                  </a:lnTo>
                  <a:lnTo>
                    <a:pt x="8148" y="5739"/>
                  </a:lnTo>
                  <a:lnTo>
                    <a:pt x="7971" y="5515"/>
                  </a:lnTo>
                  <a:lnTo>
                    <a:pt x="7791" y="5273"/>
                  </a:lnTo>
                  <a:lnTo>
                    <a:pt x="7717" y="5188"/>
                  </a:lnTo>
                  <a:lnTo>
                    <a:pt x="7473" y="5088"/>
                  </a:lnTo>
                  <a:lnTo>
                    <a:pt x="7317" y="5088"/>
                  </a:lnTo>
                  <a:lnTo>
                    <a:pt x="7172" y="4987"/>
                  </a:lnTo>
                  <a:lnTo>
                    <a:pt x="7041" y="4987"/>
                  </a:lnTo>
                  <a:lnTo>
                    <a:pt x="6888" y="4836"/>
                  </a:lnTo>
                  <a:lnTo>
                    <a:pt x="6842" y="4801"/>
                  </a:lnTo>
                  <a:lnTo>
                    <a:pt x="6832" y="4711"/>
                  </a:lnTo>
                  <a:lnTo>
                    <a:pt x="6815" y="4581"/>
                  </a:lnTo>
                  <a:lnTo>
                    <a:pt x="6884" y="4432"/>
                  </a:lnTo>
                  <a:lnTo>
                    <a:pt x="6968" y="4339"/>
                  </a:lnTo>
                  <a:lnTo>
                    <a:pt x="6973" y="4165"/>
                  </a:lnTo>
                  <a:lnTo>
                    <a:pt x="7036" y="4046"/>
                  </a:lnTo>
                  <a:lnTo>
                    <a:pt x="7049" y="3894"/>
                  </a:lnTo>
                  <a:lnTo>
                    <a:pt x="6990" y="3722"/>
                  </a:lnTo>
                  <a:lnTo>
                    <a:pt x="6917" y="3569"/>
                  </a:lnTo>
                  <a:lnTo>
                    <a:pt x="6917" y="3402"/>
                  </a:lnTo>
                  <a:lnTo>
                    <a:pt x="6898" y="3236"/>
                  </a:lnTo>
                  <a:lnTo>
                    <a:pt x="6823" y="3187"/>
                  </a:lnTo>
                  <a:lnTo>
                    <a:pt x="6806" y="3103"/>
                  </a:lnTo>
                  <a:lnTo>
                    <a:pt x="6730" y="3130"/>
                  </a:lnTo>
                  <a:lnTo>
                    <a:pt x="6713" y="3064"/>
                  </a:lnTo>
                  <a:lnTo>
                    <a:pt x="6672" y="2995"/>
                  </a:lnTo>
                  <a:lnTo>
                    <a:pt x="6612" y="2957"/>
                  </a:lnTo>
                  <a:lnTo>
                    <a:pt x="6546" y="2974"/>
                  </a:lnTo>
                  <a:lnTo>
                    <a:pt x="6417" y="2777"/>
                  </a:lnTo>
                  <a:lnTo>
                    <a:pt x="6407" y="2679"/>
                  </a:lnTo>
                  <a:lnTo>
                    <a:pt x="6231" y="2504"/>
                  </a:lnTo>
                  <a:lnTo>
                    <a:pt x="6288" y="2431"/>
                  </a:lnTo>
                  <a:lnTo>
                    <a:pt x="6176" y="2269"/>
                  </a:lnTo>
                  <a:cubicBezTo>
                    <a:pt x="6206" y="2275"/>
                    <a:pt x="6236" y="2258"/>
                    <a:pt x="6252" y="2225"/>
                  </a:cubicBezTo>
                  <a:cubicBezTo>
                    <a:pt x="6278" y="2169"/>
                    <a:pt x="6259" y="2096"/>
                    <a:pt x="6211" y="2074"/>
                  </a:cubicBezTo>
                  <a:lnTo>
                    <a:pt x="6132" y="2083"/>
                  </a:lnTo>
                  <a:lnTo>
                    <a:pt x="6118" y="2133"/>
                  </a:lnTo>
                  <a:lnTo>
                    <a:pt x="5989" y="2041"/>
                  </a:lnTo>
                  <a:lnTo>
                    <a:pt x="5880" y="2120"/>
                  </a:lnTo>
                  <a:lnTo>
                    <a:pt x="5889" y="2230"/>
                  </a:lnTo>
                  <a:cubicBezTo>
                    <a:pt x="5875" y="2286"/>
                    <a:pt x="5847" y="2334"/>
                    <a:pt x="5809" y="2366"/>
                  </a:cubicBezTo>
                  <a:cubicBezTo>
                    <a:pt x="5779" y="2392"/>
                    <a:pt x="5743" y="2406"/>
                    <a:pt x="5707" y="2407"/>
                  </a:cubicBezTo>
                  <a:lnTo>
                    <a:pt x="5599" y="2408"/>
                  </a:lnTo>
                  <a:lnTo>
                    <a:pt x="5503" y="2392"/>
                  </a:lnTo>
                  <a:lnTo>
                    <a:pt x="5399" y="2565"/>
                  </a:lnTo>
                  <a:lnTo>
                    <a:pt x="5364" y="2787"/>
                  </a:lnTo>
                  <a:lnTo>
                    <a:pt x="5360" y="2917"/>
                  </a:lnTo>
                  <a:lnTo>
                    <a:pt x="5341" y="3110"/>
                  </a:lnTo>
                  <a:lnTo>
                    <a:pt x="5257" y="3173"/>
                  </a:lnTo>
                  <a:lnTo>
                    <a:pt x="5124" y="3174"/>
                  </a:lnTo>
                  <a:lnTo>
                    <a:pt x="5054" y="3233"/>
                  </a:lnTo>
                  <a:lnTo>
                    <a:pt x="4943" y="3133"/>
                  </a:lnTo>
                  <a:lnTo>
                    <a:pt x="4790" y="3051"/>
                  </a:lnTo>
                  <a:lnTo>
                    <a:pt x="4658" y="3054"/>
                  </a:lnTo>
                  <a:lnTo>
                    <a:pt x="4493" y="2835"/>
                  </a:lnTo>
                  <a:lnTo>
                    <a:pt x="4109" y="3545"/>
                  </a:lnTo>
                  <a:lnTo>
                    <a:pt x="4021" y="3743"/>
                  </a:lnTo>
                  <a:cubicBezTo>
                    <a:pt x="4047" y="3775"/>
                    <a:pt x="4067" y="3812"/>
                    <a:pt x="4081" y="3854"/>
                  </a:cubicBezTo>
                  <a:cubicBezTo>
                    <a:pt x="4092" y="3890"/>
                    <a:pt x="4099" y="3929"/>
                    <a:pt x="4100" y="3968"/>
                  </a:cubicBezTo>
                  <a:lnTo>
                    <a:pt x="4012" y="3963"/>
                  </a:lnTo>
                  <a:lnTo>
                    <a:pt x="3951" y="3929"/>
                  </a:lnTo>
                  <a:lnTo>
                    <a:pt x="3885" y="3867"/>
                  </a:lnTo>
                  <a:lnTo>
                    <a:pt x="3827" y="3799"/>
                  </a:lnTo>
                  <a:lnTo>
                    <a:pt x="3706" y="3819"/>
                  </a:lnTo>
                  <a:lnTo>
                    <a:pt x="3613" y="3809"/>
                  </a:lnTo>
                  <a:lnTo>
                    <a:pt x="3546" y="3838"/>
                  </a:lnTo>
                  <a:lnTo>
                    <a:pt x="3467" y="3787"/>
                  </a:lnTo>
                  <a:lnTo>
                    <a:pt x="3393" y="3809"/>
                  </a:lnTo>
                  <a:lnTo>
                    <a:pt x="3308" y="3814"/>
                  </a:lnTo>
                  <a:lnTo>
                    <a:pt x="3169" y="3869"/>
                  </a:lnTo>
                  <a:lnTo>
                    <a:pt x="3257" y="4035"/>
                  </a:lnTo>
                  <a:lnTo>
                    <a:pt x="3200" y="4360"/>
                  </a:lnTo>
                  <a:lnTo>
                    <a:pt x="3216" y="4644"/>
                  </a:lnTo>
                  <a:lnTo>
                    <a:pt x="3231" y="4834"/>
                  </a:lnTo>
                  <a:lnTo>
                    <a:pt x="3196" y="4908"/>
                  </a:lnTo>
                  <a:lnTo>
                    <a:pt x="3187" y="5029"/>
                  </a:lnTo>
                  <a:lnTo>
                    <a:pt x="3099" y="5010"/>
                  </a:lnTo>
                  <a:lnTo>
                    <a:pt x="3040" y="5047"/>
                  </a:lnTo>
                  <a:lnTo>
                    <a:pt x="3072" y="5173"/>
                  </a:lnTo>
                  <a:lnTo>
                    <a:pt x="2970" y="5172"/>
                  </a:lnTo>
                  <a:lnTo>
                    <a:pt x="2919" y="5354"/>
                  </a:lnTo>
                  <a:lnTo>
                    <a:pt x="2871" y="5537"/>
                  </a:lnTo>
                  <a:lnTo>
                    <a:pt x="2753" y="5583"/>
                  </a:lnTo>
                  <a:lnTo>
                    <a:pt x="2669" y="5665"/>
                  </a:lnTo>
                  <a:lnTo>
                    <a:pt x="2511" y="5661"/>
                  </a:lnTo>
                  <a:lnTo>
                    <a:pt x="2151" y="5764"/>
                  </a:lnTo>
                  <a:lnTo>
                    <a:pt x="2067" y="5745"/>
                  </a:lnTo>
                  <a:lnTo>
                    <a:pt x="1987" y="5837"/>
                  </a:lnTo>
                  <a:lnTo>
                    <a:pt x="1905" y="5828"/>
                  </a:lnTo>
                  <a:lnTo>
                    <a:pt x="1811" y="5902"/>
                  </a:lnTo>
                  <a:lnTo>
                    <a:pt x="1690" y="5859"/>
                  </a:lnTo>
                  <a:lnTo>
                    <a:pt x="1641" y="5849"/>
                  </a:lnTo>
                  <a:lnTo>
                    <a:pt x="1590" y="5795"/>
                  </a:lnTo>
                  <a:lnTo>
                    <a:pt x="1470" y="5794"/>
                  </a:lnTo>
                  <a:lnTo>
                    <a:pt x="1407" y="5935"/>
                  </a:lnTo>
                  <a:cubicBezTo>
                    <a:pt x="1406" y="5990"/>
                    <a:pt x="1385" y="6041"/>
                    <a:pt x="1350" y="6074"/>
                  </a:cubicBezTo>
                  <a:cubicBezTo>
                    <a:pt x="1332" y="6091"/>
                    <a:pt x="1312" y="6102"/>
                    <a:pt x="1290" y="6106"/>
                  </a:cubicBezTo>
                  <a:lnTo>
                    <a:pt x="1175" y="6047"/>
                  </a:lnTo>
                  <a:lnTo>
                    <a:pt x="997" y="6040"/>
                  </a:lnTo>
                  <a:lnTo>
                    <a:pt x="1045" y="5956"/>
                  </a:lnTo>
                  <a:lnTo>
                    <a:pt x="1029" y="5810"/>
                  </a:lnTo>
                  <a:lnTo>
                    <a:pt x="856" y="5864"/>
                  </a:lnTo>
                  <a:lnTo>
                    <a:pt x="755" y="5777"/>
                  </a:lnTo>
                  <a:lnTo>
                    <a:pt x="746" y="5908"/>
                  </a:lnTo>
                  <a:lnTo>
                    <a:pt x="681" y="5866"/>
                  </a:lnTo>
                  <a:lnTo>
                    <a:pt x="517" y="5928"/>
                  </a:lnTo>
                  <a:lnTo>
                    <a:pt x="418" y="5891"/>
                  </a:lnTo>
                  <a:lnTo>
                    <a:pt x="393" y="5894"/>
                  </a:lnTo>
                  <a:lnTo>
                    <a:pt x="267" y="6029"/>
                  </a:lnTo>
                  <a:lnTo>
                    <a:pt x="286" y="6141"/>
                  </a:lnTo>
                  <a:lnTo>
                    <a:pt x="231" y="6200"/>
                  </a:lnTo>
                  <a:lnTo>
                    <a:pt x="147" y="6198"/>
                  </a:lnTo>
                  <a:lnTo>
                    <a:pt x="81" y="6240"/>
                  </a:lnTo>
                  <a:lnTo>
                    <a:pt x="100" y="6434"/>
                  </a:lnTo>
                  <a:lnTo>
                    <a:pt x="121" y="6510"/>
                  </a:lnTo>
                  <a:lnTo>
                    <a:pt x="0" y="6573"/>
                  </a:lnTo>
                  <a:lnTo>
                    <a:pt x="92" y="6808"/>
                  </a:lnTo>
                  <a:lnTo>
                    <a:pt x="187" y="6767"/>
                  </a:lnTo>
                  <a:lnTo>
                    <a:pt x="303" y="6845"/>
                  </a:lnTo>
                  <a:lnTo>
                    <a:pt x="410" y="6994"/>
                  </a:lnTo>
                  <a:lnTo>
                    <a:pt x="343" y="7124"/>
                  </a:lnTo>
                  <a:lnTo>
                    <a:pt x="342" y="7278"/>
                  </a:lnTo>
                  <a:lnTo>
                    <a:pt x="328" y="7438"/>
                  </a:lnTo>
                  <a:lnTo>
                    <a:pt x="285" y="7516"/>
                  </a:lnTo>
                  <a:lnTo>
                    <a:pt x="319" y="7698"/>
                  </a:lnTo>
                  <a:lnTo>
                    <a:pt x="269" y="7761"/>
                  </a:lnTo>
                  <a:lnTo>
                    <a:pt x="106" y="7679"/>
                  </a:lnTo>
                  <a:lnTo>
                    <a:pt x="33" y="7678"/>
                  </a:lnTo>
                  <a:lnTo>
                    <a:pt x="46" y="7807"/>
                  </a:lnTo>
                  <a:lnTo>
                    <a:pt x="172" y="7924"/>
                  </a:lnTo>
                  <a:lnTo>
                    <a:pt x="243" y="7938"/>
                  </a:lnTo>
                  <a:cubicBezTo>
                    <a:pt x="288" y="7933"/>
                    <a:pt x="329" y="7968"/>
                    <a:pt x="344" y="8023"/>
                  </a:cubicBezTo>
                  <a:cubicBezTo>
                    <a:pt x="361" y="8085"/>
                    <a:pt x="338" y="8154"/>
                    <a:pt x="291" y="8182"/>
                  </a:cubicBezTo>
                  <a:lnTo>
                    <a:pt x="387" y="8152"/>
                  </a:lnTo>
                  <a:cubicBezTo>
                    <a:pt x="433" y="8186"/>
                    <a:pt x="468" y="8241"/>
                    <a:pt x="484" y="8307"/>
                  </a:cubicBezTo>
                  <a:cubicBezTo>
                    <a:pt x="493" y="8348"/>
                    <a:pt x="495" y="8392"/>
                    <a:pt x="489" y="8434"/>
                  </a:cubicBezTo>
                  <a:lnTo>
                    <a:pt x="401" y="8659"/>
                  </a:lnTo>
                  <a:lnTo>
                    <a:pt x="415" y="8720"/>
                  </a:lnTo>
                  <a:lnTo>
                    <a:pt x="443" y="8853"/>
                  </a:lnTo>
                  <a:lnTo>
                    <a:pt x="563" y="8856"/>
                  </a:lnTo>
                  <a:lnTo>
                    <a:pt x="608" y="9004"/>
                  </a:lnTo>
                  <a:lnTo>
                    <a:pt x="810" y="9231"/>
                  </a:lnTo>
                  <a:lnTo>
                    <a:pt x="1074" y="9356"/>
                  </a:lnTo>
                  <a:lnTo>
                    <a:pt x="1036" y="9476"/>
                  </a:lnTo>
                  <a:lnTo>
                    <a:pt x="1035" y="9732"/>
                  </a:lnTo>
                  <a:lnTo>
                    <a:pt x="1011" y="9853"/>
                  </a:lnTo>
                  <a:lnTo>
                    <a:pt x="1299" y="10204"/>
                  </a:lnTo>
                  <a:lnTo>
                    <a:pt x="1194" y="10291"/>
                  </a:lnTo>
                  <a:lnTo>
                    <a:pt x="1092" y="10305"/>
                  </a:lnTo>
                  <a:lnTo>
                    <a:pt x="1129" y="10475"/>
                  </a:lnTo>
                  <a:lnTo>
                    <a:pt x="1052" y="10582"/>
                  </a:lnTo>
                  <a:lnTo>
                    <a:pt x="1060" y="10716"/>
                  </a:lnTo>
                  <a:lnTo>
                    <a:pt x="1126" y="10904"/>
                  </a:lnTo>
                  <a:lnTo>
                    <a:pt x="1141" y="11249"/>
                  </a:lnTo>
                  <a:cubicBezTo>
                    <a:pt x="1139" y="11283"/>
                    <a:pt x="1127" y="11314"/>
                    <a:pt x="1109" y="11338"/>
                  </a:cubicBezTo>
                  <a:cubicBezTo>
                    <a:pt x="1088" y="11367"/>
                    <a:pt x="1058" y="11384"/>
                    <a:pt x="1027" y="11385"/>
                  </a:cubicBezTo>
                  <a:cubicBezTo>
                    <a:pt x="1024" y="11389"/>
                    <a:pt x="1021" y="11392"/>
                    <a:pt x="1017" y="11395"/>
                  </a:cubicBezTo>
                  <a:cubicBezTo>
                    <a:pt x="988" y="11421"/>
                    <a:pt x="952" y="11429"/>
                    <a:pt x="918" y="11416"/>
                  </a:cubicBezTo>
                  <a:lnTo>
                    <a:pt x="890" y="11327"/>
                  </a:lnTo>
                  <a:lnTo>
                    <a:pt x="916" y="11201"/>
                  </a:lnTo>
                  <a:lnTo>
                    <a:pt x="751" y="11204"/>
                  </a:lnTo>
                  <a:lnTo>
                    <a:pt x="754" y="11348"/>
                  </a:lnTo>
                  <a:lnTo>
                    <a:pt x="731" y="11472"/>
                  </a:lnTo>
                  <a:lnTo>
                    <a:pt x="805" y="11623"/>
                  </a:lnTo>
                  <a:lnTo>
                    <a:pt x="744" y="11693"/>
                  </a:lnTo>
                  <a:lnTo>
                    <a:pt x="790" y="11827"/>
                  </a:lnTo>
                  <a:lnTo>
                    <a:pt x="736" y="11882"/>
                  </a:lnTo>
                  <a:lnTo>
                    <a:pt x="701" y="12002"/>
                  </a:lnTo>
                  <a:cubicBezTo>
                    <a:pt x="729" y="12015"/>
                    <a:pt x="753" y="12041"/>
                    <a:pt x="767" y="12075"/>
                  </a:cubicBezTo>
                  <a:cubicBezTo>
                    <a:pt x="787" y="12124"/>
                    <a:pt x="785" y="12183"/>
                    <a:pt x="763" y="12231"/>
                  </a:cubicBezTo>
                  <a:lnTo>
                    <a:pt x="906" y="12289"/>
                  </a:lnTo>
                  <a:lnTo>
                    <a:pt x="1030" y="12408"/>
                  </a:lnTo>
                  <a:cubicBezTo>
                    <a:pt x="1054" y="12435"/>
                    <a:pt x="1074" y="12469"/>
                    <a:pt x="1088" y="12506"/>
                  </a:cubicBezTo>
                  <a:cubicBezTo>
                    <a:pt x="1105" y="12551"/>
                    <a:pt x="1114" y="12600"/>
                    <a:pt x="1113" y="12651"/>
                  </a:cubicBezTo>
                  <a:cubicBezTo>
                    <a:pt x="1178" y="12693"/>
                    <a:pt x="1238" y="12744"/>
                    <a:pt x="1293" y="12805"/>
                  </a:cubicBezTo>
                  <a:cubicBezTo>
                    <a:pt x="1354" y="12871"/>
                    <a:pt x="1407" y="12946"/>
                    <a:pt x="1452" y="13029"/>
                  </a:cubicBezTo>
                  <a:lnTo>
                    <a:pt x="1482" y="13178"/>
                  </a:lnTo>
                  <a:cubicBezTo>
                    <a:pt x="1512" y="13186"/>
                    <a:pt x="1544" y="13179"/>
                    <a:pt x="1570" y="13157"/>
                  </a:cubicBezTo>
                  <a:cubicBezTo>
                    <a:pt x="1608" y="13126"/>
                    <a:pt x="1629" y="13073"/>
                    <a:pt x="1627" y="13016"/>
                  </a:cubicBezTo>
                  <a:cubicBezTo>
                    <a:pt x="1674" y="13010"/>
                    <a:pt x="1720" y="13017"/>
                    <a:pt x="1764" y="13038"/>
                  </a:cubicBezTo>
                  <a:cubicBezTo>
                    <a:pt x="1822" y="13064"/>
                    <a:pt x="1872" y="13111"/>
                    <a:pt x="1909" y="13174"/>
                  </a:cubicBezTo>
                  <a:lnTo>
                    <a:pt x="1919" y="13333"/>
                  </a:lnTo>
                  <a:lnTo>
                    <a:pt x="2019" y="13462"/>
                  </a:lnTo>
                  <a:lnTo>
                    <a:pt x="2096" y="13635"/>
                  </a:lnTo>
                  <a:lnTo>
                    <a:pt x="2243" y="13752"/>
                  </a:lnTo>
                  <a:lnTo>
                    <a:pt x="2372" y="14074"/>
                  </a:lnTo>
                  <a:lnTo>
                    <a:pt x="2455" y="14040"/>
                  </a:lnTo>
                  <a:cubicBezTo>
                    <a:pt x="2481" y="14025"/>
                    <a:pt x="2510" y="14024"/>
                    <a:pt x="2537" y="14035"/>
                  </a:cubicBezTo>
                  <a:cubicBezTo>
                    <a:pt x="2567" y="14048"/>
                    <a:pt x="2591" y="14077"/>
                    <a:pt x="2604" y="14113"/>
                  </a:cubicBezTo>
                  <a:lnTo>
                    <a:pt x="2586" y="14343"/>
                  </a:lnTo>
                  <a:cubicBezTo>
                    <a:pt x="2621" y="14377"/>
                    <a:pt x="2655" y="14414"/>
                    <a:pt x="2687" y="14454"/>
                  </a:cubicBezTo>
                  <a:cubicBezTo>
                    <a:pt x="2723" y="14499"/>
                    <a:pt x="2756" y="14548"/>
                    <a:pt x="2786" y="14599"/>
                  </a:cubicBezTo>
                  <a:lnTo>
                    <a:pt x="2900" y="14591"/>
                  </a:lnTo>
                  <a:lnTo>
                    <a:pt x="2848" y="14763"/>
                  </a:lnTo>
                  <a:lnTo>
                    <a:pt x="2948" y="14900"/>
                  </a:lnTo>
                  <a:lnTo>
                    <a:pt x="3103" y="14874"/>
                  </a:lnTo>
                  <a:lnTo>
                    <a:pt x="3193" y="15183"/>
                  </a:lnTo>
                  <a:cubicBezTo>
                    <a:pt x="3213" y="15171"/>
                    <a:pt x="3232" y="15156"/>
                    <a:pt x="3250" y="15139"/>
                  </a:cubicBezTo>
                  <a:cubicBezTo>
                    <a:pt x="3274" y="15115"/>
                    <a:pt x="3296" y="15087"/>
                    <a:pt x="3315" y="15055"/>
                  </a:cubicBezTo>
                  <a:cubicBezTo>
                    <a:pt x="3296" y="15093"/>
                    <a:pt x="3295" y="15140"/>
                    <a:pt x="3312" y="15179"/>
                  </a:cubicBezTo>
                  <a:cubicBezTo>
                    <a:pt x="3328" y="15214"/>
                    <a:pt x="3356" y="15236"/>
                    <a:pt x="3388" y="15238"/>
                  </a:cubicBezTo>
                  <a:lnTo>
                    <a:pt x="3442" y="15161"/>
                  </a:lnTo>
                  <a:cubicBezTo>
                    <a:pt x="3481" y="15161"/>
                    <a:pt x="3520" y="15174"/>
                    <a:pt x="3554" y="15200"/>
                  </a:cubicBezTo>
                  <a:cubicBezTo>
                    <a:pt x="3612" y="15243"/>
                    <a:pt x="3652" y="15317"/>
                    <a:pt x="3664" y="15402"/>
                  </a:cubicBezTo>
                  <a:cubicBezTo>
                    <a:pt x="3703" y="15387"/>
                    <a:pt x="3745" y="15388"/>
                    <a:pt x="3784" y="15405"/>
                  </a:cubicBezTo>
                  <a:cubicBezTo>
                    <a:pt x="3819" y="15420"/>
                    <a:pt x="3850" y="15447"/>
                    <a:pt x="3873" y="15484"/>
                  </a:cubicBezTo>
                  <a:lnTo>
                    <a:pt x="3940" y="15394"/>
                  </a:lnTo>
                  <a:lnTo>
                    <a:pt x="4077" y="15485"/>
                  </a:lnTo>
                  <a:lnTo>
                    <a:pt x="4296" y="15380"/>
                  </a:lnTo>
                  <a:cubicBezTo>
                    <a:pt x="4337" y="15370"/>
                    <a:pt x="4379" y="15400"/>
                    <a:pt x="4395" y="15450"/>
                  </a:cubicBezTo>
                  <a:cubicBezTo>
                    <a:pt x="4408" y="15490"/>
                    <a:pt x="4402" y="15537"/>
                    <a:pt x="4379" y="15569"/>
                  </a:cubicBezTo>
                  <a:lnTo>
                    <a:pt x="4315" y="15779"/>
                  </a:lnTo>
                  <a:lnTo>
                    <a:pt x="4370" y="15935"/>
                  </a:lnTo>
                  <a:cubicBezTo>
                    <a:pt x="4385" y="15952"/>
                    <a:pt x="4404" y="15961"/>
                    <a:pt x="4424" y="15961"/>
                  </a:cubicBezTo>
                  <a:cubicBezTo>
                    <a:pt x="4445" y="15960"/>
                    <a:pt x="4465" y="15950"/>
                    <a:pt x="4479" y="15931"/>
                  </a:cubicBezTo>
                  <a:lnTo>
                    <a:pt x="4459" y="15841"/>
                  </a:lnTo>
                  <a:lnTo>
                    <a:pt x="4490" y="15733"/>
                  </a:lnTo>
                  <a:lnTo>
                    <a:pt x="4676" y="15487"/>
                  </a:lnTo>
                  <a:lnTo>
                    <a:pt x="4807" y="15469"/>
                  </a:lnTo>
                  <a:cubicBezTo>
                    <a:pt x="4880" y="15490"/>
                    <a:pt x="4951" y="15521"/>
                    <a:pt x="5018" y="15561"/>
                  </a:cubicBezTo>
                  <a:cubicBezTo>
                    <a:pt x="5071" y="15593"/>
                    <a:pt x="5121" y="15630"/>
                    <a:pt x="5169" y="15672"/>
                  </a:cubicBezTo>
                  <a:lnTo>
                    <a:pt x="5301" y="15811"/>
                  </a:lnTo>
                  <a:lnTo>
                    <a:pt x="5468" y="15737"/>
                  </a:lnTo>
                  <a:lnTo>
                    <a:pt x="5559" y="15916"/>
                  </a:lnTo>
                  <a:lnTo>
                    <a:pt x="5548" y="16102"/>
                  </a:lnTo>
                  <a:lnTo>
                    <a:pt x="5681" y="16152"/>
                  </a:lnTo>
                  <a:lnTo>
                    <a:pt x="5722" y="16283"/>
                  </a:lnTo>
                  <a:lnTo>
                    <a:pt x="5657" y="16374"/>
                  </a:lnTo>
                  <a:lnTo>
                    <a:pt x="5689" y="16550"/>
                  </a:lnTo>
                  <a:lnTo>
                    <a:pt x="5896" y="16555"/>
                  </a:lnTo>
                  <a:lnTo>
                    <a:pt x="6088" y="16646"/>
                  </a:lnTo>
                  <a:lnTo>
                    <a:pt x="6408" y="16639"/>
                  </a:lnTo>
                  <a:lnTo>
                    <a:pt x="6462" y="16511"/>
                  </a:lnTo>
                  <a:lnTo>
                    <a:pt x="6632" y="16323"/>
                  </a:lnTo>
                  <a:lnTo>
                    <a:pt x="6771" y="16299"/>
                  </a:lnTo>
                  <a:lnTo>
                    <a:pt x="7092" y="16164"/>
                  </a:lnTo>
                  <a:lnTo>
                    <a:pt x="7154" y="16060"/>
                  </a:lnTo>
                  <a:lnTo>
                    <a:pt x="7303" y="15970"/>
                  </a:lnTo>
                  <a:cubicBezTo>
                    <a:pt x="7346" y="16005"/>
                    <a:pt x="7395" y="16027"/>
                    <a:pt x="7445" y="16034"/>
                  </a:cubicBezTo>
                  <a:cubicBezTo>
                    <a:pt x="7481" y="16039"/>
                    <a:pt x="7518" y="16037"/>
                    <a:pt x="7554" y="16027"/>
                  </a:cubicBezTo>
                  <a:lnTo>
                    <a:pt x="7549" y="16152"/>
                  </a:lnTo>
                  <a:cubicBezTo>
                    <a:pt x="7599" y="16151"/>
                    <a:pt x="7649" y="16167"/>
                    <a:pt x="7692" y="16200"/>
                  </a:cubicBezTo>
                  <a:cubicBezTo>
                    <a:pt x="7724" y="16224"/>
                    <a:pt x="7752" y="16257"/>
                    <a:pt x="7775" y="16296"/>
                  </a:cubicBezTo>
                  <a:lnTo>
                    <a:pt x="7880" y="16405"/>
                  </a:lnTo>
                  <a:lnTo>
                    <a:pt x="8002" y="16333"/>
                  </a:lnTo>
                  <a:lnTo>
                    <a:pt x="8000" y="16187"/>
                  </a:lnTo>
                  <a:lnTo>
                    <a:pt x="7991" y="16127"/>
                  </a:lnTo>
                  <a:lnTo>
                    <a:pt x="8074" y="16078"/>
                  </a:lnTo>
                  <a:lnTo>
                    <a:pt x="8087" y="15962"/>
                  </a:lnTo>
                  <a:cubicBezTo>
                    <a:pt x="8121" y="15936"/>
                    <a:pt x="8166" y="15948"/>
                    <a:pt x="8189" y="15989"/>
                  </a:cubicBezTo>
                  <a:cubicBezTo>
                    <a:pt x="8206" y="16018"/>
                    <a:pt x="8208" y="16057"/>
                    <a:pt x="8196" y="16089"/>
                  </a:cubicBezTo>
                  <a:cubicBezTo>
                    <a:pt x="8221" y="16082"/>
                    <a:pt x="8247" y="16086"/>
                    <a:pt x="8271" y="16100"/>
                  </a:cubicBezTo>
                  <a:cubicBezTo>
                    <a:pt x="8315" y="16127"/>
                    <a:pt x="8343" y="16186"/>
                    <a:pt x="8340" y="16250"/>
                  </a:cubicBezTo>
                  <a:lnTo>
                    <a:pt x="8358" y="16371"/>
                  </a:lnTo>
                  <a:lnTo>
                    <a:pt x="8391" y="16672"/>
                  </a:lnTo>
                  <a:lnTo>
                    <a:pt x="8459" y="16588"/>
                  </a:lnTo>
                  <a:cubicBezTo>
                    <a:pt x="8486" y="16564"/>
                    <a:pt x="8523" y="16573"/>
                    <a:pt x="8542" y="16609"/>
                  </a:cubicBezTo>
                  <a:cubicBezTo>
                    <a:pt x="8555" y="16634"/>
                    <a:pt x="8555" y="16666"/>
                    <a:pt x="8542" y="16691"/>
                  </a:cubicBezTo>
                  <a:lnTo>
                    <a:pt x="8540" y="16874"/>
                  </a:lnTo>
                  <a:cubicBezTo>
                    <a:pt x="8557" y="16964"/>
                    <a:pt x="8561" y="17058"/>
                    <a:pt x="8551" y="17150"/>
                  </a:cubicBezTo>
                  <a:cubicBezTo>
                    <a:pt x="8543" y="17229"/>
                    <a:pt x="8526" y="17306"/>
                    <a:pt x="8499" y="17378"/>
                  </a:cubicBezTo>
                  <a:lnTo>
                    <a:pt x="8464" y="17543"/>
                  </a:lnTo>
                  <a:lnTo>
                    <a:pt x="8406" y="17535"/>
                  </a:lnTo>
                  <a:cubicBezTo>
                    <a:pt x="8404" y="17574"/>
                    <a:pt x="8417" y="17612"/>
                    <a:pt x="8441" y="17638"/>
                  </a:cubicBezTo>
                  <a:cubicBezTo>
                    <a:pt x="8454" y="17652"/>
                    <a:pt x="8470" y="17663"/>
                    <a:pt x="8476" y="17684"/>
                  </a:cubicBezTo>
                  <a:cubicBezTo>
                    <a:pt x="8484" y="17715"/>
                    <a:pt x="8465" y="17748"/>
                    <a:pt x="8439" y="17747"/>
                  </a:cubicBezTo>
                  <a:lnTo>
                    <a:pt x="8364" y="17731"/>
                  </a:lnTo>
                  <a:lnTo>
                    <a:pt x="8283" y="17877"/>
                  </a:lnTo>
                  <a:lnTo>
                    <a:pt x="8203" y="17855"/>
                  </a:lnTo>
                  <a:lnTo>
                    <a:pt x="8170" y="17950"/>
                  </a:lnTo>
                  <a:lnTo>
                    <a:pt x="8081" y="18073"/>
                  </a:lnTo>
                  <a:lnTo>
                    <a:pt x="8037" y="18060"/>
                  </a:lnTo>
                  <a:lnTo>
                    <a:pt x="7989" y="18218"/>
                  </a:lnTo>
                  <a:lnTo>
                    <a:pt x="7918" y="18347"/>
                  </a:lnTo>
                  <a:lnTo>
                    <a:pt x="7876" y="18410"/>
                  </a:lnTo>
                  <a:lnTo>
                    <a:pt x="7856" y="18554"/>
                  </a:lnTo>
                  <a:cubicBezTo>
                    <a:pt x="7891" y="18545"/>
                    <a:pt x="7926" y="18563"/>
                    <a:pt x="7946" y="18600"/>
                  </a:cubicBezTo>
                  <a:cubicBezTo>
                    <a:pt x="7966" y="18636"/>
                    <a:pt x="7967" y="18684"/>
                    <a:pt x="7950" y="18722"/>
                  </a:cubicBezTo>
                  <a:lnTo>
                    <a:pt x="7859" y="18886"/>
                  </a:lnTo>
                  <a:lnTo>
                    <a:pt x="8016" y="18862"/>
                  </a:lnTo>
                  <a:lnTo>
                    <a:pt x="8158" y="18833"/>
                  </a:lnTo>
                  <a:lnTo>
                    <a:pt x="8297" y="18864"/>
                  </a:lnTo>
                  <a:lnTo>
                    <a:pt x="8450" y="18851"/>
                  </a:lnTo>
                  <a:lnTo>
                    <a:pt x="8330" y="18992"/>
                  </a:lnTo>
                  <a:lnTo>
                    <a:pt x="8398" y="19119"/>
                  </a:lnTo>
                  <a:cubicBezTo>
                    <a:pt x="8433" y="19169"/>
                    <a:pt x="8450" y="19237"/>
                    <a:pt x="8444" y="19304"/>
                  </a:cubicBezTo>
                  <a:cubicBezTo>
                    <a:pt x="8441" y="19344"/>
                    <a:pt x="8429" y="19382"/>
                    <a:pt x="8411" y="19415"/>
                  </a:cubicBezTo>
                  <a:lnTo>
                    <a:pt x="8510" y="19516"/>
                  </a:lnTo>
                  <a:lnTo>
                    <a:pt x="8687" y="19534"/>
                  </a:lnTo>
                  <a:lnTo>
                    <a:pt x="8683" y="19653"/>
                  </a:lnTo>
                  <a:lnTo>
                    <a:pt x="8562" y="19736"/>
                  </a:lnTo>
                  <a:lnTo>
                    <a:pt x="8579" y="19884"/>
                  </a:lnTo>
                  <a:lnTo>
                    <a:pt x="8454" y="20063"/>
                  </a:lnTo>
                  <a:lnTo>
                    <a:pt x="8650" y="20166"/>
                  </a:lnTo>
                  <a:lnTo>
                    <a:pt x="8841" y="20219"/>
                  </a:lnTo>
                  <a:lnTo>
                    <a:pt x="8792" y="20340"/>
                  </a:lnTo>
                  <a:lnTo>
                    <a:pt x="8829" y="20474"/>
                  </a:lnTo>
                  <a:cubicBezTo>
                    <a:pt x="8853" y="20481"/>
                    <a:pt x="8874" y="20498"/>
                    <a:pt x="8889" y="20523"/>
                  </a:cubicBezTo>
                  <a:cubicBezTo>
                    <a:pt x="8904" y="20548"/>
                    <a:pt x="8912" y="20578"/>
                    <a:pt x="8911" y="20609"/>
                  </a:cubicBezTo>
                  <a:lnTo>
                    <a:pt x="9006" y="20567"/>
                  </a:lnTo>
                  <a:lnTo>
                    <a:pt x="9116" y="20647"/>
                  </a:lnTo>
                  <a:lnTo>
                    <a:pt x="9219" y="20502"/>
                  </a:lnTo>
                  <a:lnTo>
                    <a:pt x="9383" y="20469"/>
                  </a:lnTo>
                  <a:lnTo>
                    <a:pt x="9357" y="20664"/>
                  </a:lnTo>
                  <a:lnTo>
                    <a:pt x="9388" y="20829"/>
                  </a:lnTo>
                  <a:lnTo>
                    <a:pt x="9513" y="20817"/>
                  </a:lnTo>
                  <a:lnTo>
                    <a:pt x="9614" y="20871"/>
                  </a:lnTo>
                  <a:lnTo>
                    <a:pt x="9663" y="20789"/>
                  </a:lnTo>
                  <a:lnTo>
                    <a:pt x="9610" y="20728"/>
                  </a:lnTo>
                  <a:lnTo>
                    <a:pt x="9618" y="20620"/>
                  </a:lnTo>
                  <a:lnTo>
                    <a:pt x="9668" y="20552"/>
                  </a:lnTo>
                  <a:lnTo>
                    <a:pt x="9645" y="20429"/>
                  </a:lnTo>
                  <a:lnTo>
                    <a:pt x="9578" y="20318"/>
                  </a:lnTo>
                  <a:lnTo>
                    <a:pt x="9586" y="20182"/>
                  </a:lnTo>
                  <a:lnTo>
                    <a:pt x="9644" y="20006"/>
                  </a:lnTo>
                  <a:lnTo>
                    <a:pt x="9734" y="20103"/>
                  </a:lnTo>
                  <a:cubicBezTo>
                    <a:pt x="9746" y="20070"/>
                    <a:pt x="9770" y="20048"/>
                    <a:pt x="9797" y="20042"/>
                  </a:cubicBezTo>
                  <a:cubicBezTo>
                    <a:pt x="9830" y="20036"/>
                    <a:pt x="9863" y="20054"/>
                    <a:pt x="9882" y="20089"/>
                  </a:cubicBezTo>
                  <a:lnTo>
                    <a:pt x="10028" y="19854"/>
                  </a:lnTo>
                  <a:lnTo>
                    <a:pt x="10159" y="20015"/>
                  </a:lnTo>
                  <a:lnTo>
                    <a:pt x="10251" y="20134"/>
                  </a:lnTo>
                  <a:lnTo>
                    <a:pt x="10401" y="19898"/>
                  </a:lnTo>
                  <a:lnTo>
                    <a:pt x="10456" y="20056"/>
                  </a:lnTo>
                  <a:lnTo>
                    <a:pt x="10540" y="19927"/>
                  </a:lnTo>
                  <a:lnTo>
                    <a:pt x="10686" y="20168"/>
                  </a:lnTo>
                  <a:lnTo>
                    <a:pt x="10725" y="19939"/>
                  </a:lnTo>
                  <a:lnTo>
                    <a:pt x="10803" y="19897"/>
                  </a:lnTo>
                  <a:lnTo>
                    <a:pt x="10852" y="20022"/>
                  </a:lnTo>
                  <a:lnTo>
                    <a:pt x="10957" y="19934"/>
                  </a:lnTo>
                  <a:lnTo>
                    <a:pt x="11105" y="19865"/>
                  </a:lnTo>
                  <a:lnTo>
                    <a:pt x="11071" y="19769"/>
                  </a:lnTo>
                  <a:lnTo>
                    <a:pt x="11317" y="19608"/>
                  </a:lnTo>
                  <a:cubicBezTo>
                    <a:pt x="11349" y="19620"/>
                    <a:pt x="11377" y="19647"/>
                    <a:pt x="11396" y="19682"/>
                  </a:cubicBezTo>
                  <a:cubicBezTo>
                    <a:pt x="11417" y="19722"/>
                    <a:pt x="11425" y="19770"/>
                    <a:pt x="11420" y="19818"/>
                  </a:cubicBezTo>
                  <a:cubicBezTo>
                    <a:pt x="11446" y="19810"/>
                    <a:pt x="11474" y="19812"/>
                    <a:pt x="11499" y="19825"/>
                  </a:cubicBezTo>
                  <a:cubicBezTo>
                    <a:pt x="11530" y="19840"/>
                    <a:pt x="11555" y="19870"/>
                    <a:pt x="11569" y="19909"/>
                  </a:cubicBezTo>
                  <a:lnTo>
                    <a:pt x="11636" y="19854"/>
                  </a:lnTo>
                  <a:lnTo>
                    <a:pt x="11772" y="19961"/>
                  </a:lnTo>
                  <a:lnTo>
                    <a:pt x="11855" y="19900"/>
                  </a:lnTo>
                  <a:lnTo>
                    <a:pt x="11977" y="20013"/>
                  </a:lnTo>
                  <a:lnTo>
                    <a:pt x="11869" y="20143"/>
                  </a:lnTo>
                  <a:lnTo>
                    <a:pt x="11865" y="20261"/>
                  </a:lnTo>
                  <a:cubicBezTo>
                    <a:pt x="11889" y="20278"/>
                    <a:pt x="11908" y="20302"/>
                    <a:pt x="11922" y="20333"/>
                  </a:cubicBezTo>
                  <a:cubicBezTo>
                    <a:pt x="11947" y="20388"/>
                    <a:pt x="11949" y="20455"/>
                    <a:pt x="11929" y="20512"/>
                  </a:cubicBezTo>
                  <a:lnTo>
                    <a:pt x="12072" y="20568"/>
                  </a:lnTo>
                  <a:lnTo>
                    <a:pt x="12149" y="20671"/>
                  </a:lnTo>
                  <a:lnTo>
                    <a:pt x="12292" y="20762"/>
                  </a:lnTo>
                  <a:lnTo>
                    <a:pt x="12451" y="20735"/>
                  </a:lnTo>
                  <a:lnTo>
                    <a:pt x="12577" y="20796"/>
                  </a:lnTo>
                  <a:close/>
                </a:path>
              </a:pathLst>
            </a:custGeom>
            <a:solidFill>
              <a:schemeClr val="accent2">
                <a:lumMod val="40000"/>
                <a:lumOff val="60000"/>
              </a:schemeClr>
            </a:solidFill>
            <a:ln w="12700">
              <a:solidFill>
                <a:srgbClr val="FFFFFF"/>
              </a:solidFill>
              <a:miter lim="400000"/>
            </a:ln>
          </p:spPr>
          <p:txBody>
            <a:bodyPr lIns="0" tIns="0" rIns="0" bIns="0" anchor="ctr"/>
            <a:lstStyle/>
            <a:p>
              <a:pPr>
                <a:defRPr sz="2400" b="0">
                  <a:solidFill>
                    <a:srgbClr val="FFFFFF"/>
                  </a:solidFill>
                  <a:latin typeface="+mn-lt"/>
                  <a:ea typeface="+mn-ea"/>
                  <a:cs typeface="+mn-cs"/>
                  <a:sym typeface="Helvetica Neue Medium"/>
                </a:defRPr>
              </a:pPr>
              <a:endParaRPr/>
            </a:p>
          </p:txBody>
        </p:sp>
        <p:sp>
          <p:nvSpPr>
            <p:cNvPr id="512" name="线条"/>
            <p:cNvSpPr/>
            <p:nvPr/>
          </p:nvSpPr>
          <p:spPr>
            <a:xfrm>
              <a:off x="6911008" y="2141745"/>
              <a:ext cx="1036825" cy="1143664"/>
            </a:xfrm>
            <a:custGeom>
              <a:avLst/>
              <a:gdLst/>
              <a:ahLst/>
              <a:cxnLst>
                <a:cxn ang="0">
                  <a:pos x="wd2" y="hd2"/>
                </a:cxn>
                <a:cxn ang="5400000">
                  <a:pos x="wd2" y="hd2"/>
                </a:cxn>
                <a:cxn ang="10800000">
                  <a:pos x="wd2" y="hd2"/>
                </a:cxn>
                <a:cxn ang="16200000">
                  <a:pos x="wd2" y="hd2"/>
                </a:cxn>
              </a:cxnLst>
              <a:rect l="0" t="0" r="r" b="b"/>
              <a:pathLst>
                <a:path w="21600" h="21600" extrusionOk="0">
                  <a:moveTo>
                    <a:pt x="341" y="0"/>
                  </a:moveTo>
                  <a:cubicBezTo>
                    <a:pt x="489" y="251"/>
                    <a:pt x="557" y="535"/>
                    <a:pt x="536" y="819"/>
                  </a:cubicBezTo>
                  <a:cubicBezTo>
                    <a:pt x="508" y="1211"/>
                    <a:pt x="316" y="1579"/>
                    <a:pt x="0" y="1847"/>
                  </a:cubicBezTo>
                  <a:lnTo>
                    <a:pt x="700" y="2189"/>
                  </a:lnTo>
                  <a:lnTo>
                    <a:pt x="1304" y="2401"/>
                  </a:lnTo>
                  <a:lnTo>
                    <a:pt x="1618" y="1771"/>
                  </a:lnTo>
                  <a:lnTo>
                    <a:pt x="2202" y="2203"/>
                  </a:lnTo>
                  <a:lnTo>
                    <a:pt x="2796" y="2371"/>
                  </a:lnTo>
                  <a:lnTo>
                    <a:pt x="2536" y="2720"/>
                  </a:lnTo>
                  <a:lnTo>
                    <a:pt x="3168" y="4307"/>
                  </a:lnTo>
                  <a:lnTo>
                    <a:pt x="4111" y="4512"/>
                  </a:lnTo>
                  <a:lnTo>
                    <a:pt x="4664" y="4209"/>
                  </a:lnTo>
                  <a:lnTo>
                    <a:pt x="6217" y="4014"/>
                  </a:lnTo>
                  <a:lnTo>
                    <a:pt x="6777" y="3235"/>
                  </a:lnTo>
                  <a:lnTo>
                    <a:pt x="7412" y="3331"/>
                  </a:lnTo>
                  <a:lnTo>
                    <a:pt x="8881" y="4736"/>
                  </a:lnTo>
                  <a:lnTo>
                    <a:pt x="8426" y="5189"/>
                  </a:lnTo>
                  <a:lnTo>
                    <a:pt x="8480" y="5731"/>
                  </a:lnTo>
                  <a:lnTo>
                    <a:pt x="8123" y="6061"/>
                  </a:lnTo>
                  <a:lnTo>
                    <a:pt x="7762" y="6975"/>
                  </a:lnTo>
                  <a:lnTo>
                    <a:pt x="7754" y="7946"/>
                  </a:lnTo>
                  <a:lnTo>
                    <a:pt x="8001" y="8587"/>
                  </a:lnTo>
                  <a:lnTo>
                    <a:pt x="7868" y="9249"/>
                  </a:lnTo>
                  <a:lnTo>
                    <a:pt x="7505" y="9278"/>
                  </a:lnTo>
                  <a:lnTo>
                    <a:pt x="7130" y="10157"/>
                  </a:lnTo>
                  <a:lnTo>
                    <a:pt x="7115" y="11098"/>
                  </a:lnTo>
                  <a:lnTo>
                    <a:pt x="7318" y="11513"/>
                  </a:lnTo>
                  <a:lnTo>
                    <a:pt x="7170" y="11847"/>
                  </a:lnTo>
                  <a:lnTo>
                    <a:pt x="6571" y="10942"/>
                  </a:lnTo>
                  <a:lnTo>
                    <a:pt x="6257" y="11086"/>
                  </a:lnTo>
                  <a:lnTo>
                    <a:pt x="5473" y="12073"/>
                  </a:lnTo>
                  <a:lnTo>
                    <a:pt x="5062" y="12463"/>
                  </a:lnTo>
                  <a:lnTo>
                    <a:pt x="5011" y="12850"/>
                  </a:lnTo>
                  <a:lnTo>
                    <a:pt x="4476" y="13107"/>
                  </a:lnTo>
                  <a:lnTo>
                    <a:pt x="4010" y="13522"/>
                  </a:lnTo>
                  <a:lnTo>
                    <a:pt x="3721" y="14073"/>
                  </a:lnTo>
                  <a:lnTo>
                    <a:pt x="4081" y="14606"/>
                  </a:lnTo>
                  <a:lnTo>
                    <a:pt x="4785" y="15262"/>
                  </a:lnTo>
                  <a:lnTo>
                    <a:pt x="5402" y="15270"/>
                  </a:lnTo>
                  <a:lnTo>
                    <a:pt x="5891" y="14756"/>
                  </a:lnTo>
                  <a:lnTo>
                    <a:pt x="6181" y="15300"/>
                  </a:lnTo>
                  <a:lnTo>
                    <a:pt x="5203" y="15808"/>
                  </a:lnTo>
                  <a:lnTo>
                    <a:pt x="4957" y="16107"/>
                  </a:lnTo>
                  <a:lnTo>
                    <a:pt x="5444" y="16693"/>
                  </a:lnTo>
                  <a:lnTo>
                    <a:pt x="7052" y="16399"/>
                  </a:lnTo>
                  <a:lnTo>
                    <a:pt x="7265" y="16906"/>
                  </a:lnTo>
                  <a:lnTo>
                    <a:pt x="7310" y="17744"/>
                  </a:lnTo>
                  <a:lnTo>
                    <a:pt x="8260" y="18267"/>
                  </a:lnTo>
                  <a:lnTo>
                    <a:pt x="9228" y="18044"/>
                  </a:lnTo>
                  <a:lnTo>
                    <a:pt x="9791" y="18263"/>
                  </a:lnTo>
                  <a:cubicBezTo>
                    <a:pt x="9931" y="18186"/>
                    <a:pt x="10072" y="18110"/>
                    <a:pt x="10212" y="18033"/>
                  </a:cubicBezTo>
                  <a:cubicBezTo>
                    <a:pt x="10353" y="17956"/>
                    <a:pt x="10493" y="17879"/>
                    <a:pt x="10634" y="17803"/>
                  </a:cubicBezTo>
                  <a:lnTo>
                    <a:pt x="10660" y="18365"/>
                  </a:lnTo>
                  <a:lnTo>
                    <a:pt x="11417" y="18564"/>
                  </a:lnTo>
                  <a:lnTo>
                    <a:pt x="12303" y="18231"/>
                  </a:lnTo>
                  <a:lnTo>
                    <a:pt x="13279" y="18484"/>
                  </a:lnTo>
                  <a:lnTo>
                    <a:pt x="13182" y="19065"/>
                  </a:lnTo>
                  <a:lnTo>
                    <a:pt x="13335" y="19519"/>
                  </a:lnTo>
                  <a:lnTo>
                    <a:pt x="13942" y="19343"/>
                  </a:lnTo>
                  <a:lnTo>
                    <a:pt x="14664" y="20415"/>
                  </a:lnTo>
                  <a:lnTo>
                    <a:pt x="15293" y="20550"/>
                  </a:lnTo>
                  <a:lnTo>
                    <a:pt x="15655" y="19761"/>
                  </a:lnTo>
                  <a:lnTo>
                    <a:pt x="16046" y="19392"/>
                  </a:lnTo>
                  <a:lnTo>
                    <a:pt x="16354" y="20388"/>
                  </a:lnTo>
                  <a:lnTo>
                    <a:pt x="17299" y="21600"/>
                  </a:lnTo>
                  <a:lnTo>
                    <a:pt x="17974" y="21390"/>
                  </a:lnTo>
                  <a:lnTo>
                    <a:pt x="17986" y="20947"/>
                  </a:lnTo>
                  <a:lnTo>
                    <a:pt x="18776" y="20415"/>
                  </a:lnTo>
                  <a:lnTo>
                    <a:pt x="18975" y="19976"/>
                  </a:lnTo>
                  <a:lnTo>
                    <a:pt x="19436" y="20434"/>
                  </a:lnTo>
                  <a:lnTo>
                    <a:pt x="19794" y="19922"/>
                  </a:lnTo>
                  <a:lnTo>
                    <a:pt x="20110" y="20506"/>
                  </a:lnTo>
                  <a:lnTo>
                    <a:pt x="21198" y="21153"/>
                  </a:lnTo>
                  <a:lnTo>
                    <a:pt x="21600" y="21069"/>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13" name="线条"/>
            <p:cNvSpPr/>
            <p:nvPr/>
          </p:nvSpPr>
          <p:spPr>
            <a:xfrm>
              <a:off x="7046693" y="3026301"/>
              <a:ext cx="461672" cy="672808"/>
            </a:xfrm>
            <a:custGeom>
              <a:avLst/>
              <a:gdLst/>
              <a:ahLst/>
              <a:cxnLst>
                <a:cxn ang="0">
                  <a:pos x="wd2" y="hd2"/>
                </a:cxn>
                <a:cxn ang="5400000">
                  <a:pos x="wd2" y="hd2"/>
                </a:cxn>
                <a:cxn ang="10800000">
                  <a:pos x="wd2" y="hd2"/>
                </a:cxn>
                <a:cxn ang="16200000">
                  <a:pos x="wd2" y="hd2"/>
                </a:cxn>
              </a:cxnLst>
              <a:rect l="0" t="0" r="r" b="b"/>
              <a:pathLst>
                <a:path w="21600" h="21600" extrusionOk="0">
                  <a:moveTo>
                    <a:pt x="5643" y="0"/>
                  </a:moveTo>
                  <a:lnTo>
                    <a:pt x="4794" y="634"/>
                  </a:lnTo>
                  <a:lnTo>
                    <a:pt x="4218" y="1139"/>
                  </a:lnTo>
                  <a:lnTo>
                    <a:pt x="4686" y="2345"/>
                  </a:lnTo>
                  <a:lnTo>
                    <a:pt x="3233" y="1670"/>
                  </a:lnTo>
                  <a:lnTo>
                    <a:pt x="2267" y="1981"/>
                  </a:lnTo>
                  <a:lnTo>
                    <a:pt x="561" y="1177"/>
                  </a:lnTo>
                  <a:lnTo>
                    <a:pt x="0" y="2518"/>
                  </a:lnTo>
                  <a:lnTo>
                    <a:pt x="1238" y="2782"/>
                  </a:lnTo>
                  <a:lnTo>
                    <a:pt x="2422" y="4274"/>
                  </a:lnTo>
                  <a:lnTo>
                    <a:pt x="2353" y="5542"/>
                  </a:lnTo>
                  <a:lnTo>
                    <a:pt x="2533" y="6731"/>
                  </a:lnTo>
                  <a:lnTo>
                    <a:pt x="3785" y="8554"/>
                  </a:lnTo>
                  <a:lnTo>
                    <a:pt x="5240" y="8216"/>
                  </a:lnTo>
                  <a:lnTo>
                    <a:pt x="6636" y="7081"/>
                  </a:lnTo>
                  <a:lnTo>
                    <a:pt x="8059" y="8138"/>
                  </a:lnTo>
                  <a:lnTo>
                    <a:pt x="8594" y="9181"/>
                  </a:lnTo>
                  <a:lnTo>
                    <a:pt x="9520" y="10572"/>
                  </a:lnTo>
                  <a:lnTo>
                    <a:pt x="8874" y="11062"/>
                  </a:lnTo>
                  <a:lnTo>
                    <a:pt x="10594" y="11835"/>
                  </a:lnTo>
                  <a:lnTo>
                    <a:pt x="11076" y="11209"/>
                  </a:lnTo>
                  <a:lnTo>
                    <a:pt x="12252" y="11850"/>
                  </a:lnTo>
                  <a:lnTo>
                    <a:pt x="13752" y="12177"/>
                  </a:lnTo>
                  <a:lnTo>
                    <a:pt x="14116" y="13472"/>
                  </a:lnTo>
                  <a:cubicBezTo>
                    <a:pt x="14405" y="13235"/>
                    <a:pt x="14694" y="12998"/>
                    <a:pt x="14983" y="12761"/>
                  </a:cubicBezTo>
                  <a:cubicBezTo>
                    <a:pt x="15273" y="12524"/>
                    <a:pt x="15562" y="12287"/>
                    <a:pt x="15851" y="12050"/>
                  </a:cubicBezTo>
                  <a:lnTo>
                    <a:pt x="16318" y="13523"/>
                  </a:lnTo>
                  <a:lnTo>
                    <a:pt x="18591" y="15867"/>
                  </a:lnTo>
                  <a:lnTo>
                    <a:pt x="19670" y="16313"/>
                  </a:lnTo>
                  <a:lnTo>
                    <a:pt x="18845" y="16935"/>
                  </a:lnTo>
                  <a:lnTo>
                    <a:pt x="19094" y="17847"/>
                  </a:lnTo>
                  <a:lnTo>
                    <a:pt x="21536" y="20139"/>
                  </a:lnTo>
                  <a:lnTo>
                    <a:pt x="20937" y="21252"/>
                  </a:lnTo>
                  <a:lnTo>
                    <a:pt x="21600" y="21600"/>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14" name="线条"/>
            <p:cNvSpPr/>
            <p:nvPr/>
          </p:nvSpPr>
          <p:spPr>
            <a:xfrm>
              <a:off x="6848528" y="3398890"/>
              <a:ext cx="424283" cy="472909"/>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487" y="1482"/>
                  </a:lnTo>
                  <a:lnTo>
                    <a:pt x="20511" y="1796"/>
                  </a:lnTo>
                  <a:lnTo>
                    <a:pt x="19524" y="2682"/>
                  </a:lnTo>
                  <a:lnTo>
                    <a:pt x="18193" y="3735"/>
                  </a:lnTo>
                  <a:lnTo>
                    <a:pt x="15847" y="3281"/>
                  </a:lnTo>
                  <a:lnTo>
                    <a:pt x="15829" y="4437"/>
                  </a:lnTo>
                  <a:lnTo>
                    <a:pt x="14259" y="4462"/>
                  </a:lnTo>
                  <a:lnTo>
                    <a:pt x="12831" y="6232"/>
                  </a:lnTo>
                  <a:lnTo>
                    <a:pt x="11772" y="5943"/>
                  </a:lnTo>
                  <a:lnTo>
                    <a:pt x="9780" y="7593"/>
                  </a:lnTo>
                  <a:lnTo>
                    <a:pt x="7819" y="8040"/>
                  </a:lnTo>
                  <a:lnTo>
                    <a:pt x="7101" y="9174"/>
                  </a:lnTo>
                  <a:lnTo>
                    <a:pt x="5626" y="11170"/>
                  </a:lnTo>
                  <a:lnTo>
                    <a:pt x="4545" y="9451"/>
                  </a:lnTo>
                  <a:lnTo>
                    <a:pt x="3903" y="8364"/>
                  </a:lnTo>
                  <a:lnTo>
                    <a:pt x="2838" y="7720"/>
                  </a:lnTo>
                  <a:lnTo>
                    <a:pt x="1612" y="8563"/>
                  </a:lnTo>
                  <a:lnTo>
                    <a:pt x="2085" y="9699"/>
                  </a:lnTo>
                  <a:lnTo>
                    <a:pt x="2133" y="12147"/>
                  </a:lnTo>
                  <a:lnTo>
                    <a:pt x="2372" y="13221"/>
                  </a:lnTo>
                  <a:lnTo>
                    <a:pt x="952" y="15524"/>
                  </a:lnTo>
                  <a:lnTo>
                    <a:pt x="0" y="17122"/>
                  </a:lnTo>
                  <a:lnTo>
                    <a:pt x="1544" y="17972"/>
                  </a:lnTo>
                  <a:lnTo>
                    <a:pt x="2721" y="18811"/>
                  </a:lnTo>
                  <a:lnTo>
                    <a:pt x="4346" y="18860"/>
                  </a:lnTo>
                  <a:lnTo>
                    <a:pt x="4376" y="19778"/>
                  </a:lnTo>
                  <a:lnTo>
                    <a:pt x="5296" y="21600"/>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15" name="线条"/>
            <p:cNvSpPr/>
            <p:nvPr/>
          </p:nvSpPr>
          <p:spPr>
            <a:xfrm>
              <a:off x="6350503" y="3549806"/>
              <a:ext cx="530963" cy="879441"/>
            </a:xfrm>
            <a:custGeom>
              <a:avLst/>
              <a:gdLst/>
              <a:ahLst/>
              <a:cxnLst>
                <a:cxn ang="0">
                  <a:pos x="wd2" y="hd2"/>
                </a:cxn>
                <a:cxn ang="5400000">
                  <a:pos x="wd2" y="hd2"/>
                </a:cxn>
                <a:cxn ang="10800000">
                  <a:pos x="wd2" y="hd2"/>
                </a:cxn>
                <a:cxn ang="16200000">
                  <a:pos x="wd2" y="hd2"/>
                </a:cxn>
              </a:cxnLst>
              <a:rect l="0" t="0" r="r" b="b"/>
              <a:pathLst>
                <a:path w="21600" h="21600" extrusionOk="0">
                  <a:moveTo>
                    <a:pt x="21600" y="4022"/>
                  </a:moveTo>
                  <a:lnTo>
                    <a:pt x="20786" y="4037"/>
                  </a:lnTo>
                  <a:lnTo>
                    <a:pt x="20227" y="3911"/>
                  </a:lnTo>
                  <a:lnTo>
                    <a:pt x="18168" y="4063"/>
                  </a:lnTo>
                  <a:lnTo>
                    <a:pt x="17900" y="3626"/>
                  </a:lnTo>
                  <a:lnTo>
                    <a:pt x="17469" y="2695"/>
                  </a:lnTo>
                  <a:lnTo>
                    <a:pt x="17992" y="2356"/>
                  </a:lnTo>
                  <a:lnTo>
                    <a:pt x="17674" y="1740"/>
                  </a:lnTo>
                  <a:lnTo>
                    <a:pt x="17291" y="1630"/>
                  </a:lnTo>
                  <a:lnTo>
                    <a:pt x="16501" y="1166"/>
                  </a:lnTo>
                  <a:lnTo>
                    <a:pt x="16504" y="790"/>
                  </a:lnTo>
                  <a:lnTo>
                    <a:pt x="15817" y="0"/>
                  </a:lnTo>
                  <a:lnTo>
                    <a:pt x="14520" y="118"/>
                  </a:lnTo>
                  <a:lnTo>
                    <a:pt x="13532" y="626"/>
                  </a:lnTo>
                  <a:lnTo>
                    <a:pt x="12534" y="551"/>
                  </a:lnTo>
                  <a:lnTo>
                    <a:pt x="11910" y="925"/>
                  </a:lnTo>
                  <a:lnTo>
                    <a:pt x="11852" y="1541"/>
                  </a:lnTo>
                  <a:lnTo>
                    <a:pt x="12284" y="2028"/>
                  </a:lnTo>
                  <a:lnTo>
                    <a:pt x="11514" y="2359"/>
                  </a:lnTo>
                  <a:lnTo>
                    <a:pt x="10224" y="2151"/>
                  </a:lnTo>
                  <a:lnTo>
                    <a:pt x="8902" y="2939"/>
                  </a:lnTo>
                  <a:lnTo>
                    <a:pt x="8545" y="2547"/>
                  </a:lnTo>
                  <a:lnTo>
                    <a:pt x="7984" y="2547"/>
                  </a:lnTo>
                  <a:lnTo>
                    <a:pt x="6331" y="3276"/>
                  </a:lnTo>
                  <a:lnTo>
                    <a:pt x="6254" y="3747"/>
                  </a:lnTo>
                  <a:lnTo>
                    <a:pt x="5239" y="3694"/>
                  </a:lnTo>
                  <a:lnTo>
                    <a:pt x="4365" y="3416"/>
                  </a:lnTo>
                  <a:lnTo>
                    <a:pt x="4684" y="2561"/>
                  </a:lnTo>
                  <a:lnTo>
                    <a:pt x="4385" y="1461"/>
                  </a:lnTo>
                  <a:lnTo>
                    <a:pt x="3975" y="1984"/>
                  </a:lnTo>
                  <a:lnTo>
                    <a:pt x="3220" y="1906"/>
                  </a:lnTo>
                  <a:lnTo>
                    <a:pt x="2685" y="2228"/>
                  </a:lnTo>
                  <a:lnTo>
                    <a:pt x="2849" y="2735"/>
                  </a:lnTo>
                  <a:lnTo>
                    <a:pt x="2361" y="2820"/>
                  </a:lnTo>
                  <a:lnTo>
                    <a:pt x="1944" y="3255"/>
                  </a:lnTo>
                  <a:lnTo>
                    <a:pt x="2127" y="3846"/>
                  </a:lnTo>
                  <a:lnTo>
                    <a:pt x="1650" y="4045"/>
                  </a:lnTo>
                  <a:lnTo>
                    <a:pt x="1056" y="4124"/>
                  </a:lnTo>
                  <a:lnTo>
                    <a:pt x="779" y="4645"/>
                  </a:lnTo>
                  <a:lnTo>
                    <a:pt x="1343" y="5132"/>
                  </a:lnTo>
                  <a:lnTo>
                    <a:pt x="898" y="5479"/>
                  </a:lnTo>
                  <a:lnTo>
                    <a:pt x="1825" y="6438"/>
                  </a:lnTo>
                  <a:lnTo>
                    <a:pt x="2590" y="7130"/>
                  </a:lnTo>
                  <a:lnTo>
                    <a:pt x="2663" y="7706"/>
                  </a:lnTo>
                  <a:lnTo>
                    <a:pt x="3631" y="7955"/>
                  </a:lnTo>
                  <a:lnTo>
                    <a:pt x="2074" y="8446"/>
                  </a:lnTo>
                  <a:lnTo>
                    <a:pt x="1372" y="8885"/>
                  </a:lnTo>
                  <a:lnTo>
                    <a:pt x="2555" y="9513"/>
                  </a:lnTo>
                  <a:lnTo>
                    <a:pt x="3338" y="9416"/>
                  </a:lnTo>
                  <a:lnTo>
                    <a:pt x="3235" y="10079"/>
                  </a:lnTo>
                  <a:lnTo>
                    <a:pt x="3860" y="10555"/>
                  </a:lnTo>
                  <a:lnTo>
                    <a:pt x="3311" y="11127"/>
                  </a:lnTo>
                  <a:lnTo>
                    <a:pt x="3430" y="11649"/>
                  </a:lnTo>
                  <a:lnTo>
                    <a:pt x="2658" y="11928"/>
                  </a:lnTo>
                  <a:lnTo>
                    <a:pt x="1719" y="11854"/>
                  </a:lnTo>
                  <a:lnTo>
                    <a:pt x="632" y="12470"/>
                  </a:lnTo>
                  <a:lnTo>
                    <a:pt x="1161" y="13168"/>
                  </a:lnTo>
                  <a:lnTo>
                    <a:pt x="262" y="13650"/>
                  </a:lnTo>
                  <a:lnTo>
                    <a:pt x="0" y="14422"/>
                  </a:lnTo>
                  <a:lnTo>
                    <a:pt x="415" y="14993"/>
                  </a:lnTo>
                  <a:lnTo>
                    <a:pt x="1398" y="15123"/>
                  </a:lnTo>
                  <a:lnTo>
                    <a:pt x="2261" y="16515"/>
                  </a:lnTo>
                  <a:lnTo>
                    <a:pt x="2471" y="17047"/>
                  </a:lnTo>
                  <a:lnTo>
                    <a:pt x="1203" y="18479"/>
                  </a:lnTo>
                  <a:lnTo>
                    <a:pt x="1460" y="19286"/>
                  </a:lnTo>
                  <a:lnTo>
                    <a:pt x="199" y="19936"/>
                  </a:lnTo>
                  <a:lnTo>
                    <a:pt x="1423" y="21077"/>
                  </a:lnTo>
                  <a:lnTo>
                    <a:pt x="2499" y="21111"/>
                  </a:lnTo>
                  <a:lnTo>
                    <a:pt x="4871" y="21437"/>
                  </a:lnTo>
                  <a:lnTo>
                    <a:pt x="6361" y="21600"/>
                  </a:lnTo>
                  <a:lnTo>
                    <a:pt x="7651" y="21234"/>
                  </a:lnTo>
                  <a:lnTo>
                    <a:pt x="8871" y="21388"/>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16" name="线条"/>
            <p:cNvSpPr/>
            <p:nvPr/>
          </p:nvSpPr>
          <p:spPr>
            <a:xfrm>
              <a:off x="6032541" y="3809605"/>
              <a:ext cx="360856" cy="83407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403" y="814"/>
                  </a:lnTo>
                  <a:lnTo>
                    <a:pt x="20708" y="1023"/>
                  </a:lnTo>
                  <a:lnTo>
                    <a:pt x="19988" y="1000"/>
                  </a:lnTo>
                  <a:lnTo>
                    <a:pt x="18803" y="1438"/>
                  </a:lnTo>
                  <a:lnTo>
                    <a:pt x="18835" y="1843"/>
                  </a:lnTo>
                  <a:lnTo>
                    <a:pt x="17894" y="1982"/>
                  </a:lnTo>
                  <a:lnTo>
                    <a:pt x="16652" y="1767"/>
                  </a:lnTo>
                  <a:lnTo>
                    <a:pt x="13705" y="1839"/>
                  </a:lnTo>
                  <a:lnTo>
                    <a:pt x="11696" y="1462"/>
                  </a:lnTo>
                  <a:lnTo>
                    <a:pt x="10832" y="1610"/>
                  </a:lnTo>
                  <a:lnTo>
                    <a:pt x="9986" y="2247"/>
                  </a:lnTo>
                  <a:lnTo>
                    <a:pt x="9917" y="4208"/>
                  </a:lnTo>
                  <a:lnTo>
                    <a:pt x="9227" y="4548"/>
                  </a:lnTo>
                  <a:lnTo>
                    <a:pt x="7803" y="4392"/>
                  </a:lnTo>
                  <a:lnTo>
                    <a:pt x="6795" y="4297"/>
                  </a:lnTo>
                  <a:lnTo>
                    <a:pt x="6455" y="4844"/>
                  </a:lnTo>
                  <a:lnTo>
                    <a:pt x="5495" y="4935"/>
                  </a:lnTo>
                  <a:lnTo>
                    <a:pt x="4514" y="5186"/>
                  </a:lnTo>
                  <a:lnTo>
                    <a:pt x="5739" y="5432"/>
                  </a:lnTo>
                  <a:lnTo>
                    <a:pt x="5201" y="5783"/>
                  </a:lnTo>
                  <a:lnTo>
                    <a:pt x="3647" y="7492"/>
                  </a:lnTo>
                  <a:lnTo>
                    <a:pt x="3243" y="8462"/>
                  </a:lnTo>
                  <a:lnTo>
                    <a:pt x="1821" y="8783"/>
                  </a:lnTo>
                  <a:lnTo>
                    <a:pt x="897" y="9391"/>
                  </a:lnTo>
                  <a:lnTo>
                    <a:pt x="1125" y="10008"/>
                  </a:lnTo>
                  <a:lnTo>
                    <a:pt x="3021" y="11102"/>
                  </a:lnTo>
                  <a:lnTo>
                    <a:pt x="3045" y="11532"/>
                  </a:lnTo>
                  <a:lnTo>
                    <a:pt x="2105" y="11857"/>
                  </a:lnTo>
                  <a:lnTo>
                    <a:pt x="2459" y="12258"/>
                  </a:lnTo>
                  <a:lnTo>
                    <a:pt x="1657" y="12808"/>
                  </a:lnTo>
                  <a:lnTo>
                    <a:pt x="692" y="13304"/>
                  </a:lnTo>
                  <a:lnTo>
                    <a:pt x="1015" y="14670"/>
                  </a:lnTo>
                  <a:lnTo>
                    <a:pt x="1189" y="15775"/>
                  </a:lnTo>
                  <a:lnTo>
                    <a:pt x="1689" y="17164"/>
                  </a:lnTo>
                  <a:lnTo>
                    <a:pt x="2132" y="18264"/>
                  </a:lnTo>
                  <a:lnTo>
                    <a:pt x="1207" y="18875"/>
                  </a:lnTo>
                  <a:lnTo>
                    <a:pt x="254" y="19935"/>
                  </a:lnTo>
                  <a:lnTo>
                    <a:pt x="0" y="21169"/>
                  </a:lnTo>
                  <a:lnTo>
                    <a:pt x="761" y="21600"/>
                  </a:lnTo>
                  <a:lnTo>
                    <a:pt x="2761" y="21507"/>
                  </a:lnTo>
                  <a:lnTo>
                    <a:pt x="5745" y="20966"/>
                  </a:lnTo>
                  <a:lnTo>
                    <a:pt x="8001" y="20733"/>
                  </a:lnTo>
                  <a:lnTo>
                    <a:pt x="9428" y="20000"/>
                  </a:lnTo>
                  <a:lnTo>
                    <a:pt x="10697" y="19780"/>
                  </a:lnTo>
                  <a:lnTo>
                    <a:pt x="11364" y="19345"/>
                  </a:lnTo>
                  <a:lnTo>
                    <a:pt x="13541" y="19330"/>
                  </a:lnTo>
                  <a:lnTo>
                    <a:pt x="15603" y="19208"/>
                  </a:lnTo>
                  <a:lnTo>
                    <a:pt x="17506" y="18685"/>
                  </a:lnTo>
                  <a:lnTo>
                    <a:pt x="20468" y="17984"/>
                  </a:lnTo>
                  <a:lnTo>
                    <a:pt x="20658" y="17488"/>
                  </a:lnTo>
                  <a:lnTo>
                    <a:pt x="20919" y="16459"/>
                  </a:lnTo>
                  <a:lnTo>
                    <a:pt x="21242" y="15461"/>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17" name="线条"/>
            <p:cNvSpPr/>
            <p:nvPr/>
          </p:nvSpPr>
          <p:spPr>
            <a:xfrm>
              <a:off x="6505296" y="4123895"/>
              <a:ext cx="467560" cy="509326"/>
            </a:xfrm>
            <a:custGeom>
              <a:avLst/>
              <a:gdLst/>
              <a:ahLst/>
              <a:cxnLst>
                <a:cxn ang="0">
                  <a:pos x="wd2" y="hd2"/>
                </a:cxn>
                <a:cxn ang="5400000">
                  <a:pos x="wd2" y="hd2"/>
                </a:cxn>
                <a:cxn ang="10800000">
                  <a:pos x="wd2" y="hd2"/>
                </a:cxn>
                <a:cxn ang="16200000">
                  <a:pos x="wd2" y="hd2"/>
                </a:cxn>
              </a:cxnLst>
              <a:rect l="0" t="0" r="r" b="b"/>
              <a:pathLst>
                <a:path w="21600" h="21600" extrusionOk="0">
                  <a:moveTo>
                    <a:pt x="12731" y="0"/>
                  </a:moveTo>
                  <a:lnTo>
                    <a:pt x="12180" y="878"/>
                  </a:lnTo>
                  <a:lnTo>
                    <a:pt x="11646" y="1371"/>
                  </a:lnTo>
                  <a:lnTo>
                    <a:pt x="11056" y="2103"/>
                  </a:lnTo>
                  <a:cubicBezTo>
                    <a:pt x="10621" y="2175"/>
                    <a:pt x="10187" y="2246"/>
                    <a:pt x="9752" y="2318"/>
                  </a:cubicBezTo>
                  <a:cubicBezTo>
                    <a:pt x="9318" y="2389"/>
                    <a:pt x="8883" y="2461"/>
                    <a:pt x="8448" y="2533"/>
                  </a:cubicBezTo>
                  <a:lnTo>
                    <a:pt x="7228" y="3583"/>
                  </a:lnTo>
                  <a:lnTo>
                    <a:pt x="6771" y="4197"/>
                  </a:lnTo>
                  <a:lnTo>
                    <a:pt x="6079" y="4364"/>
                  </a:lnTo>
                  <a:lnTo>
                    <a:pt x="5850" y="5052"/>
                  </a:lnTo>
                  <a:lnTo>
                    <a:pt x="5025" y="5323"/>
                  </a:lnTo>
                  <a:lnTo>
                    <a:pt x="4247" y="6488"/>
                  </a:lnTo>
                  <a:lnTo>
                    <a:pt x="3691" y="7827"/>
                  </a:lnTo>
                  <a:lnTo>
                    <a:pt x="3599" y="8724"/>
                  </a:lnTo>
                  <a:lnTo>
                    <a:pt x="2725" y="8892"/>
                  </a:lnTo>
                  <a:lnTo>
                    <a:pt x="1447" y="10757"/>
                  </a:lnTo>
                  <a:lnTo>
                    <a:pt x="2115" y="11756"/>
                  </a:lnTo>
                  <a:lnTo>
                    <a:pt x="3066" y="12320"/>
                  </a:lnTo>
                  <a:lnTo>
                    <a:pt x="2277" y="13387"/>
                  </a:lnTo>
                  <a:lnTo>
                    <a:pt x="2120" y="14852"/>
                  </a:lnTo>
                  <a:lnTo>
                    <a:pt x="3574" y="13734"/>
                  </a:lnTo>
                  <a:lnTo>
                    <a:pt x="4179" y="13211"/>
                  </a:lnTo>
                  <a:lnTo>
                    <a:pt x="4780" y="12649"/>
                  </a:lnTo>
                  <a:lnTo>
                    <a:pt x="5768" y="12957"/>
                  </a:lnTo>
                  <a:lnTo>
                    <a:pt x="3875" y="14452"/>
                  </a:lnTo>
                  <a:lnTo>
                    <a:pt x="2167" y="15685"/>
                  </a:lnTo>
                  <a:lnTo>
                    <a:pt x="2067" y="16407"/>
                  </a:lnTo>
                  <a:lnTo>
                    <a:pt x="1219" y="16962"/>
                  </a:lnTo>
                  <a:lnTo>
                    <a:pt x="199" y="18202"/>
                  </a:lnTo>
                  <a:lnTo>
                    <a:pt x="0" y="19141"/>
                  </a:lnTo>
                  <a:lnTo>
                    <a:pt x="1476" y="19249"/>
                  </a:lnTo>
                  <a:lnTo>
                    <a:pt x="2264" y="19856"/>
                  </a:lnTo>
                  <a:lnTo>
                    <a:pt x="3375" y="20216"/>
                  </a:lnTo>
                  <a:lnTo>
                    <a:pt x="3274" y="20891"/>
                  </a:lnTo>
                  <a:lnTo>
                    <a:pt x="4113" y="21448"/>
                  </a:lnTo>
                  <a:lnTo>
                    <a:pt x="5672" y="21222"/>
                  </a:lnTo>
                  <a:lnTo>
                    <a:pt x="6349" y="20803"/>
                  </a:lnTo>
                  <a:lnTo>
                    <a:pt x="7186" y="21289"/>
                  </a:lnTo>
                  <a:lnTo>
                    <a:pt x="8062" y="20805"/>
                  </a:lnTo>
                  <a:lnTo>
                    <a:pt x="7875" y="19699"/>
                  </a:lnTo>
                  <a:lnTo>
                    <a:pt x="8543" y="19232"/>
                  </a:lnTo>
                  <a:lnTo>
                    <a:pt x="10348" y="18810"/>
                  </a:lnTo>
                  <a:lnTo>
                    <a:pt x="11125" y="20536"/>
                  </a:lnTo>
                  <a:lnTo>
                    <a:pt x="11590" y="21600"/>
                  </a:lnTo>
                  <a:lnTo>
                    <a:pt x="12813" y="20843"/>
                  </a:lnTo>
                  <a:lnTo>
                    <a:pt x="13633" y="21413"/>
                  </a:lnTo>
                  <a:lnTo>
                    <a:pt x="14671" y="20852"/>
                  </a:lnTo>
                  <a:lnTo>
                    <a:pt x="14771" y="20275"/>
                  </a:lnTo>
                  <a:lnTo>
                    <a:pt x="16082" y="20109"/>
                  </a:lnTo>
                  <a:lnTo>
                    <a:pt x="16495" y="21311"/>
                  </a:lnTo>
                  <a:lnTo>
                    <a:pt x="17624" y="21099"/>
                  </a:lnTo>
                  <a:lnTo>
                    <a:pt x="17835" y="20237"/>
                  </a:lnTo>
                  <a:lnTo>
                    <a:pt x="18121" y="19636"/>
                  </a:lnTo>
                  <a:lnTo>
                    <a:pt x="19391" y="19695"/>
                  </a:lnTo>
                  <a:lnTo>
                    <a:pt x="19380" y="18919"/>
                  </a:lnTo>
                  <a:lnTo>
                    <a:pt x="19792" y="17651"/>
                  </a:lnTo>
                  <a:lnTo>
                    <a:pt x="21600" y="17101"/>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18" name="线条"/>
            <p:cNvSpPr/>
            <p:nvPr/>
          </p:nvSpPr>
          <p:spPr>
            <a:xfrm>
              <a:off x="6681902" y="4616532"/>
              <a:ext cx="515226" cy="46514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890" y="775"/>
                  </a:lnTo>
                  <a:lnTo>
                    <a:pt x="2188" y="1380"/>
                  </a:lnTo>
                  <a:lnTo>
                    <a:pt x="2772" y="2734"/>
                  </a:lnTo>
                  <a:lnTo>
                    <a:pt x="3444" y="3296"/>
                  </a:lnTo>
                  <a:lnTo>
                    <a:pt x="4914" y="3200"/>
                  </a:lnTo>
                  <a:lnTo>
                    <a:pt x="5679" y="3615"/>
                  </a:lnTo>
                  <a:lnTo>
                    <a:pt x="5926" y="4684"/>
                  </a:lnTo>
                  <a:lnTo>
                    <a:pt x="7654" y="4639"/>
                  </a:lnTo>
                  <a:lnTo>
                    <a:pt x="7881" y="5561"/>
                  </a:lnTo>
                  <a:lnTo>
                    <a:pt x="7399" y="6759"/>
                  </a:lnTo>
                  <a:lnTo>
                    <a:pt x="7018" y="8229"/>
                  </a:lnTo>
                  <a:lnTo>
                    <a:pt x="8198" y="7990"/>
                  </a:lnTo>
                  <a:lnTo>
                    <a:pt x="8563" y="8985"/>
                  </a:lnTo>
                  <a:lnTo>
                    <a:pt x="8681" y="10041"/>
                  </a:lnTo>
                  <a:lnTo>
                    <a:pt x="9966" y="10835"/>
                  </a:lnTo>
                  <a:cubicBezTo>
                    <a:pt x="10100" y="10792"/>
                    <a:pt x="10234" y="10749"/>
                    <a:pt x="10368" y="10706"/>
                  </a:cubicBezTo>
                  <a:cubicBezTo>
                    <a:pt x="10502" y="10663"/>
                    <a:pt x="10636" y="10619"/>
                    <a:pt x="10769" y="10576"/>
                  </a:cubicBezTo>
                  <a:lnTo>
                    <a:pt x="11163" y="9205"/>
                  </a:lnTo>
                  <a:lnTo>
                    <a:pt x="12121" y="9417"/>
                  </a:lnTo>
                  <a:lnTo>
                    <a:pt x="12954" y="10598"/>
                  </a:lnTo>
                  <a:lnTo>
                    <a:pt x="12814" y="12159"/>
                  </a:lnTo>
                  <a:lnTo>
                    <a:pt x="12288" y="12286"/>
                  </a:lnTo>
                  <a:lnTo>
                    <a:pt x="11614" y="11605"/>
                  </a:lnTo>
                  <a:lnTo>
                    <a:pt x="9892" y="11743"/>
                  </a:lnTo>
                  <a:lnTo>
                    <a:pt x="10931" y="12721"/>
                  </a:lnTo>
                  <a:lnTo>
                    <a:pt x="10307" y="13907"/>
                  </a:lnTo>
                  <a:lnTo>
                    <a:pt x="9675" y="14854"/>
                  </a:lnTo>
                  <a:lnTo>
                    <a:pt x="9797" y="16013"/>
                  </a:lnTo>
                  <a:lnTo>
                    <a:pt x="10592" y="16703"/>
                  </a:lnTo>
                  <a:lnTo>
                    <a:pt x="11767" y="17321"/>
                  </a:lnTo>
                  <a:lnTo>
                    <a:pt x="12257" y="18192"/>
                  </a:lnTo>
                  <a:lnTo>
                    <a:pt x="11484" y="19106"/>
                  </a:lnTo>
                  <a:lnTo>
                    <a:pt x="12200" y="19863"/>
                  </a:lnTo>
                  <a:lnTo>
                    <a:pt x="13921" y="19106"/>
                  </a:lnTo>
                  <a:lnTo>
                    <a:pt x="14712" y="19900"/>
                  </a:lnTo>
                  <a:lnTo>
                    <a:pt x="16891" y="19447"/>
                  </a:lnTo>
                  <a:lnTo>
                    <a:pt x="17656" y="20543"/>
                  </a:lnTo>
                  <a:lnTo>
                    <a:pt x="18884" y="20790"/>
                  </a:lnTo>
                  <a:lnTo>
                    <a:pt x="19758" y="21600"/>
                  </a:lnTo>
                  <a:lnTo>
                    <a:pt x="20546" y="20881"/>
                  </a:lnTo>
                  <a:lnTo>
                    <a:pt x="20923" y="20132"/>
                  </a:lnTo>
                  <a:lnTo>
                    <a:pt x="21600" y="20044"/>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19" name="形状"/>
            <p:cNvSpPr/>
            <p:nvPr/>
          </p:nvSpPr>
          <p:spPr>
            <a:xfrm>
              <a:off x="7186155" y="4968553"/>
              <a:ext cx="115742" cy="113665"/>
            </a:xfrm>
            <a:custGeom>
              <a:avLst/>
              <a:gdLst/>
              <a:ahLst/>
              <a:cxnLst>
                <a:cxn ang="0">
                  <a:pos x="wd2" y="hd2"/>
                </a:cxn>
                <a:cxn ang="5400000">
                  <a:pos x="wd2" y="hd2"/>
                </a:cxn>
                <a:cxn ang="10800000">
                  <a:pos x="wd2" y="hd2"/>
                </a:cxn>
                <a:cxn ang="16200000">
                  <a:pos x="wd2" y="hd2"/>
                </a:cxn>
              </a:cxnLst>
              <a:rect l="0" t="0" r="r" b="b"/>
              <a:pathLst>
                <a:path w="21600" h="21594" extrusionOk="0">
                  <a:moveTo>
                    <a:pt x="14286" y="15430"/>
                  </a:moveTo>
                  <a:lnTo>
                    <a:pt x="21494" y="15591"/>
                  </a:lnTo>
                  <a:lnTo>
                    <a:pt x="21600" y="9905"/>
                  </a:lnTo>
                  <a:lnTo>
                    <a:pt x="18900" y="3528"/>
                  </a:lnTo>
                  <a:lnTo>
                    <a:pt x="14105" y="0"/>
                  </a:lnTo>
                  <a:cubicBezTo>
                    <a:pt x="12742" y="-6"/>
                    <a:pt x="11383" y="150"/>
                    <a:pt x="10055" y="466"/>
                  </a:cubicBezTo>
                  <a:cubicBezTo>
                    <a:pt x="8514" y="833"/>
                    <a:pt x="7028" y="1410"/>
                    <a:pt x="5639" y="2184"/>
                  </a:cubicBezTo>
                  <a:cubicBezTo>
                    <a:pt x="4930" y="2839"/>
                    <a:pt x="4460" y="3721"/>
                    <a:pt x="4308" y="4684"/>
                  </a:cubicBezTo>
                  <a:cubicBezTo>
                    <a:pt x="4183" y="5471"/>
                    <a:pt x="4277" y="6279"/>
                    <a:pt x="4581" y="7015"/>
                  </a:cubicBezTo>
                  <a:cubicBezTo>
                    <a:pt x="3815" y="7438"/>
                    <a:pt x="3324" y="8240"/>
                    <a:pt x="3289" y="9126"/>
                  </a:cubicBezTo>
                  <a:cubicBezTo>
                    <a:pt x="3258" y="9894"/>
                    <a:pt x="3577" y="10633"/>
                    <a:pt x="4153" y="11130"/>
                  </a:cubicBezTo>
                  <a:lnTo>
                    <a:pt x="0" y="11732"/>
                  </a:lnTo>
                  <a:cubicBezTo>
                    <a:pt x="87" y="12830"/>
                    <a:pt x="449" y="13888"/>
                    <a:pt x="1053" y="14802"/>
                  </a:cubicBezTo>
                  <a:cubicBezTo>
                    <a:pt x="1444" y="15395"/>
                    <a:pt x="1929" y="15916"/>
                    <a:pt x="2489" y="16345"/>
                  </a:cubicBezTo>
                  <a:cubicBezTo>
                    <a:pt x="2445" y="17265"/>
                    <a:pt x="2806" y="18157"/>
                    <a:pt x="3475" y="18777"/>
                  </a:cubicBezTo>
                  <a:cubicBezTo>
                    <a:pt x="4278" y="19522"/>
                    <a:pt x="5409" y="19780"/>
                    <a:pt x="6448" y="19453"/>
                  </a:cubicBezTo>
                  <a:lnTo>
                    <a:pt x="8048" y="21594"/>
                  </a:lnTo>
                  <a:cubicBezTo>
                    <a:pt x="9307" y="21058"/>
                    <a:pt x="10466" y="20304"/>
                    <a:pt x="11474" y="19367"/>
                  </a:cubicBezTo>
                  <a:cubicBezTo>
                    <a:pt x="12663" y="18262"/>
                    <a:pt x="13620" y="16923"/>
                    <a:pt x="14286" y="15430"/>
                  </a:cubicBezTo>
                  <a:close/>
                </a:path>
              </a:pathLst>
            </a:custGeom>
            <a:solidFill>
              <a:schemeClr val="accent2">
                <a:lumMod val="40000"/>
                <a:lumOff val="60000"/>
              </a:schemeClr>
            </a:solidFill>
            <a:ln w="127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20" name="线条"/>
            <p:cNvSpPr/>
            <p:nvPr/>
          </p:nvSpPr>
          <p:spPr>
            <a:xfrm>
              <a:off x="6909089" y="5045406"/>
              <a:ext cx="286531" cy="519049"/>
            </a:xfrm>
            <a:custGeom>
              <a:avLst/>
              <a:gdLst/>
              <a:ahLst/>
              <a:cxnLst>
                <a:cxn ang="0">
                  <a:pos x="wd2" y="hd2"/>
                </a:cxn>
                <a:cxn ang="5400000">
                  <a:pos x="wd2" y="hd2"/>
                </a:cxn>
                <a:cxn ang="10800000">
                  <a:pos x="wd2" y="hd2"/>
                </a:cxn>
                <a:cxn ang="16200000">
                  <a:pos x="wd2" y="hd2"/>
                </a:cxn>
              </a:cxnLst>
              <a:rect l="0" t="0" r="r" b="b"/>
              <a:pathLst>
                <a:path w="21600" h="21600" extrusionOk="0">
                  <a:moveTo>
                    <a:pt x="10731" y="0"/>
                  </a:moveTo>
                  <a:lnTo>
                    <a:pt x="10667" y="1096"/>
                  </a:lnTo>
                  <a:lnTo>
                    <a:pt x="9984" y="2239"/>
                  </a:lnTo>
                  <a:lnTo>
                    <a:pt x="9020" y="2587"/>
                  </a:lnTo>
                  <a:lnTo>
                    <a:pt x="8350" y="3160"/>
                  </a:lnTo>
                  <a:lnTo>
                    <a:pt x="9984" y="3567"/>
                  </a:lnTo>
                  <a:lnTo>
                    <a:pt x="9043" y="4240"/>
                  </a:lnTo>
                  <a:lnTo>
                    <a:pt x="8087" y="4497"/>
                  </a:lnTo>
                  <a:lnTo>
                    <a:pt x="6211" y="4351"/>
                  </a:lnTo>
                  <a:lnTo>
                    <a:pt x="5433" y="4933"/>
                  </a:lnTo>
                  <a:lnTo>
                    <a:pt x="5755" y="6528"/>
                  </a:lnTo>
                  <a:lnTo>
                    <a:pt x="4551" y="7851"/>
                  </a:lnTo>
                  <a:lnTo>
                    <a:pt x="1248" y="9811"/>
                  </a:lnTo>
                  <a:lnTo>
                    <a:pt x="463" y="10597"/>
                  </a:lnTo>
                  <a:lnTo>
                    <a:pt x="0" y="11440"/>
                  </a:lnTo>
                  <a:lnTo>
                    <a:pt x="1068" y="12263"/>
                  </a:lnTo>
                  <a:lnTo>
                    <a:pt x="2851" y="13094"/>
                  </a:lnTo>
                  <a:lnTo>
                    <a:pt x="4062" y="15010"/>
                  </a:lnTo>
                  <a:lnTo>
                    <a:pt x="3896" y="15719"/>
                  </a:lnTo>
                  <a:lnTo>
                    <a:pt x="5085" y="16180"/>
                  </a:lnTo>
                  <a:lnTo>
                    <a:pt x="6816" y="15846"/>
                  </a:lnTo>
                  <a:lnTo>
                    <a:pt x="7253" y="16504"/>
                  </a:lnTo>
                  <a:lnTo>
                    <a:pt x="6728" y="17198"/>
                  </a:lnTo>
                  <a:lnTo>
                    <a:pt x="7865" y="18371"/>
                  </a:lnTo>
                  <a:lnTo>
                    <a:pt x="8530" y="20229"/>
                  </a:lnTo>
                  <a:lnTo>
                    <a:pt x="10586" y="20148"/>
                  </a:lnTo>
                  <a:lnTo>
                    <a:pt x="11997" y="20476"/>
                  </a:lnTo>
                  <a:lnTo>
                    <a:pt x="12731" y="19608"/>
                  </a:lnTo>
                  <a:lnTo>
                    <a:pt x="13629" y="18699"/>
                  </a:lnTo>
                  <a:lnTo>
                    <a:pt x="15409" y="19652"/>
                  </a:lnTo>
                  <a:lnTo>
                    <a:pt x="16015" y="20559"/>
                  </a:lnTo>
                  <a:lnTo>
                    <a:pt x="18738" y="20428"/>
                  </a:lnTo>
                  <a:lnTo>
                    <a:pt x="21154" y="20208"/>
                  </a:lnTo>
                  <a:lnTo>
                    <a:pt x="21600" y="21600"/>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21" name="线条"/>
            <p:cNvSpPr/>
            <p:nvPr/>
          </p:nvSpPr>
          <p:spPr>
            <a:xfrm>
              <a:off x="6697850" y="5425105"/>
              <a:ext cx="262712" cy="6234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0646" y="316"/>
                  </a:lnTo>
                  <a:lnTo>
                    <a:pt x="21053" y="1118"/>
                  </a:lnTo>
                  <a:lnTo>
                    <a:pt x="18522" y="1759"/>
                  </a:lnTo>
                  <a:lnTo>
                    <a:pt x="16795" y="1843"/>
                  </a:lnTo>
                  <a:lnTo>
                    <a:pt x="15184" y="2512"/>
                  </a:lnTo>
                  <a:lnTo>
                    <a:pt x="13892" y="1892"/>
                  </a:lnTo>
                  <a:lnTo>
                    <a:pt x="12848" y="2054"/>
                  </a:lnTo>
                  <a:lnTo>
                    <a:pt x="11015" y="2695"/>
                  </a:lnTo>
                  <a:lnTo>
                    <a:pt x="10677" y="3293"/>
                  </a:lnTo>
                  <a:lnTo>
                    <a:pt x="8774" y="3640"/>
                  </a:lnTo>
                  <a:lnTo>
                    <a:pt x="9840" y="4655"/>
                  </a:lnTo>
                  <a:lnTo>
                    <a:pt x="10202" y="5718"/>
                  </a:lnTo>
                  <a:lnTo>
                    <a:pt x="8673" y="6303"/>
                  </a:lnTo>
                  <a:lnTo>
                    <a:pt x="5859" y="6864"/>
                  </a:lnTo>
                  <a:lnTo>
                    <a:pt x="4938" y="7553"/>
                  </a:lnTo>
                  <a:lnTo>
                    <a:pt x="5185" y="8444"/>
                  </a:lnTo>
                  <a:lnTo>
                    <a:pt x="6067" y="9380"/>
                  </a:lnTo>
                  <a:lnTo>
                    <a:pt x="4995" y="9557"/>
                  </a:lnTo>
                  <a:lnTo>
                    <a:pt x="3979" y="10158"/>
                  </a:lnTo>
                  <a:lnTo>
                    <a:pt x="5472" y="10734"/>
                  </a:lnTo>
                  <a:lnTo>
                    <a:pt x="3933" y="11361"/>
                  </a:lnTo>
                  <a:lnTo>
                    <a:pt x="2501" y="11580"/>
                  </a:lnTo>
                  <a:lnTo>
                    <a:pt x="1988" y="12386"/>
                  </a:lnTo>
                  <a:lnTo>
                    <a:pt x="1472" y="13107"/>
                  </a:lnTo>
                  <a:lnTo>
                    <a:pt x="1005" y="14008"/>
                  </a:lnTo>
                  <a:lnTo>
                    <a:pt x="29" y="14634"/>
                  </a:lnTo>
                  <a:lnTo>
                    <a:pt x="0" y="16044"/>
                  </a:lnTo>
                  <a:lnTo>
                    <a:pt x="3155" y="16489"/>
                  </a:lnTo>
                  <a:lnTo>
                    <a:pt x="5271" y="16314"/>
                  </a:lnTo>
                  <a:lnTo>
                    <a:pt x="5547" y="16968"/>
                  </a:lnTo>
                  <a:lnTo>
                    <a:pt x="7006" y="17464"/>
                  </a:lnTo>
                  <a:lnTo>
                    <a:pt x="8737" y="17122"/>
                  </a:lnTo>
                  <a:lnTo>
                    <a:pt x="9498" y="18027"/>
                  </a:lnTo>
                  <a:lnTo>
                    <a:pt x="11257" y="19447"/>
                  </a:lnTo>
                  <a:lnTo>
                    <a:pt x="10635" y="19817"/>
                  </a:lnTo>
                  <a:lnTo>
                    <a:pt x="12698" y="21600"/>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22" name="线条"/>
            <p:cNvSpPr/>
            <p:nvPr/>
          </p:nvSpPr>
          <p:spPr>
            <a:xfrm>
              <a:off x="5976408" y="5825205"/>
              <a:ext cx="720845" cy="514826"/>
            </a:xfrm>
            <a:custGeom>
              <a:avLst/>
              <a:gdLst/>
              <a:ahLst/>
              <a:cxnLst>
                <a:cxn ang="0">
                  <a:pos x="wd2" y="hd2"/>
                </a:cxn>
                <a:cxn ang="5400000">
                  <a:pos x="wd2" y="hd2"/>
                </a:cxn>
                <a:cxn ang="10800000">
                  <a:pos x="wd2" y="hd2"/>
                </a:cxn>
                <a:cxn ang="16200000">
                  <a:pos x="wd2" y="hd2"/>
                </a:cxn>
              </a:cxnLst>
              <a:rect l="0" t="0" r="r" b="b"/>
              <a:pathLst>
                <a:path w="21600" h="21600" extrusionOk="0">
                  <a:moveTo>
                    <a:pt x="21600" y="2487"/>
                  </a:moveTo>
                  <a:lnTo>
                    <a:pt x="21109" y="3206"/>
                  </a:lnTo>
                  <a:lnTo>
                    <a:pt x="21351" y="4961"/>
                  </a:lnTo>
                  <a:lnTo>
                    <a:pt x="20717" y="4563"/>
                  </a:lnTo>
                  <a:lnTo>
                    <a:pt x="20082" y="3550"/>
                  </a:lnTo>
                  <a:lnTo>
                    <a:pt x="19538" y="4123"/>
                  </a:lnTo>
                  <a:lnTo>
                    <a:pt x="16807" y="5493"/>
                  </a:lnTo>
                  <a:lnTo>
                    <a:pt x="15848" y="4526"/>
                  </a:lnTo>
                  <a:lnTo>
                    <a:pt x="16215" y="3998"/>
                  </a:lnTo>
                  <a:lnTo>
                    <a:pt x="16896" y="2615"/>
                  </a:lnTo>
                  <a:lnTo>
                    <a:pt x="17702" y="1573"/>
                  </a:lnTo>
                  <a:lnTo>
                    <a:pt x="17188" y="653"/>
                  </a:lnTo>
                  <a:lnTo>
                    <a:pt x="16083" y="836"/>
                  </a:lnTo>
                  <a:lnTo>
                    <a:pt x="15398" y="1343"/>
                  </a:lnTo>
                  <a:lnTo>
                    <a:pt x="14789" y="484"/>
                  </a:lnTo>
                  <a:lnTo>
                    <a:pt x="14321" y="928"/>
                  </a:lnTo>
                  <a:lnTo>
                    <a:pt x="13438" y="1150"/>
                  </a:lnTo>
                  <a:lnTo>
                    <a:pt x="12840" y="740"/>
                  </a:lnTo>
                  <a:lnTo>
                    <a:pt x="12280" y="0"/>
                  </a:lnTo>
                  <a:lnTo>
                    <a:pt x="11868" y="781"/>
                  </a:lnTo>
                  <a:lnTo>
                    <a:pt x="11111" y="1424"/>
                  </a:lnTo>
                  <a:lnTo>
                    <a:pt x="11435" y="2284"/>
                  </a:lnTo>
                  <a:lnTo>
                    <a:pt x="11531" y="3402"/>
                  </a:lnTo>
                  <a:lnTo>
                    <a:pt x="11070" y="3690"/>
                  </a:lnTo>
                  <a:lnTo>
                    <a:pt x="10688" y="3289"/>
                  </a:lnTo>
                  <a:lnTo>
                    <a:pt x="10312" y="2554"/>
                  </a:lnTo>
                  <a:lnTo>
                    <a:pt x="9679" y="2286"/>
                  </a:lnTo>
                  <a:lnTo>
                    <a:pt x="8488" y="2137"/>
                  </a:lnTo>
                  <a:lnTo>
                    <a:pt x="8388" y="3360"/>
                  </a:lnTo>
                  <a:lnTo>
                    <a:pt x="7839" y="4773"/>
                  </a:lnTo>
                  <a:lnTo>
                    <a:pt x="7954" y="5779"/>
                  </a:lnTo>
                  <a:lnTo>
                    <a:pt x="8147" y="7123"/>
                  </a:lnTo>
                  <a:lnTo>
                    <a:pt x="7563" y="7716"/>
                  </a:lnTo>
                  <a:lnTo>
                    <a:pt x="7672" y="9030"/>
                  </a:lnTo>
                  <a:lnTo>
                    <a:pt x="7160" y="9785"/>
                  </a:lnTo>
                  <a:lnTo>
                    <a:pt x="6784" y="9965"/>
                  </a:lnTo>
                  <a:lnTo>
                    <a:pt x="5727" y="11705"/>
                  </a:lnTo>
                  <a:lnTo>
                    <a:pt x="5814" y="12785"/>
                  </a:lnTo>
                  <a:lnTo>
                    <a:pt x="6043" y="14229"/>
                  </a:lnTo>
                  <a:lnTo>
                    <a:pt x="5272" y="15437"/>
                  </a:lnTo>
                  <a:lnTo>
                    <a:pt x="4769" y="15430"/>
                  </a:lnTo>
                  <a:lnTo>
                    <a:pt x="4173" y="15942"/>
                  </a:lnTo>
                  <a:lnTo>
                    <a:pt x="3731" y="16484"/>
                  </a:lnTo>
                  <a:lnTo>
                    <a:pt x="3528" y="17570"/>
                  </a:lnTo>
                  <a:lnTo>
                    <a:pt x="3248" y="18392"/>
                  </a:lnTo>
                  <a:lnTo>
                    <a:pt x="2918" y="18708"/>
                  </a:lnTo>
                  <a:lnTo>
                    <a:pt x="2357" y="18488"/>
                  </a:lnTo>
                  <a:lnTo>
                    <a:pt x="2492" y="19710"/>
                  </a:lnTo>
                  <a:lnTo>
                    <a:pt x="1998" y="20326"/>
                  </a:lnTo>
                  <a:lnTo>
                    <a:pt x="1208" y="20184"/>
                  </a:lnTo>
                  <a:lnTo>
                    <a:pt x="0" y="21600"/>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23" name="线条"/>
            <p:cNvSpPr/>
            <p:nvPr/>
          </p:nvSpPr>
          <p:spPr>
            <a:xfrm>
              <a:off x="5363825" y="5728007"/>
              <a:ext cx="877747" cy="400343"/>
            </a:xfrm>
            <a:custGeom>
              <a:avLst/>
              <a:gdLst/>
              <a:ahLst/>
              <a:cxnLst>
                <a:cxn ang="0">
                  <a:pos x="wd2" y="hd2"/>
                </a:cxn>
                <a:cxn ang="5400000">
                  <a:pos x="wd2" y="hd2"/>
                </a:cxn>
                <a:cxn ang="10800000">
                  <a:pos x="wd2" y="hd2"/>
                </a:cxn>
                <a:cxn ang="16200000">
                  <a:pos x="wd2" y="hd2"/>
                </a:cxn>
              </a:cxnLst>
              <a:rect l="0" t="0" r="r" b="b"/>
              <a:pathLst>
                <a:path w="21600" h="21600" extrusionOk="0">
                  <a:moveTo>
                    <a:pt x="21600" y="11003"/>
                  </a:moveTo>
                  <a:lnTo>
                    <a:pt x="20857" y="10734"/>
                  </a:lnTo>
                  <a:lnTo>
                    <a:pt x="20362" y="11683"/>
                  </a:lnTo>
                  <a:lnTo>
                    <a:pt x="20152" y="11262"/>
                  </a:lnTo>
                  <a:lnTo>
                    <a:pt x="20150" y="8936"/>
                  </a:lnTo>
                  <a:lnTo>
                    <a:pt x="19803" y="8100"/>
                  </a:lnTo>
                  <a:lnTo>
                    <a:pt x="19391" y="8431"/>
                  </a:lnTo>
                  <a:lnTo>
                    <a:pt x="18754" y="9993"/>
                  </a:lnTo>
                  <a:lnTo>
                    <a:pt x="18797" y="8466"/>
                  </a:lnTo>
                  <a:lnTo>
                    <a:pt x="19759" y="5739"/>
                  </a:lnTo>
                  <a:lnTo>
                    <a:pt x="19733" y="4355"/>
                  </a:lnTo>
                  <a:lnTo>
                    <a:pt x="20296" y="3017"/>
                  </a:lnTo>
                  <a:lnTo>
                    <a:pt x="19639" y="3225"/>
                  </a:lnTo>
                  <a:lnTo>
                    <a:pt x="19504" y="2179"/>
                  </a:lnTo>
                  <a:lnTo>
                    <a:pt x="19547" y="496"/>
                  </a:lnTo>
                  <a:lnTo>
                    <a:pt x="19034" y="169"/>
                  </a:lnTo>
                  <a:lnTo>
                    <a:pt x="18765" y="0"/>
                  </a:lnTo>
                  <a:lnTo>
                    <a:pt x="18284" y="307"/>
                  </a:lnTo>
                  <a:lnTo>
                    <a:pt x="17625" y="193"/>
                  </a:lnTo>
                  <a:lnTo>
                    <a:pt x="16673" y="2538"/>
                  </a:lnTo>
                  <a:lnTo>
                    <a:pt x="16443" y="2297"/>
                  </a:lnTo>
                  <a:lnTo>
                    <a:pt x="16109" y="2084"/>
                  </a:lnTo>
                  <a:lnTo>
                    <a:pt x="16015" y="1625"/>
                  </a:lnTo>
                  <a:lnTo>
                    <a:pt x="15926" y="1248"/>
                  </a:lnTo>
                  <a:lnTo>
                    <a:pt x="15652" y="1935"/>
                  </a:lnTo>
                  <a:lnTo>
                    <a:pt x="15350" y="2695"/>
                  </a:lnTo>
                  <a:lnTo>
                    <a:pt x="15237" y="3614"/>
                  </a:lnTo>
                  <a:lnTo>
                    <a:pt x="15082" y="3347"/>
                  </a:lnTo>
                  <a:lnTo>
                    <a:pt x="14952" y="2517"/>
                  </a:lnTo>
                  <a:lnTo>
                    <a:pt x="14473" y="2458"/>
                  </a:lnTo>
                  <a:lnTo>
                    <a:pt x="13742" y="4245"/>
                  </a:lnTo>
                  <a:lnTo>
                    <a:pt x="13326" y="3627"/>
                  </a:lnTo>
                  <a:lnTo>
                    <a:pt x="12744" y="4559"/>
                  </a:lnTo>
                  <a:lnTo>
                    <a:pt x="13110" y="5728"/>
                  </a:lnTo>
                  <a:lnTo>
                    <a:pt x="12615" y="5815"/>
                  </a:lnTo>
                  <a:lnTo>
                    <a:pt x="12160" y="5132"/>
                  </a:lnTo>
                  <a:lnTo>
                    <a:pt x="11821" y="5999"/>
                  </a:lnTo>
                  <a:lnTo>
                    <a:pt x="11796" y="7037"/>
                  </a:lnTo>
                  <a:lnTo>
                    <a:pt x="11153" y="5931"/>
                  </a:lnTo>
                  <a:lnTo>
                    <a:pt x="10817" y="6042"/>
                  </a:lnTo>
                  <a:lnTo>
                    <a:pt x="10334" y="6685"/>
                  </a:lnTo>
                  <a:lnTo>
                    <a:pt x="10432" y="7852"/>
                  </a:lnTo>
                  <a:lnTo>
                    <a:pt x="9644" y="8701"/>
                  </a:lnTo>
                  <a:lnTo>
                    <a:pt x="9253" y="7884"/>
                  </a:lnTo>
                  <a:lnTo>
                    <a:pt x="9109" y="7318"/>
                  </a:lnTo>
                  <a:lnTo>
                    <a:pt x="8636" y="7845"/>
                  </a:lnTo>
                  <a:lnTo>
                    <a:pt x="8205" y="6318"/>
                  </a:lnTo>
                  <a:lnTo>
                    <a:pt x="8053" y="5346"/>
                  </a:lnTo>
                  <a:lnTo>
                    <a:pt x="7787" y="5281"/>
                  </a:lnTo>
                  <a:lnTo>
                    <a:pt x="7215" y="5766"/>
                  </a:lnTo>
                  <a:lnTo>
                    <a:pt x="7093" y="7617"/>
                  </a:lnTo>
                  <a:lnTo>
                    <a:pt x="6803" y="7609"/>
                  </a:lnTo>
                  <a:lnTo>
                    <a:pt x="6332" y="7355"/>
                  </a:lnTo>
                  <a:lnTo>
                    <a:pt x="5735" y="8749"/>
                  </a:lnTo>
                  <a:lnTo>
                    <a:pt x="5252" y="9113"/>
                  </a:lnTo>
                  <a:lnTo>
                    <a:pt x="4982" y="9080"/>
                  </a:lnTo>
                  <a:lnTo>
                    <a:pt x="4740" y="9917"/>
                  </a:lnTo>
                  <a:lnTo>
                    <a:pt x="4458" y="10010"/>
                  </a:lnTo>
                  <a:lnTo>
                    <a:pt x="3626" y="9564"/>
                  </a:lnTo>
                  <a:lnTo>
                    <a:pt x="3027" y="8978"/>
                  </a:lnTo>
                  <a:lnTo>
                    <a:pt x="2637" y="8860"/>
                  </a:lnTo>
                  <a:lnTo>
                    <a:pt x="2234" y="8214"/>
                  </a:lnTo>
                  <a:lnTo>
                    <a:pt x="1832" y="8819"/>
                  </a:lnTo>
                  <a:lnTo>
                    <a:pt x="1505" y="9790"/>
                  </a:lnTo>
                  <a:lnTo>
                    <a:pt x="1275" y="9953"/>
                  </a:lnTo>
                  <a:lnTo>
                    <a:pt x="749" y="10496"/>
                  </a:lnTo>
                  <a:lnTo>
                    <a:pt x="135" y="10150"/>
                  </a:lnTo>
                  <a:lnTo>
                    <a:pt x="0" y="11152"/>
                  </a:lnTo>
                  <a:lnTo>
                    <a:pt x="510" y="13228"/>
                  </a:lnTo>
                  <a:lnTo>
                    <a:pt x="757" y="12627"/>
                  </a:lnTo>
                  <a:lnTo>
                    <a:pt x="1394" y="12782"/>
                  </a:lnTo>
                  <a:lnTo>
                    <a:pt x="1991" y="13180"/>
                  </a:lnTo>
                  <a:lnTo>
                    <a:pt x="2115" y="14447"/>
                  </a:lnTo>
                  <a:lnTo>
                    <a:pt x="2507" y="15466"/>
                  </a:lnTo>
                  <a:lnTo>
                    <a:pt x="3062" y="15095"/>
                  </a:lnTo>
                  <a:lnTo>
                    <a:pt x="3584" y="15757"/>
                  </a:lnTo>
                  <a:lnTo>
                    <a:pt x="4292" y="15282"/>
                  </a:lnTo>
                  <a:lnTo>
                    <a:pt x="4891" y="16680"/>
                  </a:lnTo>
                  <a:lnTo>
                    <a:pt x="4706" y="18398"/>
                  </a:lnTo>
                  <a:lnTo>
                    <a:pt x="4449" y="19479"/>
                  </a:lnTo>
                  <a:lnTo>
                    <a:pt x="4036" y="19339"/>
                  </a:lnTo>
                  <a:lnTo>
                    <a:pt x="3770" y="19344"/>
                  </a:lnTo>
                  <a:lnTo>
                    <a:pt x="3362" y="20187"/>
                  </a:lnTo>
                  <a:lnTo>
                    <a:pt x="2686" y="21600"/>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24" name="线条"/>
            <p:cNvSpPr/>
            <p:nvPr/>
          </p:nvSpPr>
          <p:spPr>
            <a:xfrm>
              <a:off x="5280399" y="5350338"/>
              <a:ext cx="640187" cy="565500"/>
            </a:xfrm>
            <a:custGeom>
              <a:avLst/>
              <a:gdLst/>
              <a:ahLst/>
              <a:cxnLst>
                <a:cxn ang="0">
                  <a:pos x="wd2" y="hd2"/>
                </a:cxn>
                <a:cxn ang="5400000">
                  <a:pos x="wd2" y="hd2"/>
                </a:cxn>
                <a:cxn ang="10800000">
                  <a:pos x="wd2" y="hd2"/>
                </a:cxn>
                <a:cxn ang="16200000">
                  <a:pos x="wd2" y="hd2"/>
                </a:cxn>
              </a:cxnLst>
              <a:rect l="0" t="0" r="r" b="b"/>
              <a:pathLst>
                <a:path w="21600" h="21600" extrusionOk="0">
                  <a:moveTo>
                    <a:pt x="3064" y="21600"/>
                  </a:moveTo>
                  <a:lnTo>
                    <a:pt x="3641" y="20513"/>
                  </a:lnTo>
                  <a:lnTo>
                    <a:pt x="3742" y="19935"/>
                  </a:lnTo>
                  <a:lnTo>
                    <a:pt x="4284" y="19161"/>
                  </a:lnTo>
                  <a:lnTo>
                    <a:pt x="3614" y="18480"/>
                  </a:lnTo>
                  <a:lnTo>
                    <a:pt x="3269" y="17799"/>
                  </a:lnTo>
                  <a:lnTo>
                    <a:pt x="2458" y="16884"/>
                  </a:lnTo>
                  <a:lnTo>
                    <a:pt x="2782" y="16323"/>
                  </a:lnTo>
                  <a:lnTo>
                    <a:pt x="3417" y="14186"/>
                  </a:lnTo>
                  <a:lnTo>
                    <a:pt x="4052" y="13358"/>
                  </a:lnTo>
                  <a:lnTo>
                    <a:pt x="3586" y="12475"/>
                  </a:lnTo>
                  <a:lnTo>
                    <a:pt x="3231" y="11912"/>
                  </a:lnTo>
                  <a:lnTo>
                    <a:pt x="2491" y="12329"/>
                  </a:lnTo>
                  <a:lnTo>
                    <a:pt x="1866" y="12078"/>
                  </a:lnTo>
                  <a:lnTo>
                    <a:pt x="1336" y="12613"/>
                  </a:lnTo>
                  <a:lnTo>
                    <a:pt x="519" y="12470"/>
                  </a:lnTo>
                  <a:lnTo>
                    <a:pt x="186" y="11339"/>
                  </a:lnTo>
                  <a:lnTo>
                    <a:pt x="511" y="10237"/>
                  </a:lnTo>
                  <a:lnTo>
                    <a:pt x="343" y="9839"/>
                  </a:lnTo>
                  <a:lnTo>
                    <a:pt x="0" y="9937"/>
                  </a:lnTo>
                  <a:lnTo>
                    <a:pt x="587" y="9273"/>
                  </a:lnTo>
                  <a:cubicBezTo>
                    <a:pt x="704" y="9088"/>
                    <a:pt x="822" y="8902"/>
                    <a:pt x="939" y="8717"/>
                  </a:cubicBezTo>
                  <a:cubicBezTo>
                    <a:pt x="1056" y="8532"/>
                    <a:pt x="1173" y="8347"/>
                    <a:pt x="1291" y="8162"/>
                  </a:cubicBezTo>
                  <a:lnTo>
                    <a:pt x="2147" y="9216"/>
                  </a:lnTo>
                  <a:lnTo>
                    <a:pt x="2988" y="8078"/>
                  </a:lnTo>
                  <a:lnTo>
                    <a:pt x="3674" y="8964"/>
                  </a:lnTo>
                  <a:lnTo>
                    <a:pt x="4816" y="9005"/>
                  </a:lnTo>
                  <a:lnTo>
                    <a:pt x="5343" y="8505"/>
                  </a:lnTo>
                  <a:lnTo>
                    <a:pt x="6457" y="8588"/>
                  </a:lnTo>
                  <a:lnTo>
                    <a:pt x="6708" y="7271"/>
                  </a:lnTo>
                  <a:lnTo>
                    <a:pt x="6459" y="6482"/>
                  </a:lnTo>
                  <a:lnTo>
                    <a:pt x="7867" y="6822"/>
                  </a:lnTo>
                  <a:lnTo>
                    <a:pt x="9242" y="6950"/>
                  </a:lnTo>
                  <a:lnTo>
                    <a:pt x="9751" y="6628"/>
                  </a:lnTo>
                  <a:lnTo>
                    <a:pt x="10789" y="6515"/>
                  </a:lnTo>
                  <a:lnTo>
                    <a:pt x="10656" y="5449"/>
                  </a:lnTo>
                  <a:lnTo>
                    <a:pt x="9967" y="4711"/>
                  </a:lnTo>
                  <a:lnTo>
                    <a:pt x="9016" y="5235"/>
                  </a:lnTo>
                  <a:lnTo>
                    <a:pt x="8784" y="4388"/>
                  </a:lnTo>
                  <a:lnTo>
                    <a:pt x="8041" y="4313"/>
                  </a:lnTo>
                  <a:lnTo>
                    <a:pt x="8037" y="3259"/>
                  </a:lnTo>
                  <a:lnTo>
                    <a:pt x="8989" y="2790"/>
                  </a:lnTo>
                  <a:lnTo>
                    <a:pt x="9309" y="2186"/>
                  </a:lnTo>
                  <a:lnTo>
                    <a:pt x="10599" y="3393"/>
                  </a:lnTo>
                  <a:lnTo>
                    <a:pt x="11336" y="3123"/>
                  </a:lnTo>
                  <a:lnTo>
                    <a:pt x="11343" y="2402"/>
                  </a:lnTo>
                  <a:lnTo>
                    <a:pt x="11128" y="1758"/>
                  </a:lnTo>
                  <a:lnTo>
                    <a:pt x="12348" y="3565"/>
                  </a:lnTo>
                  <a:lnTo>
                    <a:pt x="12817" y="2188"/>
                  </a:lnTo>
                  <a:lnTo>
                    <a:pt x="13648" y="1400"/>
                  </a:lnTo>
                  <a:lnTo>
                    <a:pt x="14327" y="2204"/>
                  </a:lnTo>
                  <a:lnTo>
                    <a:pt x="14857" y="1305"/>
                  </a:lnTo>
                  <a:lnTo>
                    <a:pt x="14837" y="0"/>
                  </a:lnTo>
                  <a:lnTo>
                    <a:pt x="16036" y="238"/>
                  </a:lnTo>
                  <a:lnTo>
                    <a:pt x="16403" y="1163"/>
                  </a:lnTo>
                  <a:lnTo>
                    <a:pt x="18073" y="767"/>
                  </a:lnTo>
                  <a:lnTo>
                    <a:pt x="18428" y="1824"/>
                  </a:lnTo>
                  <a:lnTo>
                    <a:pt x="18131" y="2420"/>
                  </a:lnTo>
                  <a:lnTo>
                    <a:pt x="19083" y="3122"/>
                  </a:lnTo>
                  <a:lnTo>
                    <a:pt x="18994" y="3781"/>
                  </a:lnTo>
                  <a:lnTo>
                    <a:pt x="19132" y="4482"/>
                  </a:lnTo>
                  <a:lnTo>
                    <a:pt x="20016" y="5200"/>
                  </a:lnTo>
                  <a:lnTo>
                    <a:pt x="20980" y="5012"/>
                  </a:lnTo>
                  <a:lnTo>
                    <a:pt x="21600" y="3996"/>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25" name="线条"/>
            <p:cNvSpPr/>
            <p:nvPr/>
          </p:nvSpPr>
          <p:spPr>
            <a:xfrm>
              <a:off x="6525097" y="4621592"/>
              <a:ext cx="398921" cy="664321"/>
            </a:xfrm>
            <a:custGeom>
              <a:avLst/>
              <a:gdLst/>
              <a:ahLst/>
              <a:cxnLst>
                <a:cxn ang="0">
                  <a:pos x="wd2" y="hd2"/>
                </a:cxn>
                <a:cxn ang="5400000">
                  <a:pos x="wd2" y="hd2"/>
                </a:cxn>
                <a:cxn ang="10800000">
                  <a:pos x="wd2" y="hd2"/>
                </a:cxn>
                <a:cxn ang="16200000">
                  <a:pos x="wd2" y="hd2"/>
                </a:cxn>
              </a:cxnLst>
              <a:rect l="0" t="0" r="r" b="b"/>
              <a:pathLst>
                <a:path w="21600" h="21600" extrusionOk="0">
                  <a:moveTo>
                    <a:pt x="6508" y="0"/>
                  </a:moveTo>
                  <a:lnTo>
                    <a:pt x="6631" y="611"/>
                  </a:lnTo>
                  <a:lnTo>
                    <a:pt x="7835" y="1244"/>
                  </a:lnTo>
                  <a:lnTo>
                    <a:pt x="9309" y="1259"/>
                  </a:lnTo>
                  <a:lnTo>
                    <a:pt x="9259" y="1912"/>
                  </a:lnTo>
                  <a:lnTo>
                    <a:pt x="9700" y="2620"/>
                  </a:lnTo>
                  <a:lnTo>
                    <a:pt x="6988" y="3838"/>
                  </a:lnTo>
                  <a:lnTo>
                    <a:pt x="6490" y="3477"/>
                  </a:lnTo>
                  <a:lnTo>
                    <a:pt x="5644" y="2418"/>
                  </a:lnTo>
                  <a:lnTo>
                    <a:pt x="4939" y="2458"/>
                  </a:lnTo>
                  <a:lnTo>
                    <a:pt x="4089" y="2367"/>
                  </a:lnTo>
                  <a:lnTo>
                    <a:pt x="3391" y="2986"/>
                  </a:lnTo>
                  <a:lnTo>
                    <a:pt x="3898" y="4325"/>
                  </a:lnTo>
                  <a:lnTo>
                    <a:pt x="2645" y="4580"/>
                  </a:lnTo>
                  <a:lnTo>
                    <a:pt x="2120" y="5120"/>
                  </a:lnTo>
                  <a:lnTo>
                    <a:pt x="2365" y="6095"/>
                  </a:lnTo>
                  <a:lnTo>
                    <a:pt x="1651" y="6610"/>
                  </a:lnTo>
                  <a:lnTo>
                    <a:pt x="179" y="6481"/>
                  </a:lnTo>
                  <a:lnTo>
                    <a:pt x="0" y="7183"/>
                  </a:lnTo>
                  <a:lnTo>
                    <a:pt x="1541" y="7626"/>
                  </a:lnTo>
                  <a:lnTo>
                    <a:pt x="1916" y="8458"/>
                  </a:lnTo>
                  <a:lnTo>
                    <a:pt x="3466" y="9028"/>
                  </a:lnTo>
                  <a:lnTo>
                    <a:pt x="4693" y="9247"/>
                  </a:lnTo>
                  <a:lnTo>
                    <a:pt x="6245" y="8721"/>
                  </a:lnTo>
                  <a:lnTo>
                    <a:pt x="6159" y="9507"/>
                  </a:lnTo>
                  <a:lnTo>
                    <a:pt x="6554" y="11431"/>
                  </a:lnTo>
                  <a:lnTo>
                    <a:pt x="6264" y="12124"/>
                  </a:lnTo>
                  <a:lnTo>
                    <a:pt x="5162" y="12223"/>
                  </a:lnTo>
                  <a:lnTo>
                    <a:pt x="3717" y="13165"/>
                  </a:lnTo>
                  <a:lnTo>
                    <a:pt x="3507" y="13878"/>
                  </a:lnTo>
                  <a:lnTo>
                    <a:pt x="4726" y="14753"/>
                  </a:lnTo>
                  <a:lnTo>
                    <a:pt x="5902" y="14856"/>
                  </a:lnTo>
                  <a:lnTo>
                    <a:pt x="7136" y="15013"/>
                  </a:lnTo>
                  <a:lnTo>
                    <a:pt x="7710" y="15657"/>
                  </a:lnTo>
                  <a:lnTo>
                    <a:pt x="6563" y="15961"/>
                  </a:lnTo>
                  <a:lnTo>
                    <a:pt x="6293" y="16422"/>
                  </a:lnTo>
                  <a:lnTo>
                    <a:pt x="6153" y="16951"/>
                  </a:lnTo>
                  <a:lnTo>
                    <a:pt x="6978" y="17642"/>
                  </a:lnTo>
                  <a:lnTo>
                    <a:pt x="6923" y="18232"/>
                  </a:lnTo>
                  <a:lnTo>
                    <a:pt x="7860" y="18913"/>
                  </a:lnTo>
                  <a:lnTo>
                    <a:pt x="8180" y="19837"/>
                  </a:lnTo>
                  <a:lnTo>
                    <a:pt x="8740" y="20402"/>
                  </a:lnTo>
                  <a:lnTo>
                    <a:pt x="10262" y="20006"/>
                  </a:lnTo>
                  <a:lnTo>
                    <a:pt x="12073" y="19106"/>
                  </a:lnTo>
                  <a:lnTo>
                    <a:pt x="12901" y="19566"/>
                  </a:lnTo>
                  <a:lnTo>
                    <a:pt x="12744" y="20106"/>
                  </a:lnTo>
                  <a:lnTo>
                    <a:pt x="11857" y="20890"/>
                  </a:lnTo>
                  <a:lnTo>
                    <a:pt x="12368" y="21360"/>
                  </a:lnTo>
                  <a:lnTo>
                    <a:pt x="13360" y="21034"/>
                  </a:lnTo>
                  <a:lnTo>
                    <a:pt x="14528" y="20297"/>
                  </a:lnTo>
                  <a:lnTo>
                    <a:pt x="14389" y="19644"/>
                  </a:lnTo>
                  <a:lnTo>
                    <a:pt x="15602" y="19896"/>
                  </a:lnTo>
                  <a:lnTo>
                    <a:pt x="17333" y="20767"/>
                  </a:lnTo>
                  <a:lnTo>
                    <a:pt x="20287" y="20925"/>
                  </a:lnTo>
                  <a:lnTo>
                    <a:pt x="21600" y="21600"/>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26" name="线条"/>
            <p:cNvSpPr/>
            <p:nvPr/>
          </p:nvSpPr>
          <p:spPr>
            <a:xfrm>
              <a:off x="6418517" y="5250834"/>
              <a:ext cx="262133" cy="588148"/>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0034" y="337"/>
                  </a:lnTo>
                  <a:lnTo>
                    <a:pt x="18406" y="51"/>
                  </a:lnTo>
                  <a:lnTo>
                    <a:pt x="16368" y="141"/>
                  </a:lnTo>
                  <a:lnTo>
                    <a:pt x="15193" y="752"/>
                  </a:lnTo>
                  <a:lnTo>
                    <a:pt x="12824" y="1081"/>
                  </a:lnTo>
                  <a:lnTo>
                    <a:pt x="11378" y="1615"/>
                  </a:lnTo>
                  <a:lnTo>
                    <a:pt x="9943" y="2414"/>
                  </a:lnTo>
                  <a:lnTo>
                    <a:pt x="6650" y="2762"/>
                  </a:lnTo>
                  <a:lnTo>
                    <a:pt x="4772" y="2629"/>
                  </a:lnTo>
                  <a:lnTo>
                    <a:pt x="3831" y="3299"/>
                  </a:lnTo>
                  <a:lnTo>
                    <a:pt x="1818" y="4425"/>
                  </a:lnTo>
                  <a:lnTo>
                    <a:pt x="4169" y="5472"/>
                  </a:lnTo>
                  <a:lnTo>
                    <a:pt x="4412" y="6448"/>
                  </a:lnTo>
                  <a:lnTo>
                    <a:pt x="6066" y="7299"/>
                  </a:lnTo>
                  <a:lnTo>
                    <a:pt x="3414" y="8418"/>
                  </a:lnTo>
                  <a:lnTo>
                    <a:pt x="3307" y="9104"/>
                  </a:lnTo>
                  <a:lnTo>
                    <a:pt x="967" y="9369"/>
                  </a:lnTo>
                  <a:lnTo>
                    <a:pt x="706" y="10425"/>
                  </a:lnTo>
                  <a:lnTo>
                    <a:pt x="0" y="11227"/>
                  </a:lnTo>
                  <a:lnTo>
                    <a:pt x="347" y="12545"/>
                  </a:lnTo>
                  <a:lnTo>
                    <a:pt x="2347" y="12288"/>
                  </a:lnTo>
                  <a:lnTo>
                    <a:pt x="1887" y="13327"/>
                  </a:lnTo>
                  <a:lnTo>
                    <a:pt x="2592" y="14380"/>
                  </a:lnTo>
                  <a:lnTo>
                    <a:pt x="2488" y="15563"/>
                  </a:lnTo>
                  <a:lnTo>
                    <a:pt x="4983" y="16114"/>
                  </a:lnTo>
                  <a:lnTo>
                    <a:pt x="4460" y="17106"/>
                  </a:lnTo>
                  <a:lnTo>
                    <a:pt x="4057" y="17819"/>
                  </a:lnTo>
                  <a:lnTo>
                    <a:pt x="6377" y="17849"/>
                  </a:lnTo>
                  <a:lnTo>
                    <a:pt x="4659" y="18618"/>
                  </a:lnTo>
                  <a:lnTo>
                    <a:pt x="3834" y="19988"/>
                  </a:lnTo>
                  <a:lnTo>
                    <a:pt x="3729" y="21600"/>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27" name="线条"/>
            <p:cNvSpPr/>
            <p:nvPr/>
          </p:nvSpPr>
          <p:spPr>
            <a:xfrm>
              <a:off x="5869035" y="5230687"/>
              <a:ext cx="572871" cy="546403"/>
            </a:xfrm>
            <a:custGeom>
              <a:avLst/>
              <a:gdLst/>
              <a:ahLst/>
              <a:cxnLst>
                <a:cxn ang="0">
                  <a:pos x="wd2" y="hd2"/>
                </a:cxn>
                <a:cxn ang="5400000">
                  <a:pos x="wd2" y="hd2"/>
                </a:cxn>
                <a:cxn ang="10800000">
                  <a:pos x="wd2" y="hd2"/>
                </a:cxn>
                <a:cxn ang="16200000">
                  <a:pos x="wd2" y="hd2"/>
                </a:cxn>
              </a:cxnLst>
              <a:rect l="0" t="0" r="r" b="b"/>
              <a:pathLst>
                <a:path w="21600" h="21600" extrusionOk="0">
                  <a:moveTo>
                    <a:pt x="21600" y="5561"/>
                  </a:moveTo>
                  <a:lnTo>
                    <a:pt x="21116" y="4711"/>
                  </a:lnTo>
                  <a:lnTo>
                    <a:pt x="20365" y="4412"/>
                  </a:lnTo>
                  <a:lnTo>
                    <a:pt x="20826" y="3348"/>
                  </a:lnTo>
                  <a:lnTo>
                    <a:pt x="20852" y="2216"/>
                  </a:lnTo>
                  <a:lnTo>
                    <a:pt x="19913" y="1202"/>
                  </a:lnTo>
                  <a:lnTo>
                    <a:pt x="18689" y="2346"/>
                  </a:lnTo>
                  <a:lnTo>
                    <a:pt x="18167" y="3468"/>
                  </a:lnTo>
                  <a:lnTo>
                    <a:pt x="17677" y="3198"/>
                  </a:lnTo>
                  <a:lnTo>
                    <a:pt x="17227" y="1854"/>
                  </a:lnTo>
                  <a:lnTo>
                    <a:pt x="16621" y="2650"/>
                  </a:lnTo>
                  <a:lnTo>
                    <a:pt x="15688" y="2614"/>
                  </a:lnTo>
                  <a:lnTo>
                    <a:pt x="14654" y="2973"/>
                  </a:lnTo>
                  <a:lnTo>
                    <a:pt x="12417" y="1214"/>
                  </a:lnTo>
                  <a:lnTo>
                    <a:pt x="11134" y="1073"/>
                  </a:lnTo>
                  <a:lnTo>
                    <a:pt x="9001" y="0"/>
                  </a:lnTo>
                  <a:lnTo>
                    <a:pt x="8044" y="281"/>
                  </a:lnTo>
                  <a:lnTo>
                    <a:pt x="7165" y="358"/>
                  </a:lnTo>
                  <a:lnTo>
                    <a:pt x="7690" y="1817"/>
                  </a:lnTo>
                  <a:lnTo>
                    <a:pt x="6728" y="2630"/>
                  </a:lnTo>
                  <a:lnTo>
                    <a:pt x="5652" y="1928"/>
                  </a:lnTo>
                  <a:lnTo>
                    <a:pt x="4354" y="1935"/>
                  </a:lnTo>
                  <a:lnTo>
                    <a:pt x="3652" y="2622"/>
                  </a:lnTo>
                  <a:lnTo>
                    <a:pt x="3078" y="2833"/>
                  </a:lnTo>
                  <a:lnTo>
                    <a:pt x="2651" y="3494"/>
                  </a:lnTo>
                  <a:lnTo>
                    <a:pt x="1936" y="5328"/>
                  </a:lnTo>
                  <a:lnTo>
                    <a:pt x="2123" y="6209"/>
                  </a:lnTo>
                  <a:lnTo>
                    <a:pt x="1778" y="7387"/>
                  </a:lnTo>
                  <a:lnTo>
                    <a:pt x="1926" y="8715"/>
                  </a:lnTo>
                  <a:lnTo>
                    <a:pt x="2197" y="9784"/>
                  </a:lnTo>
                  <a:lnTo>
                    <a:pt x="2110" y="10754"/>
                  </a:lnTo>
                  <a:lnTo>
                    <a:pt x="2314" y="12184"/>
                  </a:lnTo>
                  <a:lnTo>
                    <a:pt x="2942" y="13191"/>
                  </a:lnTo>
                  <a:lnTo>
                    <a:pt x="2032" y="14122"/>
                  </a:lnTo>
                  <a:lnTo>
                    <a:pt x="1494" y="14118"/>
                  </a:lnTo>
                  <a:lnTo>
                    <a:pt x="0" y="16197"/>
                  </a:lnTo>
                  <a:lnTo>
                    <a:pt x="1629" y="16018"/>
                  </a:lnTo>
                  <a:lnTo>
                    <a:pt x="2921" y="15492"/>
                  </a:lnTo>
                  <a:lnTo>
                    <a:pt x="3639" y="16538"/>
                  </a:lnTo>
                  <a:lnTo>
                    <a:pt x="3162" y="16995"/>
                  </a:lnTo>
                  <a:lnTo>
                    <a:pt x="3020" y="17638"/>
                  </a:lnTo>
                  <a:lnTo>
                    <a:pt x="2446" y="17806"/>
                  </a:lnTo>
                  <a:lnTo>
                    <a:pt x="2727" y="18751"/>
                  </a:lnTo>
                  <a:lnTo>
                    <a:pt x="2163" y="19760"/>
                  </a:lnTo>
                  <a:lnTo>
                    <a:pt x="3119" y="20586"/>
                  </a:lnTo>
                  <a:lnTo>
                    <a:pt x="3098" y="21600"/>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28" name="线条"/>
            <p:cNvSpPr/>
            <p:nvPr/>
          </p:nvSpPr>
          <p:spPr>
            <a:xfrm>
              <a:off x="5823204" y="4821276"/>
              <a:ext cx="785226" cy="545834"/>
            </a:xfrm>
            <a:custGeom>
              <a:avLst/>
              <a:gdLst/>
              <a:ahLst/>
              <a:cxnLst>
                <a:cxn ang="0">
                  <a:pos x="wd2" y="hd2"/>
                </a:cxn>
                <a:cxn ang="5400000">
                  <a:pos x="wd2" y="hd2"/>
                </a:cxn>
                <a:cxn ang="10800000">
                  <a:pos x="wd2" y="hd2"/>
                </a:cxn>
                <a:cxn ang="16200000">
                  <a:pos x="wd2" y="hd2"/>
                </a:cxn>
              </a:cxnLst>
              <a:rect l="0" t="0" r="r" b="b"/>
              <a:pathLst>
                <a:path w="21600" h="21600" extrusionOk="0">
                  <a:moveTo>
                    <a:pt x="2656" y="21600"/>
                  </a:moveTo>
                  <a:lnTo>
                    <a:pt x="2190" y="21240"/>
                  </a:lnTo>
                  <a:lnTo>
                    <a:pt x="2234" y="20622"/>
                  </a:lnTo>
                  <a:lnTo>
                    <a:pt x="1691" y="20407"/>
                  </a:lnTo>
                  <a:lnTo>
                    <a:pt x="1453" y="19218"/>
                  </a:lnTo>
                  <a:lnTo>
                    <a:pt x="748" y="17689"/>
                  </a:lnTo>
                  <a:lnTo>
                    <a:pt x="348" y="18259"/>
                  </a:lnTo>
                  <a:lnTo>
                    <a:pt x="0" y="17929"/>
                  </a:lnTo>
                  <a:lnTo>
                    <a:pt x="367" y="17510"/>
                  </a:lnTo>
                  <a:lnTo>
                    <a:pt x="630" y="15884"/>
                  </a:lnTo>
                  <a:lnTo>
                    <a:pt x="108" y="14805"/>
                  </a:lnTo>
                  <a:lnTo>
                    <a:pt x="497" y="14287"/>
                  </a:lnTo>
                  <a:lnTo>
                    <a:pt x="1098" y="14130"/>
                  </a:lnTo>
                  <a:lnTo>
                    <a:pt x="2238" y="13781"/>
                  </a:lnTo>
                  <a:lnTo>
                    <a:pt x="2964" y="13990"/>
                  </a:lnTo>
                  <a:lnTo>
                    <a:pt x="4600" y="12672"/>
                  </a:lnTo>
                  <a:lnTo>
                    <a:pt x="5393" y="12867"/>
                  </a:lnTo>
                  <a:lnTo>
                    <a:pt x="5606" y="11950"/>
                  </a:lnTo>
                  <a:lnTo>
                    <a:pt x="5576" y="9918"/>
                  </a:lnTo>
                  <a:lnTo>
                    <a:pt x="4657" y="9014"/>
                  </a:lnTo>
                  <a:lnTo>
                    <a:pt x="4265" y="8966"/>
                  </a:lnTo>
                  <a:lnTo>
                    <a:pt x="4263" y="8490"/>
                  </a:lnTo>
                  <a:lnTo>
                    <a:pt x="3923" y="7789"/>
                  </a:lnTo>
                  <a:lnTo>
                    <a:pt x="3905" y="6677"/>
                  </a:lnTo>
                  <a:lnTo>
                    <a:pt x="3620" y="6289"/>
                  </a:lnTo>
                  <a:lnTo>
                    <a:pt x="3893" y="5827"/>
                  </a:lnTo>
                  <a:lnTo>
                    <a:pt x="3387" y="4819"/>
                  </a:lnTo>
                  <a:lnTo>
                    <a:pt x="3985" y="3205"/>
                  </a:lnTo>
                  <a:lnTo>
                    <a:pt x="4958" y="3652"/>
                  </a:lnTo>
                  <a:lnTo>
                    <a:pt x="5646" y="3516"/>
                  </a:lnTo>
                  <a:lnTo>
                    <a:pt x="5166" y="2053"/>
                  </a:lnTo>
                  <a:lnTo>
                    <a:pt x="4724" y="1950"/>
                  </a:lnTo>
                  <a:lnTo>
                    <a:pt x="4416" y="1831"/>
                  </a:lnTo>
                  <a:lnTo>
                    <a:pt x="4417" y="1170"/>
                  </a:lnTo>
                  <a:lnTo>
                    <a:pt x="3946" y="563"/>
                  </a:lnTo>
                  <a:lnTo>
                    <a:pt x="3517" y="434"/>
                  </a:lnTo>
                  <a:lnTo>
                    <a:pt x="3747" y="0"/>
                  </a:lnTo>
                  <a:lnTo>
                    <a:pt x="5086" y="7"/>
                  </a:lnTo>
                  <a:lnTo>
                    <a:pt x="5744" y="595"/>
                  </a:lnTo>
                  <a:lnTo>
                    <a:pt x="6690" y="120"/>
                  </a:lnTo>
                  <a:lnTo>
                    <a:pt x="7052" y="963"/>
                  </a:lnTo>
                  <a:lnTo>
                    <a:pt x="7850" y="80"/>
                  </a:lnTo>
                  <a:lnTo>
                    <a:pt x="8571" y="1167"/>
                  </a:lnTo>
                  <a:lnTo>
                    <a:pt x="8722" y="1977"/>
                  </a:lnTo>
                  <a:lnTo>
                    <a:pt x="9527" y="2610"/>
                  </a:lnTo>
                  <a:lnTo>
                    <a:pt x="9587" y="3406"/>
                  </a:lnTo>
                  <a:lnTo>
                    <a:pt x="10320" y="3560"/>
                  </a:lnTo>
                  <a:lnTo>
                    <a:pt x="11627" y="4853"/>
                  </a:lnTo>
                  <a:lnTo>
                    <a:pt x="12972" y="4481"/>
                  </a:lnTo>
                  <a:lnTo>
                    <a:pt x="13663" y="4447"/>
                  </a:lnTo>
                  <a:lnTo>
                    <a:pt x="14387" y="4207"/>
                  </a:lnTo>
                  <a:lnTo>
                    <a:pt x="15300" y="5094"/>
                  </a:lnTo>
                  <a:lnTo>
                    <a:pt x="15624" y="4538"/>
                  </a:lnTo>
                  <a:lnTo>
                    <a:pt x="15930" y="4346"/>
                  </a:lnTo>
                  <a:lnTo>
                    <a:pt x="16218" y="5261"/>
                  </a:lnTo>
                  <a:lnTo>
                    <a:pt x="16049" y="5852"/>
                  </a:lnTo>
                  <a:lnTo>
                    <a:pt x="16543" y="6971"/>
                  </a:lnTo>
                  <a:lnTo>
                    <a:pt x="17177" y="7354"/>
                  </a:lnTo>
                  <a:lnTo>
                    <a:pt x="17519" y="6800"/>
                  </a:lnTo>
                  <a:lnTo>
                    <a:pt x="18264" y="7453"/>
                  </a:lnTo>
                  <a:lnTo>
                    <a:pt x="18764" y="8397"/>
                  </a:lnTo>
                  <a:lnTo>
                    <a:pt x="19855" y="8832"/>
                  </a:lnTo>
                  <a:lnTo>
                    <a:pt x="20446" y="8156"/>
                  </a:lnTo>
                  <a:lnTo>
                    <a:pt x="20796" y="9051"/>
                  </a:lnTo>
                  <a:lnTo>
                    <a:pt x="21600" y="9820"/>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29" name="线条"/>
            <p:cNvSpPr/>
            <p:nvPr/>
          </p:nvSpPr>
          <p:spPr>
            <a:xfrm>
              <a:off x="5528514" y="3978126"/>
              <a:ext cx="584167" cy="1052047"/>
            </a:xfrm>
            <a:custGeom>
              <a:avLst/>
              <a:gdLst/>
              <a:ahLst/>
              <a:cxnLst>
                <a:cxn ang="0">
                  <a:pos x="wd2" y="hd2"/>
                </a:cxn>
                <a:cxn ang="5400000">
                  <a:pos x="wd2" y="hd2"/>
                </a:cxn>
                <a:cxn ang="10800000">
                  <a:pos x="wd2" y="hd2"/>
                </a:cxn>
                <a:cxn ang="16200000">
                  <a:pos x="wd2" y="hd2"/>
                </a:cxn>
              </a:cxnLst>
              <a:rect l="0" t="0" r="r" b="b"/>
              <a:pathLst>
                <a:path w="21600" h="21600" extrusionOk="0">
                  <a:moveTo>
                    <a:pt x="21548" y="513"/>
                  </a:moveTo>
                  <a:lnTo>
                    <a:pt x="21600" y="0"/>
                  </a:lnTo>
                  <a:lnTo>
                    <a:pt x="20767" y="150"/>
                  </a:lnTo>
                  <a:lnTo>
                    <a:pt x="19744" y="1026"/>
                  </a:lnTo>
                  <a:lnTo>
                    <a:pt x="19442" y="780"/>
                  </a:lnTo>
                  <a:lnTo>
                    <a:pt x="18687" y="870"/>
                  </a:lnTo>
                  <a:lnTo>
                    <a:pt x="17867" y="505"/>
                  </a:lnTo>
                  <a:lnTo>
                    <a:pt x="17881" y="1044"/>
                  </a:lnTo>
                  <a:lnTo>
                    <a:pt x="17145" y="1135"/>
                  </a:lnTo>
                  <a:lnTo>
                    <a:pt x="16002" y="1849"/>
                  </a:lnTo>
                  <a:lnTo>
                    <a:pt x="15875" y="2317"/>
                  </a:lnTo>
                  <a:lnTo>
                    <a:pt x="15181" y="2413"/>
                  </a:lnTo>
                  <a:lnTo>
                    <a:pt x="14754" y="2751"/>
                  </a:lnTo>
                  <a:lnTo>
                    <a:pt x="13703" y="3496"/>
                  </a:lnTo>
                  <a:lnTo>
                    <a:pt x="13590" y="3961"/>
                  </a:lnTo>
                  <a:lnTo>
                    <a:pt x="13907" y="4460"/>
                  </a:lnTo>
                  <a:lnTo>
                    <a:pt x="13569" y="4750"/>
                  </a:lnTo>
                  <a:lnTo>
                    <a:pt x="13049" y="4376"/>
                  </a:lnTo>
                  <a:lnTo>
                    <a:pt x="12878" y="5107"/>
                  </a:lnTo>
                  <a:lnTo>
                    <a:pt x="11896" y="5389"/>
                  </a:lnTo>
                  <a:lnTo>
                    <a:pt x="10375" y="5444"/>
                  </a:lnTo>
                  <a:lnTo>
                    <a:pt x="9968" y="5075"/>
                  </a:lnTo>
                  <a:lnTo>
                    <a:pt x="9315" y="4784"/>
                  </a:lnTo>
                  <a:lnTo>
                    <a:pt x="8750" y="4763"/>
                  </a:lnTo>
                  <a:lnTo>
                    <a:pt x="7603" y="5301"/>
                  </a:lnTo>
                  <a:lnTo>
                    <a:pt x="7183" y="5972"/>
                  </a:lnTo>
                  <a:lnTo>
                    <a:pt x="7512" y="6618"/>
                  </a:lnTo>
                  <a:lnTo>
                    <a:pt x="7311" y="6984"/>
                  </a:lnTo>
                  <a:lnTo>
                    <a:pt x="8100" y="7417"/>
                  </a:lnTo>
                  <a:lnTo>
                    <a:pt x="9207" y="7731"/>
                  </a:lnTo>
                  <a:lnTo>
                    <a:pt x="10190" y="8354"/>
                  </a:lnTo>
                  <a:lnTo>
                    <a:pt x="11029" y="8291"/>
                  </a:lnTo>
                  <a:lnTo>
                    <a:pt x="11921" y="8704"/>
                  </a:lnTo>
                  <a:lnTo>
                    <a:pt x="12750" y="9010"/>
                  </a:lnTo>
                  <a:lnTo>
                    <a:pt x="12518" y="9815"/>
                  </a:lnTo>
                  <a:lnTo>
                    <a:pt x="11758" y="10335"/>
                  </a:lnTo>
                  <a:lnTo>
                    <a:pt x="12050" y="11043"/>
                  </a:lnTo>
                  <a:lnTo>
                    <a:pt x="12197" y="11584"/>
                  </a:lnTo>
                  <a:lnTo>
                    <a:pt x="11613" y="11863"/>
                  </a:lnTo>
                  <a:lnTo>
                    <a:pt x="10844" y="11744"/>
                  </a:lnTo>
                  <a:lnTo>
                    <a:pt x="9715" y="11854"/>
                  </a:lnTo>
                  <a:lnTo>
                    <a:pt x="8948" y="11724"/>
                  </a:lnTo>
                  <a:lnTo>
                    <a:pt x="8639" y="11976"/>
                  </a:lnTo>
                  <a:lnTo>
                    <a:pt x="9363" y="12603"/>
                  </a:lnTo>
                  <a:lnTo>
                    <a:pt x="8849" y="12676"/>
                  </a:lnTo>
                  <a:lnTo>
                    <a:pt x="8070" y="12654"/>
                  </a:lnTo>
                  <a:lnTo>
                    <a:pt x="7078" y="12678"/>
                  </a:lnTo>
                  <a:lnTo>
                    <a:pt x="6664" y="12834"/>
                  </a:lnTo>
                  <a:lnTo>
                    <a:pt x="6045" y="12447"/>
                  </a:lnTo>
                  <a:lnTo>
                    <a:pt x="5050" y="12223"/>
                  </a:lnTo>
                  <a:lnTo>
                    <a:pt x="4256" y="12403"/>
                  </a:lnTo>
                  <a:lnTo>
                    <a:pt x="4436" y="12958"/>
                  </a:lnTo>
                  <a:lnTo>
                    <a:pt x="3538" y="13772"/>
                  </a:lnTo>
                  <a:lnTo>
                    <a:pt x="4532" y="13810"/>
                  </a:lnTo>
                  <a:lnTo>
                    <a:pt x="4832" y="14401"/>
                  </a:lnTo>
                  <a:lnTo>
                    <a:pt x="4279" y="14628"/>
                  </a:lnTo>
                  <a:lnTo>
                    <a:pt x="4291" y="15129"/>
                  </a:lnTo>
                  <a:lnTo>
                    <a:pt x="4000" y="15343"/>
                  </a:lnTo>
                  <a:lnTo>
                    <a:pt x="3915" y="15832"/>
                  </a:lnTo>
                  <a:lnTo>
                    <a:pt x="4264" y="16297"/>
                  </a:lnTo>
                  <a:lnTo>
                    <a:pt x="3995" y="16408"/>
                  </a:lnTo>
                  <a:lnTo>
                    <a:pt x="3556" y="16239"/>
                  </a:lnTo>
                  <a:lnTo>
                    <a:pt x="2809" y="16299"/>
                  </a:lnTo>
                  <a:lnTo>
                    <a:pt x="1806" y="16191"/>
                  </a:lnTo>
                  <a:lnTo>
                    <a:pt x="1165" y="16439"/>
                  </a:lnTo>
                  <a:lnTo>
                    <a:pt x="662" y="17067"/>
                  </a:lnTo>
                  <a:lnTo>
                    <a:pt x="1662" y="17214"/>
                  </a:lnTo>
                  <a:lnTo>
                    <a:pt x="1389" y="17712"/>
                  </a:lnTo>
                  <a:lnTo>
                    <a:pt x="879" y="18075"/>
                  </a:lnTo>
                  <a:lnTo>
                    <a:pt x="0" y="17984"/>
                  </a:lnTo>
                  <a:lnTo>
                    <a:pt x="352" y="18642"/>
                  </a:lnTo>
                  <a:lnTo>
                    <a:pt x="1920" y="18302"/>
                  </a:lnTo>
                  <a:lnTo>
                    <a:pt x="2783" y="18757"/>
                  </a:lnTo>
                  <a:lnTo>
                    <a:pt x="3686" y="18873"/>
                  </a:lnTo>
                  <a:lnTo>
                    <a:pt x="5007" y="18591"/>
                  </a:lnTo>
                  <a:lnTo>
                    <a:pt x="6081" y="18689"/>
                  </a:lnTo>
                  <a:lnTo>
                    <a:pt x="5888" y="19268"/>
                  </a:lnTo>
                  <a:lnTo>
                    <a:pt x="6880" y="19441"/>
                  </a:lnTo>
                  <a:lnTo>
                    <a:pt x="7326" y="19143"/>
                  </a:lnTo>
                  <a:lnTo>
                    <a:pt x="7841" y="19606"/>
                  </a:lnTo>
                  <a:lnTo>
                    <a:pt x="8733" y="19826"/>
                  </a:lnTo>
                  <a:lnTo>
                    <a:pt x="9297" y="20284"/>
                  </a:lnTo>
                  <a:lnTo>
                    <a:pt x="10182" y="19949"/>
                  </a:lnTo>
                  <a:lnTo>
                    <a:pt x="11708" y="19957"/>
                  </a:lnTo>
                  <a:lnTo>
                    <a:pt x="12930" y="20631"/>
                  </a:lnTo>
                  <a:lnTo>
                    <a:pt x="14175" y="20946"/>
                  </a:lnTo>
                  <a:lnTo>
                    <a:pt x="14825" y="21600"/>
                  </a:lnTo>
                  <a:lnTo>
                    <a:pt x="16395" y="21468"/>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30" name="线条"/>
            <p:cNvSpPr/>
            <p:nvPr/>
          </p:nvSpPr>
          <p:spPr>
            <a:xfrm>
              <a:off x="5490364" y="4954171"/>
              <a:ext cx="362939" cy="483719"/>
            </a:xfrm>
            <a:custGeom>
              <a:avLst/>
              <a:gdLst/>
              <a:ahLst/>
              <a:cxnLst>
                <a:cxn ang="0">
                  <a:pos x="wd2" y="hd2"/>
                </a:cxn>
                <a:cxn ang="5400000">
                  <a:pos x="wd2" y="hd2"/>
                </a:cxn>
                <a:cxn ang="10800000">
                  <a:pos x="wd2" y="hd2"/>
                </a:cxn>
                <a:cxn ang="16200000">
                  <a:pos x="wd2" y="hd2"/>
                </a:cxn>
              </a:cxnLst>
              <a:rect l="0" t="0" r="r" b="b"/>
              <a:pathLst>
                <a:path w="21600" h="21600" extrusionOk="0">
                  <a:moveTo>
                    <a:pt x="20827" y="0"/>
                  </a:moveTo>
                  <a:lnTo>
                    <a:pt x="19949" y="954"/>
                  </a:lnTo>
                  <a:lnTo>
                    <a:pt x="19323" y="964"/>
                  </a:lnTo>
                  <a:lnTo>
                    <a:pt x="19225" y="1983"/>
                  </a:lnTo>
                  <a:lnTo>
                    <a:pt x="21600" y="3183"/>
                  </a:lnTo>
                  <a:lnTo>
                    <a:pt x="20108" y="4008"/>
                  </a:lnTo>
                  <a:lnTo>
                    <a:pt x="19114" y="4427"/>
                  </a:lnTo>
                  <a:lnTo>
                    <a:pt x="18180" y="5448"/>
                  </a:lnTo>
                  <a:lnTo>
                    <a:pt x="17684" y="6752"/>
                  </a:lnTo>
                  <a:lnTo>
                    <a:pt x="17066" y="8388"/>
                  </a:lnTo>
                  <a:lnTo>
                    <a:pt x="16146" y="8013"/>
                  </a:lnTo>
                  <a:lnTo>
                    <a:pt x="15001" y="8281"/>
                  </a:lnTo>
                  <a:lnTo>
                    <a:pt x="13862" y="8429"/>
                  </a:lnTo>
                  <a:lnTo>
                    <a:pt x="13780" y="9618"/>
                  </a:lnTo>
                  <a:lnTo>
                    <a:pt x="11637" y="12487"/>
                  </a:lnTo>
                  <a:lnTo>
                    <a:pt x="9532" y="12639"/>
                  </a:lnTo>
                  <a:lnTo>
                    <a:pt x="8851" y="11973"/>
                  </a:lnTo>
                  <a:lnTo>
                    <a:pt x="8765" y="10910"/>
                  </a:lnTo>
                  <a:lnTo>
                    <a:pt x="5939" y="11867"/>
                  </a:lnTo>
                  <a:lnTo>
                    <a:pt x="5497" y="11032"/>
                  </a:lnTo>
                  <a:lnTo>
                    <a:pt x="3362" y="10298"/>
                  </a:lnTo>
                  <a:lnTo>
                    <a:pt x="2431" y="10975"/>
                  </a:lnTo>
                  <a:lnTo>
                    <a:pt x="1745" y="11883"/>
                  </a:lnTo>
                  <a:lnTo>
                    <a:pt x="2605" y="12787"/>
                  </a:lnTo>
                  <a:lnTo>
                    <a:pt x="2311" y="13795"/>
                  </a:lnTo>
                  <a:lnTo>
                    <a:pt x="1463" y="14513"/>
                  </a:lnTo>
                  <a:lnTo>
                    <a:pt x="281" y="14933"/>
                  </a:lnTo>
                  <a:lnTo>
                    <a:pt x="0" y="15657"/>
                  </a:lnTo>
                  <a:lnTo>
                    <a:pt x="1231" y="16299"/>
                  </a:lnTo>
                  <a:lnTo>
                    <a:pt x="1392" y="17226"/>
                  </a:lnTo>
                  <a:lnTo>
                    <a:pt x="2636" y="17319"/>
                  </a:lnTo>
                  <a:lnTo>
                    <a:pt x="2800" y="18860"/>
                  </a:lnTo>
                  <a:lnTo>
                    <a:pt x="5523" y="19394"/>
                  </a:lnTo>
                  <a:lnTo>
                    <a:pt x="6242" y="20402"/>
                  </a:lnTo>
                  <a:lnTo>
                    <a:pt x="6372" y="21600"/>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31" name="线条"/>
            <p:cNvSpPr/>
            <p:nvPr/>
          </p:nvSpPr>
          <p:spPr>
            <a:xfrm>
              <a:off x="4677645" y="5277727"/>
              <a:ext cx="795372" cy="460709"/>
            </a:xfrm>
            <a:custGeom>
              <a:avLst/>
              <a:gdLst/>
              <a:ahLst/>
              <a:cxnLst>
                <a:cxn ang="0">
                  <a:pos x="wd2" y="hd2"/>
                </a:cxn>
                <a:cxn ang="5400000">
                  <a:pos x="wd2" y="hd2"/>
                </a:cxn>
                <a:cxn ang="10800000">
                  <a:pos x="wd2" y="hd2"/>
                </a:cxn>
                <a:cxn ang="16200000">
                  <a:pos x="wd2" y="hd2"/>
                </a:cxn>
              </a:cxnLst>
              <a:rect l="0" t="0" r="r" b="b"/>
              <a:pathLst>
                <a:path w="21600" h="21600" extrusionOk="0">
                  <a:moveTo>
                    <a:pt x="21600" y="11273"/>
                  </a:moveTo>
                  <a:lnTo>
                    <a:pt x="21528" y="10370"/>
                  </a:lnTo>
                  <a:lnTo>
                    <a:pt x="20958" y="9695"/>
                  </a:lnTo>
                  <a:lnTo>
                    <a:pt x="20162" y="10781"/>
                  </a:lnTo>
                  <a:lnTo>
                    <a:pt x="19556" y="11197"/>
                  </a:lnTo>
                  <a:lnTo>
                    <a:pt x="18738" y="10305"/>
                  </a:lnTo>
                  <a:lnTo>
                    <a:pt x="19055" y="9378"/>
                  </a:lnTo>
                  <a:lnTo>
                    <a:pt x="19248" y="8343"/>
                  </a:lnTo>
                  <a:lnTo>
                    <a:pt x="18762" y="8008"/>
                  </a:lnTo>
                  <a:lnTo>
                    <a:pt x="18634" y="6968"/>
                  </a:lnTo>
                  <a:lnTo>
                    <a:pt x="19044" y="5915"/>
                  </a:lnTo>
                  <a:lnTo>
                    <a:pt x="18057" y="6101"/>
                  </a:lnTo>
                  <a:lnTo>
                    <a:pt x="17323" y="5855"/>
                  </a:lnTo>
                  <a:lnTo>
                    <a:pt x="17085" y="6944"/>
                  </a:lnTo>
                  <a:lnTo>
                    <a:pt x="17498" y="7825"/>
                  </a:lnTo>
                  <a:lnTo>
                    <a:pt x="17160" y="8401"/>
                  </a:lnTo>
                  <a:lnTo>
                    <a:pt x="16644" y="8052"/>
                  </a:lnTo>
                  <a:lnTo>
                    <a:pt x="16078" y="8448"/>
                  </a:lnTo>
                  <a:lnTo>
                    <a:pt x="15908" y="9341"/>
                  </a:lnTo>
                  <a:lnTo>
                    <a:pt x="16387" y="10047"/>
                  </a:lnTo>
                  <a:lnTo>
                    <a:pt x="15709" y="11513"/>
                  </a:lnTo>
                  <a:lnTo>
                    <a:pt x="14777" y="13106"/>
                  </a:lnTo>
                  <a:lnTo>
                    <a:pt x="14384" y="13023"/>
                  </a:lnTo>
                  <a:lnTo>
                    <a:pt x="14099" y="14576"/>
                  </a:lnTo>
                  <a:lnTo>
                    <a:pt x="14103" y="15919"/>
                  </a:lnTo>
                  <a:lnTo>
                    <a:pt x="14428" y="18374"/>
                  </a:lnTo>
                  <a:lnTo>
                    <a:pt x="14246" y="19362"/>
                  </a:lnTo>
                  <a:lnTo>
                    <a:pt x="13238" y="20186"/>
                  </a:lnTo>
                  <a:lnTo>
                    <a:pt x="13049" y="19394"/>
                  </a:lnTo>
                  <a:lnTo>
                    <a:pt x="12585" y="19596"/>
                  </a:lnTo>
                  <a:lnTo>
                    <a:pt x="11465" y="20676"/>
                  </a:lnTo>
                  <a:lnTo>
                    <a:pt x="11319" y="21571"/>
                  </a:lnTo>
                  <a:lnTo>
                    <a:pt x="10642" y="21600"/>
                  </a:lnTo>
                  <a:lnTo>
                    <a:pt x="10495" y="20523"/>
                  </a:lnTo>
                  <a:lnTo>
                    <a:pt x="10301" y="20185"/>
                  </a:lnTo>
                  <a:lnTo>
                    <a:pt x="9883" y="19988"/>
                  </a:lnTo>
                  <a:lnTo>
                    <a:pt x="9981" y="19012"/>
                  </a:lnTo>
                  <a:lnTo>
                    <a:pt x="9410" y="17983"/>
                  </a:lnTo>
                  <a:lnTo>
                    <a:pt x="9664" y="16775"/>
                  </a:lnTo>
                  <a:lnTo>
                    <a:pt x="9376" y="16466"/>
                  </a:lnTo>
                  <a:lnTo>
                    <a:pt x="8757" y="14967"/>
                  </a:lnTo>
                  <a:lnTo>
                    <a:pt x="8886" y="14077"/>
                  </a:lnTo>
                  <a:lnTo>
                    <a:pt x="8567" y="13708"/>
                  </a:lnTo>
                  <a:lnTo>
                    <a:pt x="7509" y="10007"/>
                  </a:lnTo>
                  <a:lnTo>
                    <a:pt x="7540" y="9394"/>
                  </a:lnTo>
                  <a:lnTo>
                    <a:pt x="7029" y="9673"/>
                  </a:lnTo>
                  <a:lnTo>
                    <a:pt x="6821" y="9391"/>
                  </a:lnTo>
                  <a:lnTo>
                    <a:pt x="6289" y="9919"/>
                  </a:lnTo>
                  <a:lnTo>
                    <a:pt x="6169" y="9259"/>
                  </a:lnTo>
                  <a:lnTo>
                    <a:pt x="5581" y="8101"/>
                  </a:lnTo>
                  <a:lnTo>
                    <a:pt x="5625" y="7566"/>
                  </a:lnTo>
                  <a:lnTo>
                    <a:pt x="6244" y="6846"/>
                  </a:lnTo>
                  <a:lnTo>
                    <a:pt x="6046" y="5488"/>
                  </a:lnTo>
                  <a:lnTo>
                    <a:pt x="5335" y="4636"/>
                  </a:lnTo>
                  <a:lnTo>
                    <a:pt x="4934" y="3900"/>
                  </a:lnTo>
                  <a:lnTo>
                    <a:pt x="4891" y="3134"/>
                  </a:lnTo>
                  <a:lnTo>
                    <a:pt x="4472" y="3419"/>
                  </a:lnTo>
                  <a:lnTo>
                    <a:pt x="4188" y="4826"/>
                  </a:lnTo>
                  <a:lnTo>
                    <a:pt x="3952" y="4892"/>
                  </a:lnTo>
                  <a:lnTo>
                    <a:pt x="3487" y="6667"/>
                  </a:lnTo>
                  <a:lnTo>
                    <a:pt x="3299" y="6016"/>
                  </a:lnTo>
                  <a:lnTo>
                    <a:pt x="3038" y="3579"/>
                  </a:lnTo>
                  <a:lnTo>
                    <a:pt x="3146" y="2348"/>
                  </a:lnTo>
                  <a:lnTo>
                    <a:pt x="3339" y="1391"/>
                  </a:lnTo>
                  <a:lnTo>
                    <a:pt x="3283" y="0"/>
                  </a:lnTo>
                  <a:lnTo>
                    <a:pt x="2910" y="156"/>
                  </a:lnTo>
                  <a:lnTo>
                    <a:pt x="2734" y="1517"/>
                  </a:lnTo>
                  <a:lnTo>
                    <a:pt x="2445" y="2781"/>
                  </a:lnTo>
                  <a:lnTo>
                    <a:pt x="2286" y="2201"/>
                  </a:lnTo>
                  <a:lnTo>
                    <a:pt x="1972" y="1517"/>
                  </a:lnTo>
                  <a:lnTo>
                    <a:pt x="1669" y="2461"/>
                  </a:lnTo>
                  <a:lnTo>
                    <a:pt x="1436" y="4110"/>
                  </a:lnTo>
                  <a:lnTo>
                    <a:pt x="1692" y="5403"/>
                  </a:lnTo>
                  <a:lnTo>
                    <a:pt x="1481" y="6518"/>
                  </a:lnTo>
                  <a:lnTo>
                    <a:pt x="879" y="6859"/>
                  </a:lnTo>
                  <a:lnTo>
                    <a:pt x="372" y="5128"/>
                  </a:lnTo>
                  <a:lnTo>
                    <a:pt x="0" y="6298"/>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32" name="形状"/>
            <p:cNvSpPr/>
            <p:nvPr/>
          </p:nvSpPr>
          <p:spPr>
            <a:xfrm>
              <a:off x="2661788" y="4077645"/>
              <a:ext cx="2142994" cy="1415864"/>
            </a:xfrm>
            <a:custGeom>
              <a:avLst/>
              <a:gdLst/>
              <a:ahLst/>
              <a:cxnLst>
                <a:cxn ang="0">
                  <a:pos x="wd2" y="hd2"/>
                </a:cxn>
                <a:cxn ang="5400000">
                  <a:pos x="wd2" y="hd2"/>
                </a:cxn>
                <a:cxn ang="10800000">
                  <a:pos x="wd2" y="hd2"/>
                </a:cxn>
                <a:cxn ang="16200000">
                  <a:pos x="wd2" y="hd2"/>
                </a:cxn>
              </a:cxnLst>
              <a:rect l="0" t="0" r="r" b="b"/>
              <a:pathLst>
                <a:path w="21600" h="21600" extrusionOk="0">
                  <a:moveTo>
                    <a:pt x="21493" y="18301"/>
                  </a:moveTo>
                  <a:lnTo>
                    <a:pt x="21466" y="17604"/>
                  </a:lnTo>
                  <a:lnTo>
                    <a:pt x="21491" y="17352"/>
                  </a:lnTo>
                  <a:lnTo>
                    <a:pt x="21600" y="16890"/>
                  </a:lnTo>
                  <a:lnTo>
                    <a:pt x="21547" y="16421"/>
                  </a:lnTo>
                  <a:lnTo>
                    <a:pt x="21542" y="15832"/>
                  </a:lnTo>
                  <a:lnTo>
                    <a:pt x="21565" y="15173"/>
                  </a:lnTo>
                  <a:lnTo>
                    <a:pt x="21328" y="14434"/>
                  </a:lnTo>
                  <a:lnTo>
                    <a:pt x="21240" y="14299"/>
                  </a:lnTo>
                  <a:lnTo>
                    <a:pt x="21272" y="14068"/>
                  </a:lnTo>
                  <a:lnTo>
                    <a:pt x="21490" y="14202"/>
                  </a:lnTo>
                  <a:lnTo>
                    <a:pt x="21595" y="14085"/>
                  </a:lnTo>
                  <a:lnTo>
                    <a:pt x="21370" y="13628"/>
                  </a:lnTo>
                  <a:lnTo>
                    <a:pt x="21159" y="13004"/>
                  </a:lnTo>
                  <a:lnTo>
                    <a:pt x="21104" y="12671"/>
                  </a:lnTo>
                  <a:lnTo>
                    <a:pt x="21045" y="12350"/>
                  </a:lnTo>
                  <a:lnTo>
                    <a:pt x="20988" y="11951"/>
                  </a:lnTo>
                  <a:lnTo>
                    <a:pt x="20582" y="11540"/>
                  </a:lnTo>
                  <a:lnTo>
                    <a:pt x="20344" y="11523"/>
                  </a:lnTo>
                  <a:lnTo>
                    <a:pt x="20039" y="11454"/>
                  </a:lnTo>
                  <a:lnTo>
                    <a:pt x="20062" y="11864"/>
                  </a:lnTo>
                  <a:lnTo>
                    <a:pt x="20000" y="12108"/>
                  </a:lnTo>
                  <a:lnTo>
                    <a:pt x="19850" y="12399"/>
                  </a:lnTo>
                  <a:lnTo>
                    <a:pt x="19379" y="12415"/>
                  </a:lnTo>
                  <a:lnTo>
                    <a:pt x="19225" y="12521"/>
                  </a:lnTo>
                  <a:lnTo>
                    <a:pt x="19279" y="13066"/>
                  </a:lnTo>
                  <a:lnTo>
                    <a:pt x="18972" y="12854"/>
                  </a:lnTo>
                  <a:lnTo>
                    <a:pt x="18850" y="12519"/>
                  </a:lnTo>
                  <a:lnTo>
                    <a:pt x="18717" y="12489"/>
                  </a:lnTo>
                  <a:lnTo>
                    <a:pt x="18636" y="13114"/>
                  </a:lnTo>
                  <a:lnTo>
                    <a:pt x="18446" y="12602"/>
                  </a:lnTo>
                  <a:lnTo>
                    <a:pt x="18269" y="12795"/>
                  </a:lnTo>
                  <a:lnTo>
                    <a:pt x="18122" y="12625"/>
                  </a:lnTo>
                  <a:lnTo>
                    <a:pt x="17961" y="12628"/>
                  </a:lnTo>
                  <a:lnTo>
                    <a:pt x="17802" y="12259"/>
                  </a:lnTo>
                  <a:lnTo>
                    <a:pt x="17927" y="11709"/>
                  </a:lnTo>
                  <a:lnTo>
                    <a:pt x="17811" y="11680"/>
                  </a:lnTo>
                  <a:lnTo>
                    <a:pt x="17641" y="11458"/>
                  </a:lnTo>
                  <a:lnTo>
                    <a:pt x="17709" y="11295"/>
                  </a:lnTo>
                  <a:lnTo>
                    <a:pt x="17397" y="11065"/>
                  </a:lnTo>
                  <a:lnTo>
                    <a:pt x="17183" y="10679"/>
                  </a:lnTo>
                  <a:lnTo>
                    <a:pt x="16613" y="10813"/>
                  </a:lnTo>
                  <a:lnTo>
                    <a:pt x="16122" y="10549"/>
                  </a:lnTo>
                  <a:lnTo>
                    <a:pt x="15979" y="10687"/>
                  </a:lnTo>
                  <a:lnTo>
                    <a:pt x="15379" y="9941"/>
                  </a:lnTo>
                  <a:lnTo>
                    <a:pt x="14940" y="9930"/>
                  </a:lnTo>
                  <a:lnTo>
                    <a:pt x="14691" y="9791"/>
                  </a:lnTo>
                  <a:lnTo>
                    <a:pt x="14626" y="9535"/>
                  </a:lnTo>
                  <a:lnTo>
                    <a:pt x="14275" y="9351"/>
                  </a:lnTo>
                  <a:lnTo>
                    <a:pt x="14065" y="9217"/>
                  </a:lnTo>
                  <a:lnTo>
                    <a:pt x="13665" y="8605"/>
                  </a:lnTo>
                  <a:lnTo>
                    <a:pt x="13529" y="8492"/>
                  </a:lnTo>
                  <a:lnTo>
                    <a:pt x="13145" y="8289"/>
                  </a:lnTo>
                  <a:lnTo>
                    <a:pt x="12737" y="7729"/>
                  </a:lnTo>
                  <a:lnTo>
                    <a:pt x="12620" y="7595"/>
                  </a:lnTo>
                  <a:lnTo>
                    <a:pt x="12282" y="6843"/>
                  </a:lnTo>
                  <a:lnTo>
                    <a:pt x="12247" y="6450"/>
                  </a:lnTo>
                  <a:lnTo>
                    <a:pt x="12283" y="6221"/>
                  </a:lnTo>
                  <a:lnTo>
                    <a:pt x="12470" y="6065"/>
                  </a:lnTo>
                  <a:lnTo>
                    <a:pt x="12559" y="5611"/>
                  </a:lnTo>
                  <a:lnTo>
                    <a:pt x="12512" y="5176"/>
                  </a:lnTo>
                  <a:lnTo>
                    <a:pt x="12663" y="4863"/>
                  </a:lnTo>
                  <a:lnTo>
                    <a:pt x="12548" y="4768"/>
                  </a:lnTo>
                  <a:lnTo>
                    <a:pt x="12397" y="4793"/>
                  </a:lnTo>
                  <a:lnTo>
                    <a:pt x="12443" y="4368"/>
                  </a:lnTo>
                  <a:lnTo>
                    <a:pt x="12359" y="4067"/>
                  </a:lnTo>
                  <a:lnTo>
                    <a:pt x="12421" y="3827"/>
                  </a:lnTo>
                  <a:lnTo>
                    <a:pt x="12633" y="3675"/>
                  </a:lnTo>
                  <a:lnTo>
                    <a:pt x="12761" y="3391"/>
                  </a:lnTo>
                  <a:lnTo>
                    <a:pt x="12799" y="2897"/>
                  </a:lnTo>
                  <a:lnTo>
                    <a:pt x="12637" y="2760"/>
                  </a:lnTo>
                  <a:lnTo>
                    <a:pt x="12599" y="2595"/>
                  </a:lnTo>
                  <a:lnTo>
                    <a:pt x="12925" y="2481"/>
                  </a:lnTo>
                  <a:lnTo>
                    <a:pt x="12394" y="1970"/>
                  </a:lnTo>
                  <a:lnTo>
                    <a:pt x="12092" y="1631"/>
                  </a:lnTo>
                  <a:lnTo>
                    <a:pt x="11915" y="1781"/>
                  </a:lnTo>
                  <a:lnTo>
                    <a:pt x="11806" y="1422"/>
                  </a:lnTo>
                  <a:lnTo>
                    <a:pt x="11661" y="1238"/>
                  </a:lnTo>
                  <a:lnTo>
                    <a:pt x="11023" y="1312"/>
                  </a:lnTo>
                  <a:lnTo>
                    <a:pt x="10678" y="1267"/>
                  </a:lnTo>
                  <a:lnTo>
                    <a:pt x="10602" y="1006"/>
                  </a:lnTo>
                  <a:lnTo>
                    <a:pt x="10259" y="1106"/>
                  </a:lnTo>
                  <a:lnTo>
                    <a:pt x="10027" y="1062"/>
                  </a:lnTo>
                  <a:lnTo>
                    <a:pt x="9354" y="1090"/>
                  </a:lnTo>
                  <a:lnTo>
                    <a:pt x="9166" y="1407"/>
                  </a:lnTo>
                  <a:lnTo>
                    <a:pt x="9017" y="1717"/>
                  </a:lnTo>
                  <a:lnTo>
                    <a:pt x="8799" y="1730"/>
                  </a:lnTo>
                  <a:lnTo>
                    <a:pt x="8510" y="1865"/>
                  </a:lnTo>
                  <a:lnTo>
                    <a:pt x="8389" y="1734"/>
                  </a:lnTo>
                  <a:lnTo>
                    <a:pt x="8188" y="1587"/>
                  </a:lnTo>
                  <a:lnTo>
                    <a:pt x="7984" y="1490"/>
                  </a:lnTo>
                  <a:lnTo>
                    <a:pt x="7750" y="1520"/>
                  </a:lnTo>
                  <a:lnTo>
                    <a:pt x="7390" y="1556"/>
                  </a:lnTo>
                  <a:lnTo>
                    <a:pt x="7194" y="1833"/>
                  </a:lnTo>
                  <a:lnTo>
                    <a:pt x="7002" y="1860"/>
                  </a:lnTo>
                  <a:lnTo>
                    <a:pt x="6808" y="1663"/>
                  </a:lnTo>
                  <a:lnTo>
                    <a:pt x="6580" y="1689"/>
                  </a:lnTo>
                  <a:lnTo>
                    <a:pt x="6224" y="1483"/>
                  </a:lnTo>
                  <a:lnTo>
                    <a:pt x="6008" y="1400"/>
                  </a:lnTo>
                  <a:lnTo>
                    <a:pt x="5933" y="1037"/>
                  </a:lnTo>
                  <a:lnTo>
                    <a:pt x="5955" y="768"/>
                  </a:lnTo>
                  <a:lnTo>
                    <a:pt x="5720" y="618"/>
                  </a:lnTo>
                  <a:lnTo>
                    <a:pt x="5513" y="510"/>
                  </a:lnTo>
                  <a:lnTo>
                    <a:pt x="5350" y="442"/>
                  </a:lnTo>
                  <a:lnTo>
                    <a:pt x="5234" y="680"/>
                  </a:lnTo>
                  <a:lnTo>
                    <a:pt x="5006" y="734"/>
                  </a:lnTo>
                  <a:lnTo>
                    <a:pt x="4718" y="1016"/>
                  </a:lnTo>
                  <a:lnTo>
                    <a:pt x="4414" y="1017"/>
                  </a:lnTo>
                  <a:lnTo>
                    <a:pt x="4214" y="754"/>
                  </a:lnTo>
                  <a:lnTo>
                    <a:pt x="4099" y="657"/>
                  </a:lnTo>
                  <a:lnTo>
                    <a:pt x="3945" y="424"/>
                  </a:lnTo>
                  <a:lnTo>
                    <a:pt x="3831" y="571"/>
                  </a:lnTo>
                  <a:lnTo>
                    <a:pt x="3593" y="511"/>
                  </a:lnTo>
                  <a:lnTo>
                    <a:pt x="3447" y="291"/>
                  </a:lnTo>
                  <a:lnTo>
                    <a:pt x="3319" y="0"/>
                  </a:lnTo>
                  <a:lnTo>
                    <a:pt x="3195" y="127"/>
                  </a:lnTo>
                  <a:lnTo>
                    <a:pt x="3087" y="433"/>
                  </a:lnTo>
                  <a:lnTo>
                    <a:pt x="2836" y="680"/>
                  </a:lnTo>
                  <a:lnTo>
                    <a:pt x="2546" y="984"/>
                  </a:lnTo>
                  <a:lnTo>
                    <a:pt x="2413" y="1435"/>
                  </a:lnTo>
                  <a:lnTo>
                    <a:pt x="2245" y="1646"/>
                  </a:lnTo>
                  <a:lnTo>
                    <a:pt x="1988" y="1606"/>
                  </a:lnTo>
                  <a:lnTo>
                    <a:pt x="1547" y="1535"/>
                  </a:lnTo>
                  <a:cubicBezTo>
                    <a:pt x="1511" y="1569"/>
                    <a:pt x="1475" y="1603"/>
                    <a:pt x="1439" y="1638"/>
                  </a:cubicBezTo>
                  <a:cubicBezTo>
                    <a:pt x="1404" y="1672"/>
                    <a:pt x="1368" y="1706"/>
                    <a:pt x="1332" y="1741"/>
                  </a:cubicBezTo>
                  <a:lnTo>
                    <a:pt x="1070" y="1838"/>
                  </a:lnTo>
                  <a:lnTo>
                    <a:pt x="1107" y="2365"/>
                  </a:lnTo>
                  <a:lnTo>
                    <a:pt x="958" y="2655"/>
                  </a:lnTo>
                  <a:lnTo>
                    <a:pt x="940" y="3070"/>
                  </a:lnTo>
                  <a:lnTo>
                    <a:pt x="1137" y="3749"/>
                  </a:lnTo>
                  <a:lnTo>
                    <a:pt x="1138" y="4911"/>
                  </a:lnTo>
                  <a:lnTo>
                    <a:pt x="803" y="5314"/>
                  </a:lnTo>
                  <a:lnTo>
                    <a:pt x="498" y="5057"/>
                  </a:lnTo>
                  <a:lnTo>
                    <a:pt x="553" y="4629"/>
                  </a:lnTo>
                  <a:lnTo>
                    <a:pt x="129" y="4650"/>
                  </a:lnTo>
                  <a:lnTo>
                    <a:pt x="162" y="5097"/>
                  </a:lnTo>
                  <a:lnTo>
                    <a:pt x="60" y="5416"/>
                  </a:lnTo>
                  <a:lnTo>
                    <a:pt x="302" y="5953"/>
                  </a:lnTo>
                  <a:lnTo>
                    <a:pt x="145" y="6152"/>
                  </a:lnTo>
                  <a:lnTo>
                    <a:pt x="222" y="6597"/>
                  </a:lnTo>
                  <a:lnTo>
                    <a:pt x="117" y="6745"/>
                  </a:lnTo>
                  <a:lnTo>
                    <a:pt x="0" y="7083"/>
                  </a:lnTo>
                  <a:cubicBezTo>
                    <a:pt x="79" y="7122"/>
                    <a:pt x="146" y="7205"/>
                    <a:pt x="186" y="7316"/>
                  </a:cubicBezTo>
                  <a:cubicBezTo>
                    <a:pt x="244" y="7475"/>
                    <a:pt x="241" y="7668"/>
                    <a:pt x="179" y="7824"/>
                  </a:cubicBezTo>
                  <a:lnTo>
                    <a:pt x="488" y="8084"/>
                  </a:lnTo>
                  <a:cubicBezTo>
                    <a:pt x="515" y="8016"/>
                    <a:pt x="567" y="7981"/>
                    <a:pt x="618" y="7996"/>
                  </a:cubicBezTo>
                  <a:cubicBezTo>
                    <a:pt x="682" y="8014"/>
                    <a:pt x="722" y="8100"/>
                    <a:pt x="763" y="8175"/>
                  </a:cubicBezTo>
                  <a:cubicBezTo>
                    <a:pt x="823" y="8284"/>
                    <a:pt x="894" y="8377"/>
                    <a:pt x="974" y="8451"/>
                  </a:cubicBezTo>
                  <a:lnTo>
                    <a:pt x="1113" y="9085"/>
                  </a:lnTo>
                  <a:cubicBezTo>
                    <a:pt x="1304" y="9257"/>
                    <a:pt x="1480" y="9464"/>
                    <a:pt x="1638" y="9700"/>
                  </a:cubicBezTo>
                  <a:cubicBezTo>
                    <a:pt x="1764" y="9888"/>
                    <a:pt x="1878" y="10095"/>
                    <a:pt x="1978" y="10316"/>
                  </a:cubicBezTo>
                  <a:lnTo>
                    <a:pt x="2075" y="10836"/>
                  </a:lnTo>
                  <a:cubicBezTo>
                    <a:pt x="2187" y="10860"/>
                    <a:pt x="2300" y="10793"/>
                    <a:pt x="2373" y="10661"/>
                  </a:cubicBezTo>
                  <a:cubicBezTo>
                    <a:pt x="2422" y="10570"/>
                    <a:pt x="2448" y="10455"/>
                    <a:pt x="2446" y="10338"/>
                  </a:cubicBezTo>
                  <a:cubicBezTo>
                    <a:pt x="2573" y="10300"/>
                    <a:pt x="2704" y="10315"/>
                    <a:pt x="2827" y="10380"/>
                  </a:cubicBezTo>
                  <a:cubicBezTo>
                    <a:pt x="2965" y="10455"/>
                    <a:pt x="3086" y="10592"/>
                    <a:pt x="3172" y="10773"/>
                  </a:cubicBezTo>
                  <a:lnTo>
                    <a:pt x="3213" y="11321"/>
                  </a:lnTo>
                  <a:lnTo>
                    <a:pt x="3509" y="11671"/>
                  </a:lnTo>
                  <a:lnTo>
                    <a:pt x="3651" y="12188"/>
                  </a:lnTo>
                  <a:lnTo>
                    <a:pt x="4088" y="12638"/>
                  </a:lnTo>
                  <a:lnTo>
                    <a:pt x="4352" y="13588"/>
                  </a:lnTo>
                  <a:lnTo>
                    <a:pt x="4626" y="13537"/>
                  </a:lnTo>
                  <a:cubicBezTo>
                    <a:pt x="4697" y="13468"/>
                    <a:pt x="4786" y="13453"/>
                    <a:pt x="4865" y="13498"/>
                  </a:cubicBezTo>
                  <a:cubicBezTo>
                    <a:pt x="4929" y="13534"/>
                    <a:pt x="4982" y="13606"/>
                    <a:pt x="5012" y="13699"/>
                  </a:cubicBezTo>
                  <a:lnTo>
                    <a:pt x="5010" y="14420"/>
                  </a:lnTo>
                  <a:lnTo>
                    <a:pt x="5425" y="15044"/>
                  </a:lnTo>
                  <a:cubicBezTo>
                    <a:pt x="5464" y="15158"/>
                    <a:pt x="5533" y="15242"/>
                    <a:pt x="5615" y="15273"/>
                  </a:cubicBezTo>
                  <a:cubicBezTo>
                    <a:pt x="5712" y="15310"/>
                    <a:pt x="5814" y="15271"/>
                    <a:pt x="5888" y="15169"/>
                  </a:cubicBezTo>
                  <a:lnTo>
                    <a:pt x="5731" y="15717"/>
                  </a:lnTo>
                  <a:lnTo>
                    <a:pt x="5977" y="16137"/>
                  </a:lnTo>
                  <a:lnTo>
                    <a:pt x="6388" y="16134"/>
                  </a:lnTo>
                  <a:lnTo>
                    <a:pt x="6671" y="17010"/>
                  </a:lnTo>
                  <a:lnTo>
                    <a:pt x="6886" y="16649"/>
                  </a:lnTo>
                  <a:lnTo>
                    <a:pt x="6939" y="17115"/>
                  </a:lnTo>
                  <a:cubicBezTo>
                    <a:pt x="6973" y="17216"/>
                    <a:pt x="7048" y="17268"/>
                    <a:pt x="7121" y="17243"/>
                  </a:cubicBezTo>
                  <a:cubicBezTo>
                    <a:pt x="7199" y="17215"/>
                    <a:pt x="7253" y="17105"/>
                    <a:pt x="7248" y="16984"/>
                  </a:cubicBezTo>
                  <a:cubicBezTo>
                    <a:pt x="7372" y="16985"/>
                    <a:pt x="7493" y="17047"/>
                    <a:pt x="7592" y="17159"/>
                  </a:cubicBezTo>
                  <a:cubicBezTo>
                    <a:pt x="7710" y="17294"/>
                    <a:pt x="7789" y="17491"/>
                    <a:pt x="7815" y="17710"/>
                  </a:cubicBezTo>
                  <a:cubicBezTo>
                    <a:pt x="7924" y="17682"/>
                    <a:pt x="8037" y="17695"/>
                    <a:pt x="8142" y="17747"/>
                  </a:cubicBezTo>
                  <a:cubicBezTo>
                    <a:pt x="8257" y="17804"/>
                    <a:pt x="8360" y="17907"/>
                    <a:pt x="8441" y="18044"/>
                  </a:cubicBezTo>
                  <a:lnTo>
                    <a:pt x="8622" y="17695"/>
                  </a:lnTo>
                  <a:lnTo>
                    <a:pt x="8909" y="17961"/>
                  </a:lnTo>
                  <a:lnTo>
                    <a:pt x="9572" y="17698"/>
                  </a:lnTo>
                  <a:cubicBezTo>
                    <a:pt x="9638" y="17688"/>
                    <a:pt x="9702" y="17725"/>
                    <a:pt x="9748" y="17797"/>
                  </a:cubicBezTo>
                  <a:cubicBezTo>
                    <a:pt x="9832" y="17930"/>
                    <a:pt x="9832" y="18139"/>
                    <a:pt x="9749" y="18273"/>
                  </a:cubicBezTo>
                  <a:lnTo>
                    <a:pt x="9561" y="18883"/>
                  </a:lnTo>
                  <a:lnTo>
                    <a:pt x="9707" y="19380"/>
                  </a:lnTo>
                  <a:lnTo>
                    <a:pt x="9930" y="19380"/>
                  </a:lnTo>
                  <a:lnTo>
                    <a:pt x="9905" y="19139"/>
                  </a:lnTo>
                  <a:lnTo>
                    <a:pt x="9977" y="18842"/>
                  </a:lnTo>
                  <a:lnTo>
                    <a:pt x="10518" y="17982"/>
                  </a:lnTo>
                  <a:lnTo>
                    <a:pt x="10896" y="17978"/>
                  </a:lnTo>
                  <a:cubicBezTo>
                    <a:pt x="11077" y="18011"/>
                    <a:pt x="11254" y="18083"/>
                    <a:pt x="11421" y="18193"/>
                  </a:cubicBezTo>
                  <a:cubicBezTo>
                    <a:pt x="11574" y="18293"/>
                    <a:pt x="11717" y="18424"/>
                    <a:pt x="11847" y="18582"/>
                  </a:cubicBezTo>
                  <a:lnTo>
                    <a:pt x="12213" y="18966"/>
                  </a:lnTo>
                  <a:lnTo>
                    <a:pt x="12619" y="18833"/>
                  </a:lnTo>
                  <a:lnTo>
                    <a:pt x="12856" y="19328"/>
                  </a:lnTo>
                  <a:lnTo>
                    <a:pt x="12827" y="19803"/>
                  </a:lnTo>
                  <a:lnTo>
                    <a:pt x="13066" y="20080"/>
                  </a:lnTo>
                  <a:cubicBezTo>
                    <a:pt x="13145" y="20039"/>
                    <a:pt x="13232" y="20095"/>
                    <a:pt x="13267" y="20210"/>
                  </a:cubicBezTo>
                  <a:cubicBezTo>
                    <a:pt x="13305" y="20338"/>
                    <a:pt x="13268" y="20488"/>
                    <a:pt x="13183" y="20545"/>
                  </a:cubicBezTo>
                  <a:lnTo>
                    <a:pt x="13131" y="20779"/>
                  </a:lnTo>
                  <a:lnTo>
                    <a:pt x="13218" y="21316"/>
                  </a:lnTo>
                  <a:lnTo>
                    <a:pt x="13733" y="21361"/>
                  </a:lnTo>
                  <a:lnTo>
                    <a:pt x="14200" y="21600"/>
                  </a:lnTo>
                  <a:lnTo>
                    <a:pt x="15108" y="21555"/>
                  </a:lnTo>
                  <a:lnTo>
                    <a:pt x="15216" y="21215"/>
                  </a:lnTo>
                  <a:lnTo>
                    <a:pt x="15751" y="20553"/>
                  </a:lnTo>
                  <a:lnTo>
                    <a:pt x="16112" y="20539"/>
                  </a:lnTo>
                  <a:lnTo>
                    <a:pt x="16955" y="20135"/>
                  </a:lnTo>
                  <a:lnTo>
                    <a:pt x="17136" y="19764"/>
                  </a:lnTo>
                  <a:lnTo>
                    <a:pt x="17455" y="19529"/>
                  </a:lnTo>
                  <a:lnTo>
                    <a:pt x="18128" y="19659"/>
                  </a:lnTo>
                  <a:lnTo>
                    <a:pt x="18175" y="20085"/>
                  </a:lnTo>
                  <a:cubicBezTo>
                    <a:pt x="18310" y="20036"/>
                    <a:pt x="18451" y="20084"/>
                    <a:pt x="18559" y="20214"/>
                  </a:cubicBezTo>
                  <a:cubicBezTo>
                    <a:pt x="18631" y="20300"/>
                    <a:pt x="18684" y="20419"/>
                    <a:pt x="18709" y="20553"/>
                  </a:cubicBezTo>
                  <a:lnTo>
                    <a:pt x="18945" y="20942"/>
                  </a:lnTo>
                  <a:lnTo>
                    <a:pt x="19343" y="20673"/>
                  </a:lnTo>
                  <a:lnTo>
                    <a:pt x="19321" y="20021"/>
                  </a:lnTo>
                  <a:lnTo>
                    <a:pt x="19570" y="19875"/>
                  </a:lnTo>
                  <a:lnTo>
                    <a:pt x="19616" y="19412"/>
                  </a:lnTo>
                  <a:cubicBezTo>
                    <a:pt x="19700" y="19347"/>
                    <a:pt x="19803" y="19421"/>
                    <a:pt x="19823" y="19562"/>
                  </a:cubicBezTo>
                  <a:cubicBezTo>
                    <a:pt x="19838" y="19667"/>
                    <a:pt x="19795" y="19786"/>
                    <a:pt x="19838" y="19877"/>
                  </a:cubicBezTo>
                  <a:cubicBezTo>
                    <a:pt x="19891" y="19988"/>
                    <a:pt x="19994" y="19932"/>
                    <a:pt x="20080" y="19949"/>
                  </a:cubicBezTo>
                  <a:cubicBezTo>
                    <a:pt x="20233" y="19979"/>
                    <a:pt x="20322" y="20224"/>
                    <a:pt x="20258" y="20435"/>
                  </a:cubicBezTo>
                  <a:lnTo>
                    <a:pt x="20508" y="20010"/>
                  </a:lnTo>
                  <a:lnTo>
                    <a:pt x="20664" y="20580"/>
                  </a:lnTo>
                  <a:lnTo>
                    <a:pt x="20809" y="20571"/>
                  </a:lnTo>
                  <a:lnTo>
                    <a:pt x="20914" y="20540"/>
                  </a:lnTo>
                  <a:lnTo>
                    <a:pt x="20998" y="20146"/>
                  </a:lnTo>
                  <a:lnTo>
                    <a:pt x="20899" y="19704"/>
                  </a:lnTo>
                  <a:lnTo>
                    <a:pt x="20999" y="19245"/>
                  </a:lnTo>
                  <a:lnTo>
                    <a:pt x="21090" y="18823"/>
                  </a:lnTo>
                  <a:lnTo>
                    <a:pt x="21265" y="19305"/>
                  </a:lnTo>
                  <a:lnTo>
                    <a:pt x="21409" y="18821"/>
                  </a:lnTo>
                  <a:lnTo>
                    <a:pt x="21493" y="18301"/>
                  </a:lnTo>
                  <a:close/>
                </a:path>
              </a:pathLst>
            </a:custGeom>
            <a:solidFill>
              <a:schemeClr val="accent2">
                <a:lumMod val="40000"/>
                <a:lumOff val="60000"/>
              </a:schemeClr>
            </a:solidFill>
            <a:ln w="12700">
              <a:solidFill>
                <a:srgbClr val="FFFFFF"/>
              </a:solidFill>
              <a:miter lim="400000"/>
            </a:ln>
          </p:spPr>
          <p:txBody>
            <a:bodyPr lIns="0" tIns="0" rIns="0" bIns="0" anchor="ctr"/>
            <a:lstStyle/>
            <a:p>
              <a:pPr>
                <a:defRPr sz="3400" b="0">
                  <a:solidFill>
                    <a:srgbClr val="FFFFFF"/>
                  </a:solidFill>
                  <a:latin typeface="+mn-lt"/>
                  <a:ea typeface="+mn-ea"/>
                  <a:cs typeface="+mn-cs"/>
                  <a:sym typeface="Helvetica Neue Medium"/>
                </a:defRPr>
              </a:pPr>
              <a:endParaRPr/>
            </a:p>
          </p:txBody>
        </p:sp>
        <p:sp>
          <p:nvSpPr>
            <p:cNvPr id="533" name="线条"/>
            <p:cNvSpPr/>
            <p:nvPr/>
          </p:nvSpPr>
          <p:spPr>
            <a:xfrm>
              <a:off x="4066051" y="3896127"/>
              <a:ext cx="1464972" cy="996455"/>
            </a:xfrm>
            <a:custGeom>
              <a:avLst/>
              <a:gdLst/>
              <a:ahLst/>
              <a:cxnLst>
                <a:cxn ang="0">
                  <a:pos x="wd2" y="hd2"/>
                </a:cxn>
                <a:cxn ang="5400000">
                  <a:pos x="wd2" y="hd2"/>
                </a:cxn>
                <a:cxn ang="10800000">
                  <a:pos x="wd2" y="hd2"/>
                </a:cxn>
                <a:cxn ang="16200000">
                  <a:pos x="wd2" y="hd2"/>
                </a:cxn>
              </a:cxnLst>
              <a:rect l="0" t="0" r="r" b="b"/>
              <a:pathLst>
                <a:path w="21600" h="21600" extrusionOk="0">
                  <a:moveTo>
                    <a:pt x="0" y="787"/>
                  </a:moveTo>
                  <a:lnTo>
                    <a:pt x="307" y="552"/>
                  </a:lnTo>
                  <a:lnTo>
                    <a:pt x="1107" y="618"/>
                  </a:lnTo>
                  <a:lnTo>
                    <a:pt x="1830" y="409"/>
                  </a:lnTo>
                  <a:lnTo>
                    <a:pt x="2357" y="351"/>
                  </a:lnTo>
                  <a:lnTo>
                    <a:pt x="2917" y="183"/>
                  </a:lnTo>
                  <a:lnTo>
                    <a:pt x="3232" y="0"/>
                  </a:lnTo>
                  <a:lnTo>
                    <a:pt x="4080" y="122"/>
                  </a:lnTo>
                  <a:lnTo>
                    <a:pt x="4193" y="581"/>
                  </a:lnTo>
                  <a:lnTo>
                    <a:pt x="4173" y="1075"/>
                  </a:lnTo>
                  <a:lnTo>
                    <a:pt x="4675" y="1106"/>
                  </a:lnTo>
                  <a:lnTo>
                    <a:pt x="5089" y="1265"/>
                  </a:lnTo>
                  <a:lnTo>
                    <a:pt x="4956" y="1638"/>
                  </a:lnTo>
                  <a:lnTo>
                    <a:pt x="5305" y="1779"/>
                  </a:lnTo>
                  <a:lnTo>
                    <a:pt x="5672" y="1701"/>
                  </a:lnTo>
                  <a:lnTo>
                    <a:pt x="5866" y="2073"/>
                  </a:lnTo>
                  <a:lnTo>
                    <a:pt x="5905" y="2714"/>
                  </a:lnTo>
                  <a:lnTo>
                    <a:pt x="6116" y="3085"/>
                  </a:lnTo>
                  <a:lnTo>
                    <a:pt x="6603" y="2982"/>
                  </a:lnTo>
                  <a:lnTo>
                    <a:pt x="6909" y="3138"/>
                  </a:lnTo>
                  <a:lnTo>
                    <a:pt x="7224" y="3442"/>
                  </a:lnTo>
                  <a:lnTo>
                    <a:pt x="7645" y="3264"/>
                  </a:lnTo>
                  <a:lnTo>
                    <a:pt x="8062" y="3801"/>
                  </a:lnTo>
                  <a:lnTo>
                    <a:pt x="8346" y="4082"/>
                  </a:lnTo>
                  <a:lnTo>
                    <a:pt x="8649" y="3720"/>
                  </a:lnTo>
                  <a:lnTo>
                    <a:pt x="8920" y="3871"/>
                  </a:lnTo>
                  <a:lnTo>
                    <a:pt x="9097" y="3410"/>
                  </a:lnTo>
                  <a:lnTo>
                    <a:pt x="9312" y="2953"/>
                  </a:lnTo>
                  <a:lnTo>
                    <a:pt x="9666" y="3008"/>
                  </a:lnTo>
                  <a:lnTo>
                    <a:pt x="9630" y="2222"/>
                  </a:lnTo>
                  <a:lnTo>
                    <a:pt x="9610" y="1664"/>
                  </a:lnTo>
                  <a:lnTo>
                    <a:pt x="9721" y="1238"/>
                  </a:lnTo>
                  <a:lnTo>
                    <a:pt x="10339" y="1477"/>
                  </a:lnTo>
                  <a:lnTo>
                    <a:pt x="10651" y="1837"/>
                  </a:lnTo>
                  <a:lnTo>
                    <a:pt x="11049" y="2492"/>
                  </a:lnTo>
                  <a:lnTo>
                    <a:pt x="11326" y="2711"/>
                  </a:lnTo>
                  <a:lnTo>
                    <a:pt x="11555" y="2360"/>
                  </a:lnTo>
                  <a:lnTo>
                    <a:pt x="11605" y="2098"/>
                  </a:lnTo>
                  <a:lnTo>
                    <a:pt x="11941" y="2389"/>
                  </a:lnTo>
                  <a:lnTo>
                    <a:pt x="12282" y="2027"/>
                  </a:lnTo>
                  <a:lnTo>
                    <a:pt x="12930" y="3012"/>
                  </a:lnTo>
                  <a:lnTo>
                    <a:pt x="13365" y="3717"/>
                  </a:lnTo>
                  <a:lnTo>
                    <a:pt x="14100" y="4510"/>
                  </a:lnTo>
                  <a:lnTo>
                    <a:pt x="14009" y="3872"/>
                  </a:lnTo>
                  <a:lnTo>
                    <a:pt x="14448" y="4576"/>
                  </a:lnTo>
                  <a:lnTo>
                    <a:pt x="14897" y="4798"/>
                  </a:lnTo>
                  <a:lnTo>
                    <a:pt x="15173" y="5299"/>
                  </a:lnTo>
                  <a:lnTo>
                    <a:pt x="15449" y="6039"/>
                  </a:lnTo>
                  <a:lnTo>
                    <a:pt x="15839" y="5949"/>
                  </a:lnTo>
                  <a:lnTo>
                    <a:pt x="16343" y="6601"/>
                  </a:lnTo>
                  <a:lnTo>
                    <a:pt x="16472" y="6380"/>
                  </a:lnTo>
                  <a:lnTo>
                    <a:pt x="16891" y="6950"/>
                  </a:lnTo>
                  <a:lnTo>
                    <a:pt x="16939" y="7604"/>
                  </a:lnTo>
                  <a:lnTo>
                    <a:pt x="17382" y="8057"/>
                  </a:lnTo>
                  <a:lnTo>
                    <a:pt x="17527" y="8485"/>
                  </a:lnTo>
                  <a:lnTo>
                    <a:pt x="17317" y="8692"/>
                  </a:lnTo>
                  <a:lnTo>
                    <a:pt x="17362" y="9307"/>
                  </a:lnTo>
                  <a:lnTo>
                    <a:pt x="17642" y="9858"/>
                  </a:lnTo>
                  <a:lnTo>
                    <a:pt x="17651" y="10334"/>
                  </a:lnTo>
                  <a:lnTo>
                    <a:pt x="17712" y="10795"/>
                  </a:lnTo>
                  <a:lnTo>
                    <a:pt x="17945" y="11131"/>
                  </a:lnTo>
                  <a:lnTo>
                    <a:pt x="17933" y="12023"/>
                  </a:lnTo>
                  <a:lnTo>
                    <a:pt x="17547" y="12036"/>
                  </a:lnTo>
                  <a:lnTo>
                    <a:pt x="17484" y="12748"/>
                  </a:lnTo>
                  <a:lnTo>
                    <a:pt x="17237" y="12827"/>
                  </a:lnTo>
                  <a:lnTo>
                    <a:pt x="17076" y="13126"/>
                  </a:lnTo>
                  <a:lnTo>
                    <a:pt x="16799" y="13039"/>
                  </a:lnTo>
                  <a:lnTo>
                    <a:pt x="16885" y="13830"/>
                  </a:lnTo>
                  <a:lnTo>
                    <a:pt x="16634" y="14255"/>
                  </a:lnTo>
                  <a:lnTo>
                    <a:pt x="16353" y="14668"/>
                  </a:lnTo>
                  <a:lnTo>
                    <a:pt x="16256" y="15282"/>
                  </a:lnTo>
                  <a:lnTo>
                    <a:pt x="16619" y="16023"/>
                  </a:lnTo>
                  <a:lnTo>
                    <a:pt x="16334" y="16403"/>
                  </a:lnTo>
                  <a:lnTo>
                    <a:pt x="16116" y="16736"/>
                  </a:lnTo>
                  <a:lnTo>
                    <a:pt x="15711" y="16720"/>
                  </a:lnTo>
                  <a:lnTo>
                    <a:pt x="15409" y="16416"/>
                  </a:lnTo>
                  <a:lnTo>
                    <a:pt x="15030" y="16132"/>
                  </a:lnTo>
                  <a:lnTo>
                    <a:pt x="14583" y="15799"/>
                  </a:lnTo>
                  <a:lnTo>
                    <a:pt x="14367" y="16130"/>
                  </a:lnTo>
                  <a:lnTo>
                    <a:pt x="14318" y="16631"/>
                  </a:lnTo>
                  <a:lnTo>
                    <a:pt x="14602" y="17196"/>
                  </a:lnTo>
                  <a:lnTo>
                    <a:pt x="14996" y="17585"/>
                  </a:lnTo>
                  <a:lnTo>
                    <a:pt x="14837" y="18018"/>
                  </a:lnTo>
                  <a:lnTo>
                    <a:pt x="15325" y="17970"/>
                  </a:lnTo>
                  <a:lnTo>
                    <a:pt x="15608" y="18210"/>
                  </a:lnTo>
                  <a:lnTo>
                    <a:pt x="15738" y="18650"/>
                  </a:lnTo>
                  <a:lnTo>
                    <a:pt x="15525" y="19060"/>
                  </a:lnTo>
                  <a:cubicBezTo>
                    <a:pt x="15508" y="19213"/>
                    <a:pt x="15540" y="19358"/>
                    <a:pt x="15603" y="19465"/>
                  </a:cubicBezTo>
                  <a:cubicBezTo>
                    <a:pt x="15665" y="19573"/>
                    <a:pt x="15758" y="19642"/>
                    <a:pt x="15863" y="19642"/>
                  </a:cubicBezTo>
                  <a:cubicBezTo>
                    <a:pt x="15934" y="19642"/>
                    <a:pt x="16003" y="19606"/>
                    <a:pt x="16058" y="19540"/>
                  </a:cubicBezTo>
                  <a:lnTo>
                    <a:pt x="16414" y="19451"/>
                  </a:lnTo>
                  <a:lnTo>
                    <a:pt x="16444" y="18898"/>
                  </a:lnTo>
                  <a:lnTo>
                    <a:pt x="16870" y="18619"/>
                  </a:lnTo>
                  <a:lnTo>
                    <a:pt x="16722" y="17982"/>
                  </a:lnTo>
                  <a:lnTo>
                    <a:pt x="16555" y="17420"/>
                  </a:lnTo>
                  <a:lnTo>
                    <a:pt x="16904" y="17014"/>
                  </a:lnTo>
                  <a:lnTo>
                    <a:pt x="17174" y="16813"/>
                  </a:lnTo>
                  <a:lnTo>
                    <a:pt x="17676" y="16475"/>
                  </a:lnTo>
                  <a:lnTo>
                    <a:pt x="17987" y="17095"/>
                  </a:lnTo>
                  <a:lnTo>
                    <a:pt x="18007" y="17543"/>
                  </a:lnTo>
                  <a:lnTo>
                    <a:pt x="18058" y="18118"/>
                  </a:lnTo>
                  <a:lnTo>
                    <a:pt x="18538" y="18022"/>
                  </a:lnTo>
                  <a:lnTo>
                    <a:pt x="18827" y="18489"/>
                  </a:lnTo>
                  <a:lnTo>
                    <a:pt x="19381" y="18467"/>
                  </a:lnTo>
                  <a:lnTo>
                    <a:pt x="19628" y="19172"/>
                  </a:lnTo>
                  <a:lnTo>
                    <a:pt x="19855" y="19577"/>
                  </a:lnTo>
                  <a:lnTo>
                    <a:pt x="19807" y="20404"/>
                  </a:lnTo>
                  <a:lnTo>
                    <a:pt x="19585" y="20801"/>
                  </a:lnTo>
                  <a:lnTo>
                    <a:pt x="20100" y="21247"/>
                  </a:lnTo>
                  <a:lnTo>
                    <a:pt x="20861" y="21600"/>
                  </a:lnTo>
                  <a:lnTo>
                    <a:pt x="21513" y="21380"/>
                  </a:lnTo>
                  <a:lnTo>
                    <a:pt x="21426" y="21032"/>
                  </a:lnTo>
                  <a:lnTo>
                    <a:pt x="21600" y="20783"/>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34" name="线条"/>
            <p:cNvSpPr/>
            <p:nvPr/>
          </p:nvSpPr>
          <p:spPr>
            <a:xfrm>
              <a:off x="4657206" y="4612874"/>
              <a:ext cx="498867" cy="249797"/>
            </a:xfrm>
            <a:custGeom>
              <a:avLst/>
              <a:gdLst/>
              <a:ahLst/>
              <a:cxnLst>
                <a:cxn ang="0">
                  <a:pos x="wd2" y="hd2"/>
                </a:cxn>
                <a:cxn ang="5400000">
                  <a:pos x="wd2" y="hd2"/>
                </a:cxn>
                <a:cxn ang="10800000">
                  <a:pos x="wd2" y="hd2"/>
                </a:cxn>
                <a:cxn ang="16200000">
                  <a:pos x="wd2" y="hd2"/>
                </a:cxn>
              </a:cxnLst>
              <a:rect l="0" t="0" r="r" b="b"/>
              <a:pathLst>
                <a:path w="21600" h="21600" extrusionOk="0">
                  <a:moveTo>
                    <a:pt x="1503" y="19140"/>
                  </a:moveTo>
                  <a:lnTo>
                    <a:pt x="499" y="16865"/>
                  </a:lnTo>
                  <a:lnTo>
                    <a:pt x="0" y="14314"/>
                  </a:lnTo>
                  <a:lnTo>
                    <a:pt x="901" y="13775"/>
                  </a:lnTo>
                  <a:lnTo>
                    <a:pt x="1206" y="12041"/>
                  </a:lnTo>
                  <a:lnTo>
                    <a:pt x="2146" y="8708"/>
                  </a:lnTo>
                  <a:lnTo>
                    <a:pt x="1350" y="7472"/>
                  </a:lnTo>
                  <a:lnTo>
                    <a:pt x="911" y="6055"/>
                  </a:lnTo>
                  <a:lnTo>
                    <a:pt x="819" y="3198"/>
                  </a:lnTo>
                  <a:lnTo>
                    <a:pt x="1967" y="2570"/>
                  </a:lnTo>
                  <a:lnTo>
                    <a:pt x="2600" y="788"/>
                  </a:lnTo>
                  <a:lnTo>
                    <a:pt x="3316" y="0"/>
                  </a:lnTo>
                  <a:lnTo>
                    <a:pt x="4415" y="1507"/>
                  </a:lnTo>
                  <a:lnTo>
                    <a:pt x="5638" y="2092"/>
                  </a:lnTo>
                  <a:lnTo>
                    <a:pt x="5583" y="4346"/>
                  </a:lnTo>
                  <a:lnTo>
                    <a:pt x="6651" y="7415"/>
                  </a:lnTo>
                  <a:lnTo>
                    <a:pt x="7194" y="12259"/>
                  </a:lnTo>
                  <a:lnTo>
                    <a:pt x="8658" y="14747"/>
                  </a:lnTo>
                  <a:lnTo>
                    <a:pt x="9372" y="16969"/>
                  </a:lnTo>
                  <a:lnTo>
                    <a:pt x="11034" y="18364"/>
                  </a:lnTo>
                  <a:lnTo>
                    <a:pt x="11440" y="16421"/>
                  </a:lnTo>
                  <a:lnTo>
                    <a:pt x="12135" y="15669"/>
                  </a:lnTo>
                  <a:lnTo>
                    <a:pt x="12925" y="18101"/>
                  </a:lnTo>
                  <a:lnTo>
                    <a:pt x="12603" y="20376"/>
                  </a:lnTo>
                  <a:lnTo>
                    <a:pt x="14174" y="18827"/>
                  </a:lnTo>
                  <a:lnTo>
                    <a:pt x="14995" y="21600"/>
                  </a:lnTo>
                  <a:lnTo>
                    <a:pt x="15684" y="20832"/>
                  </a:lnTo>
                  <a:lnTo>
                    <a:pt x="17233" y="21238"/>
                  </a:lnTo>
                  <a:lnTo>
                    <a:pt x="18016" y="20025"/>
                  </a:lnTo>
                  <a:lnTo>
                    <a:pt x="17779" y="18404"/>
                  </a:lnTo>
                  <a:lnTo>
                    <a:pt x="17585" y="14380"/>
                  </a:lnTo>
                  <a:lnTo>
                    <a:pt x="19200" y="15108"/>
                  </a:lnTo>
                  <a:lnTo>
                    <a:pt x="20315" y="15957"/>
                  </a:lnTo>
                  <a:lnTo>
                    <a:pt x="21524" y="13245"/>
                  </a:lnTo>
                  <a:lnTo>
                    <a:pt x="21600" y="11191"/>
                  </a:lnTo>
                  <a:lnTo>
                    <a:pt x="20413" y="11615"/>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35" name="线条"/>
            <p:cNvSpPr/>
            <p:nvPr/>
          </p:nvSpPr>
          <p:spPr>
            <a:xfrm>
              <a:off x="4264072" y="3479813"/>
              <a:ext cx="469572" cy="422309"/>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 y="20016"/>
                  </a:lnTo>
                  <a:lnTo>
                    <a:pt x="1697" y="18877"/>
                  </a:lnTo>
                  <a:lnTo>
                    <a:pt x="3700" y="12430"/>
                  </a:lnTo>
                  <a:lnTo>
                    <a:pt x="3582" y="11474"/>
                  </a:lnTo>
                  <a:lnTo>
                    <a:pt x="7457" y="11902"/>
                  </a:lnTo>
                  <a:lnTo>
                    <a:pt x="9592" y="9774"/>
                  </a:lnTo>
                  <a:lnTo>
                    <a:pt x="10674" y="8232"/>
                  </a:lnTo>
                  <a:lnTo>
                    <a:pt x="13056" y="6999"/>
                  </a:lnTo>
                  <a:lnTo>
                    <a:pt x="13990" y="5919"/>
                  </a:lnTo>
                  <a:lnTo>
                    <a:pt x="15199" y="5506"/>
                  </a:lnTo>
                  <a:lnTo>
                    <a:pt x="15151" y="6954"/>
                  </a:lnTo>
                  <a:lnTo>
                    <a:pt x="16381" y="6268"/>
                  </a:lnTo>
                  <a:lnTo>
                    <a:pt x="18697" y="5615"/>
                  </a:lnTo>
                  <a:lnTo>
                    <a:pt x="19497" y="4046"/>
                  </a:lnTo>
                  <a:lnTo>
                    <a:pt x="19776" y="2572"/>
                  </a:lnTo>
                  <a:lnTo>
                    <a:pt x="19163" y="1621"/>
                  </a:lnTo>
                  <a:lnTo>
                    <a:pt x="21600" y="0"/>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36" name="形状"/>
            <p:cNvSpPr/>
            <p:nvPr/>
          </p:nvSpPr>
          <p:spPr>
            <a:xfrm>
              <a:off x="3875758" y="3897423"/>
              <a:ext cx="1407353" cy="1041567"/>
            </a:xfrm>
            <a:custGeom>
              <a:avLst/>
              <a:gdLst/>
              <a:ahLst/>
              <a:cxnLst>
                <a:cxn ang="0">
                  <a:pos x="wd2" y="hd2"/>
                </a:cxn>
                <a:cxn ang="5400000">
                  <a:pos x="wd2" y="hd2"/>
                </a:cxn>
                <a:cxn ang="10800000">
                  <a:pos x="wd2" y="hd2"/>
                </a:cxn>
                <a:cxn ang="16200000">
                  <a:pos x="wd2" y="hd2"/>
                </a:cxn>
              </a:cxnLst>
              <a:rect l="0" t="0" r="r" b="b"/>
              <a:pathLst>
                <a:path w="21600" h="21600" extrusionOk="0">
                  <a:moveTo>
                    <a:pt x="18263" y="18304"/>
                  </a:moveTo>
                  <a:lnTo>
                    <a:pt x="18321" y="19285"/>
                  </a:lnTo>
                  <a:lnTo>
                    <a:pt x="18401" y="19652"/>
                  </a:lnTo>
                  <a:lnTo>
                    <a:pt x="18130" y="19984"/>
                  </a:lnTo>
                  <a:lnTo>
                    <a:pt x="17679" y="19860"/>
                  </a:lnTo>
                  <a:lnTo>
                    <a:pt x="17303" y="20045"/>
                  </a:lnTo>
                  <a:lnTo>
                    <a:pt x="17005" y="19422"/>
                  </a:lnTo>
                  <a:lnTo>
                    <a:pt x="16463" y="19751"/>
                  </a:lnTo>
                  <a:lnTo>
                    <a:pt x="16597" y="19218"/>
                  </a:lnTo>
                  <a:lnTo>
                    <a:pt x="16312" y="18674"/>
                  </a:lnTo>
                  <a:lnTo>
                    <a:pt x="16018" y="18837"/>
                  </a:lnTo>
                  <a:lnTo>
                    <a:pt x="15932" y="19267"/>
                  </a:lnTo>
                  <a:lnTo>
                    <a:pt x="15343" y="19000"/>
                  </a:lnTo>
                  <a:lnTo>
                    <a:pt x="15015" y="18378"/>
                  </a:lnTo>
                  <a:lnTo>
                    <a:pt x="14551" y="17790"/>
                  </a:lnTo>
                  <a:lnTo>
                    <a:pt x="14326" y="16598"/>
                  </a:lnTo>
                  <a:lnTo>
                    <a:pt x="13962" y="15877"/>
                  </a:lnTo>
                  <a:lnTo>
                    <a:pt x="13960" y="15347"/>
                  </a:lnTo>
                  <a:lnTo>
                    <a:pt x="13515" y="15211"/>
                  </a:lnTo>
                  <a:lnTo>
                    <a:pt x="13143" y="14894"/>
                  </a:lnTo>
                  <a:lnTo>
                    <a:pt x="12905" y="15055"/>
                  </a:lnTo>
                  <a:lnTo>
                    <a:pt x="12730" y="15399"/>
                  </a:lnTo>
                  <a:lnTo>
                    <a:pt x="12292" y="15626"/>
                  </a:lnTo>
                  <a:lnTo>
                    <a:pt x="12326" y="16354"/>
                  </a:lnTo>
                  <a:lnTo>
                    <a:pt x="12529" y="16690"/>
                  </a:lnTo>
                  <a:lnTo>
                    <a:pt x="12797" y="16965"/>
                  </a:lnTo>
                  <a:lnTo>
                    <a:pt x="12416" y="17849"/>
                  </a:lnTo>
                  <a:lnTo>
                    <a:pt x="12316" y="18159"/>
                  </a:lnTo>
                  <a:lnTo>
                    <a:pt x="12010" y="18333"/>
                  </a:lnTo>
                  <a:lnTo>
                    <a:pt x="12233" y="19013"/>
                  </a:lnTo>
                  <a:lnTo>
                    <a:pt x="12466" y="19383"/>
                  </a:lnTo>
                  <a:lnTo>
                    <a:pt x="11898" y="19306"/>
                  </a:lnTo>
                  <a:lnTo>
                    <a:pt x="11911" y="19850"/>
                  </a:lnTo>
                  <a:lnTo>
                    <a:pt x="11855" y="20108"/>
                  </a:lnTo>
                  <a:lnTo>
                    <a:pt x="11603" y="20641"/>
                  </a:lnTo>
                  <a:lnTo>
                    <a:pt x="10953" y="20679"/>
                  </a:lnTo>
                  <a:lnTo>
                    <a:pt x="10673" y="20801"/>
                  </a:lnTo>
                  <a:lnTo>
                    <a:pt x="10695" y="21555"/>
                  </a:lnTo>
                  <a:lnTo>
                    <a:pt x="10244" y="21200"/>
                  </a:lnTo>
                  <a:lnTo>
                    <a:pt x="9992" y="20800"/>
                  </a:lnTo>
                  <a:lnTo>
                    <a:pt x="9755" y="21600"/>
                  </a:lnTo>
                  <a:lnTo>
                    <a:pt x="9478" y="20964"/>
                  </a:lnTo>
                  <a:lnTo>
                    <a:pt x="9254" y="21249"/>
                  </a:lnTo>
                  <a:lnTo>
                    <a:pt x="8766" y="20896"/>
                  </a:lnTo>
                  <a:lnTo>
                    <a:pt x="8443" y="20460"/>
                  </a:lnTo>
                  <a:lnTo>
                    <a:pt x="8611" y="19707"/>
                  </a:lnTo>
                  <a:lnTo>
                    <a:pt x="8254" y="19311"/>
                  </a:lnTo>
                  <a:cubicBezTo>
                    <a:pt x="8246" y="19194"/>
                    <a:pt x="8209" y="19083"/>
                    <a:pt x="8150" y="18997"/>
                  </a:cubicBezTo>
                  <a:cubicBezTo>
                    <a:pt x="8074" y="18888"/>
                    <a:pt x="7968" y="18826"/>
                    <a:pt x="7857" y="18827"/>
                  </a:cubicBezTo>
                  <a:lnTo>
                    <a:pt x="7565" y="18311"/>
                  </a:lnTo>
                  <a:lnTo>
                    <a:pt x="6683" y="18491"/>
                  </a:lnTo>
                  <a:lnTo>
                    <a:pt x="5941" y="18067"/>
                  </a:lnTo>
                  <a:lnTo>
                    <a:pt x="5697" y="18326"/>
                  </a:lnTo>
                  <a:lnTo>
                    <a:pt x="4754" y="17260"/>
                  </a:lnTo>
                  <a:lnTo>
                    <a:pt x="4169" y="17262"/>
                  </a:lnTo>
                  <a:lnTo>
                    <a:pt x="3725" y="17062"/>
                  </a:lnTo>
                  <a:lnTo>
                    <a:pt x="3635" y="16737"/>
                  </a:lnTo>
                  <a:lnTo>
                    <a:pt x="2822" y="16326"/>
                  </a:lnTo>
                  <a:lnTo>
                    <a:pt x="2098" y="15367"/>
                  </a:lnTo>
                  <a:lnTo>
                    <a:pt x="1399" y="15117"/>
                  </a:lnTo>
                  <a:lnTo>
                    <a:pt x="642" y="14161"/>
                  </a:lnTo>
                  <a:lnTo>
                    <a:pt x="108" y="13165"/>
                  </a:lnTo>
                  <a:lnTo>
                    <a:pt x="0" y="12647"/>
                  </a:lnTo>
                  <a:lnTo>
                    <a:pt x="88" y="12205"/>
                  </a:lnTo>
                  <a:lnTo>
                    <a:pt x="359" y="12028"/>
                  </a:lnTo>
                  <a:lnTo>
                    <a:pt x="481" y="11402"/>
                  </a:lnTo>
                  <a:lnTo>
                    <a:pt x="397" y="10802"/>
                  </a:lnTo>
                  <a:lnTo>
                    <a:pt x="596" y="10419"/>
                  </a:lnTo>
                  <a:lnTo>
                    <a:pt x="215" y="10309"/>
                  </a:lnTo>
                  <a:cubicBezTo>
                    <a:pt x="245" y="10230"/>
                    <a:pt x="270" y="10147"/>
                    <a:pt x="289" y="10062"/>
                  </a:cubicBezTo>
                  <a:cubicBezTo>
                    <a:pt x="310" y="9972"/>
                    <a:pt x="324" y="9879"/>
                    <a:pt x="332" y="9784"/>
                  </a:cubicBezTo>
                  <a:lnTo>
                    <a:pt x="198" y="9351"/>
                  </a:lnTo>
                  <a:lnTo>
                    <a:pt x="283" y="8958"/>
                  </a:lnTo>
                  <a:lnTo>
                    <a:pt x="511" y="8777"/>
                  </a:lnTo>
                  <a:lnTo>
                    <a:pt x="787" y="8320"/>
                  </a:lnTo>
                  <a:lnTo>
                    <a:pt x="823" y="7729"/>
                  </a:lnTo>
                  <a:lnTo>
                    <a:pt x="571" y="7287"/>
                  </a:lnTo>
                  <a:lnTo>
                    <a:pt x="1167" y="7125"/>
                  </a:lnTo>
                  <a:lnTo>
                    <a:pt x="1446" y="6914"/>
                  </a:lnTo>
                  <a:lnTo>
                    <a:pt x="1569" y="6683"/>
                  </a:lnTo>
                  <a:lnTo>
                    <a:pt x="1997" y="7140"/>
                  </a:lnTo>
                  <a:lnTo>
                    <a:pt x="2471" y="7289"/>
                  </a:lnTo>
                  <a:lnTo>
                    <a:pt x="2720" y="7633"/>
                  </a:lnTo>
                  <a:lnTo>
                    <a:pt x="3030" y="7591"/>
                  </a:lnTo>
                  <a:lnTo>
                    <a:pt x="3096" y="7308"/>
                  </a:lnTo>
                  <a:lnTo>
                    <a:pt x="3163" y="6547"/>
                  </a:lnTo>
                  <a:lnTo>
                    <a:pt x="2866" y="6073"/>
                  </a:lnTo>
                  <a:lnTo>
                    <a:pt x="2763" y="5784"/>
                  </a:lnTo>
                  <a:lnTo>
                    <a:pt x="2914" y="5312"/>
                  </a:lnTo>
                  <a:lnTo>
                    <a:pt x="3363" y="5252"/>
                  </a:lnTo>
                  <a:lnTo>
                    <a:pt x="3714" y="5105"/>
                  </a:lnTo>
                  <a:lnTo>
                    <a:pt x="3828" y="4830"/>
                  </a:lnTo>
                  <a:lnTo>
                    <a:pt x="3689" y="4507"/>
                  </a:lnTo>
                  <a:lnTo>
                    <a:pt x="3588" y="3890"/>
                  </a:lnTo>
                  <a:lnTo>
                    <a:pt x="3366" y="3672"/>
                  </a:lnTo>
                  <a:lnTo>
                    <a:pt x="3182" y="3366"/>
                  </a:lnTo>
                  <a:lnTo>
                    <a:pt x="2946" y="3130"/>
                  </a:lnTo>
                  <a:lnTo>
                    <a:pt x="2797" y="2917"/>
                  </a:lnTo>
                  <a:lnTo>
                    <a:pt x="2773" y="2314"/>
                  </a:lnTo>
                  <a:lnTo>
                    <a:pt x="2970" y="1525"/>
                  </a:lnTo>
                  <a:lnTo>
                    <a:pt x="2753" y="1400"/>
                  </a:lnTo>
                  <a:lnTo>
                    <a:pt x="2527" y="1581"/>
                  </a:lnTo>
                  <a:lnTo>
                    <a:pt x="2514" y="1036"/>
                  </a:lnTo>
                  <a:lnTo>
                    <a:pt x="2921" y="753"/>
                  </a:lnTo>
                  <a:lnTo>
                    <a:pt x="3240" y="528"/>
                  </a:lnTo>
                  <a:lnTo>
                    <a:pt x="4073" y="591"/>
                  </a:lnTo>
                  <a:lnTo>
                    <a:pt x="4825" y="392"/>
                  </a:lnTo>
                  <a:lnTo>
                    <a:pt x="5374" y="336"/>
                  </a:lnTo>
                  <a:lnTo>
                    <a:pt x="5957" y="175"/>
                  </a:lnTo>
                  <a:lnTo>
                    <a:pt x="6285" y="0"/>
                  </a:lnTo>
                  <a:lnTo>
                    <a:pt x="7167" y="116"/>
                  </a:lnTo>
                  <a:lnTo>
                    <a:pt x="7285" y="556"/>
                  </a:lnTo>
                  <a:lnTo>
                    <a:pt x="7265" y="1028"/>
                  </a:lnTo>
                  <a:lnTo>
                    <a:pt x="7787" y="1058"/>
                  </a:lnTo>
                  <a:lnTo>
                    <a:pt x="8217" y="1210"/>
                  </a:lnTo>
                  <a:lnTo>
                    <a:pt x="8080" y="1567"/>
                  </a:lnTo>
                  <a:lnTo>
                    <a:pt x="8442" y="1702"/>
                  </a:lnTo>
                  <a:lnTo>
                    <a:pt x="8825" y="1628"/>
                  </a:lnTo>
                  <a:lnTo>
                    <a:pt x="9027" y="1983"/>
                  </a:lnTo>
                  <a:lnTo>
                    <a:pt x="9067" y="2596"/>
                  </a:lnTo>
                  <a:lnTo>
                    <a:pt x="9287" y="2952"/>
                  </a:lnTo>
                  <a:lnTo>
                    <a:pt x="9794" y="2853"/>
                  </a:lnTo>
                  <a:lnTo>
                    <a:pt x="10112" y="3002"/>
                  </a:lnTo>
                  <a:lnTo>
                    <a:pt x="10441" y="3293"/>
                  </a:lnTo>
                  <a:lnTo>
                    <a:pt x="10879" y="3123"/>
                  </a:lnTo>
                  <a:lnTo>
                    <a:pt x="11313" y="3636"/>
                  </a:lnTo>
                  <a:lnTo>
                    <a:pt x="11609" y="3905"/>
                  </a:lnTo>
                  <a:lnTo>
                    <a:pt x="11924" y="3559"/>
                  </a:lnTo>
                  <a:lnTo>
                    <a:pt x="12206" y="3703"/>
                  </a:lnTo>
                  <a:lnTo>
                    <a:pt x="12390" y="3262"/>
                  </a:lnTo>
                  <a:lnTo>
                    <a:pt x="12614" y="2825"/>
                  </a:lnTo>
                  <a:lnTo>
                    <a:pt x="12982" y="2878"/>
                  </a:lnTo>
                  <a:lnTo>
                    <a:pt x="12945" y="2125"/>
                  </a:lnTo>
                  <a:lnTo>
                    <a:pt x="12924" y="1592"/>
                  </a:lnTo>
                  <a:lnTo>
                    <a:pt x="13039" y="1184"/>
                  </a:lnTo>
                  <a:lnTo>
                    <a:pt x="13683" y="1413"/>
                  </a:lnTo>
                  <a:lnTo>
                    <a:pt x="14008" y="1757"/>
                  </a:lnTo>
                  <a:lnTo>
                    <a:pt x="14422" y="2384"/>
                  </a:lnTo>
                  <a:lnTo>
                    <a:pt x="14711" y="2593"/>
                  </a:lnTo>
                  <a:lnTo>
                    <a:pt x="14948" y="2257"/>
                  </a:lnTo>
                  <a:lnTo>
                    <a:pt x="15001" y="2007"/>
                  </a:lnTo>
                  <a:lnTo>
                    <a:pt x="15350" y="2286"/>
                  </a:lnTo>
                  <a:lnTo>
                    <a:pt x="15705" y="1939"/>
                  </a:lnTo>
                  <a:lnTo>
                    <a:pt x="16380" y="2881"/>
                  </a:lnTo>
                  <a:lnTo>
                    <a:pt x="16833" y="3556"/>
                  </a:lnTo>
                  <a:lnTo>
                    <a:pt x="17598" y="4315"/>
                  </a:lnTo>
                  <a:lnTo>
                    <a:pt x="17504" y="3705"/>
                  </a:lnTo>
                  <a:lnTo>
                    <a:pt x="17960" y="4378"/>
                  </a:lnTo>
                  <a:lnTo>
                    <a:pt x="18428" y="4590"/>
                  </a:lnTo>
                  <a:lnTo>
                    <a:pt x="18714" y="5070"/>
                  </a:lnTo>
                  <a:lnTo>
                    <a:pt x="19002" y="5777"/>
                  </a:lnTo>
                  <a:lnTo>
                    <a:pt x="19408" y="5691"/>
                  </a:lnTo>
                  <a:lnTo>
                    <a:pt x="19933" y="6316"/>
                  </a:lnTo>
                  <a:lnTo>
                    <a:pt x="20067" y="6104"/>
                  </a:lnTo>
                  <a:lnTo>
                    <a:pt x="20503" y="6649"/>
                  </a:lnTo>
                  <a:lnTo>
                    <a:pt x="20554" y="7275"/>
                  </a:lnTo>
                  <a:lnTo>
                    <a:pt x="21014" y="7708"/>
                  </a:lnTo>
                  <a:lnTo>
                    <a:pt x="21165" y="8117"/>
                  </a:lnTo>
                  <a:lnTo>
                    <a:pt x="20947" y="8315"/>
                  </a:lnTo>
                  <a:lnTo>
                    <a:pt x="20993" y="8904"/>
                  </a:lnTo>
                  <a:lnTo>
                    <a:pt x="21285" y="9431"/>
                  </a:lnTo>
                  <a:lnTo>
                    <a:pt x="21294" y="9886"/>
                  </a:lnTo>
                  <a:lnTo>
                    <a:pt x="21358" y="10327"/>
                  </a:lnTo>
                  <a:lnTo>
                    <a:pt x="21600" y="10649"/>
                  </a:lnTo>
                  <a:lnTo>
                    <a:pt x="21588" y="11502"/>
                  </a:lnTo>
                  <a:lnTo>
                    <a:pt x="21186" y="11515"/>
                  </a:lnTo>
                  <a:lnTo>
                    <a:pt x="21121" y="12196"/>
                  </a:lnTo>
                  <a:lnTo>
                    <a:pt x="20863" y="12271"/>
                  </a:lnTo>
                  <a:lnTo>
                    <a:pt x="20696" y="12558"/>
                  </a:lnTo>
                  <a:lnTo>
                    <a:pt x="20407" y="12474"/>
                  </a:lnTo>
                  <a:lnTo>
                    <a:pt x="20497" y="13231"/>
                  </a:lnTo>
                  <a:lnTo>
                    <a:pt x="20236" y="13637"/>
                  </a:lnTo>
                  <a:lnTo>
                    <a:pt x="19943" y="14033"/>
                  </a:lnTo>
                  <a:lnTo>
                    <a:pt x="19842" y="14620"/>
                  </a:lnTo>
                  <a:lnTo>
                    <a:pt x="20220" y="15329"/>
                  </a:lnTo>
                  <a:lnTo>
                    <a:pt x="19923" y="15693"/>
                  </a:lnTo>
                  <a:lnTo>
                    <a:pt x="19696" y="16011"/>
                  </a:lnTo>
                  <a:lnTo>
                    <a:pt x="19275" y="15996"/>
                  </a:lnTo>
                  <a:lnTo>
                    <a:pt x="18961" y="15705"/>
                  </a:lnTo>
                  <a:lnTo>
                    <a:pt x="18566" y="15434"/>
                  </a:lnTo>
                  <a:lnTo>
                    <a:pt x="18101" y="15115"/>
                  </a:lnTo>
                  <a:lnTo>
                    <a:pt x="17876" y="15432"/>
                  </a:lnTo>
                  <a:lnTo>
                    <a:pt x="17824" y="15911"/>
                  </a:lnTo>
                  <a:lnTo>
                    <a:pt x="18120" y="16452"/>
                  </a:lnTo>
                  <a:lnTo>
                    <a:pt x="18530" y="16823"/>
                  </a:lnTo>
                  <a:lnTo>
                    <a:pt x="18365" y="17238"/>
                  </a:lnTo>
                  <a:lnTo>
                    <a:pt x="18873" y="17192"/>
                  </a:lnTo>
                  <a:lnTo>
                    <a:pt x="19168" y="17421"/>
                  </a:lnTo>
                  <a:lnTo>
                    <a:pt x="19303" y="17842"/>
                  </a:lnTo>
                  <a:cubicBezTo>
                    <a:pt x="19167" y="17911"/>
                    <a:pt x="19072" y="18077"/>
                    <a:pt x="19056" y="18272"/>
                  </a:cubicBezTo>
                  <a:cubicBezTo>
                    <a:pt x="19046" y="18392"/>
                    <a:pt x="19068" y="18512"/>
                    <a:pt x="19118" y="18611"/>
                  </a:cubicBezTo>
                  <a:lnTo>
                    <a:pt x="18263" y="18304"/>
                  </a:lnTo>
                  <a:close/>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37" name="线条"/>
            <p:cNvSpPr/>
            <p:nvPr/>
          </p:nvSpPr>
          <p:spPr>
            <a:xfrm>
              <a:off x="4801738" y="3483422"/>
              <a:ext cx="978250" cy="77169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049" y="4338"/>
                  </a:lnTo>
                  <a:lnTo>
                    <a:pt x="486" y="5139"/>
                  </a:lnTo>
                  <a:lnTo>
                    <a:pt x="1218" y="6424"/>
                  </a:lnTo>
                  <a:lnTo>
                    <a:pt x="1913" y="6965"/>
                  </a:lnTo>
                  <a:lnTo>
                    <a:pt x="1745" y="8375"/>
                  </a:lnTo>
                  <a:lnTo>
                    <a:pt x="2314" y="8373"/>
                  </a:lnTo>
                  <a:cubicBezTo>
                    <a:pt x="2342" y="8290"/>
                    <a:pt x="2370" y="8206"/>
                    <a:pt x="2399" y="8123"/>
                  </a:cubicBezTo>
                  <a:cubicBezTo>
                    <a:pt x="2427" y="8039"/>
                    <a:pt x="2456" y="7956"/>
                    <a:pt x="2484" y="7873"/>
                  </a:cubicBezTo>
                  <a:lnTo>
                    <a:pt x="3011" y="7746"/>
                  </a:lnTo>
                  <a:lnTo>
                    <a:pt x="3391" y="8133"/>
                  </a:lnTo>
                  <a:lnTo>
                    <a:pt x="3761" y="7718"/>
                  </a:lnTo>
                  <a:lnTo>
                    <a:pt x="4505" y="7482"/>
                  </a:lnTo>
                  <a:lnTo>
                    <a:pt x="5454" y="7375"/>
                  </a:lnTo>
                  <a:lnTo>
                    <a:pt x="5893" y="8319"/>
                  </a:lnTo>
                  <a:lnTo>
                    <a:pt x="5499" y="9725"/>
                  </a:lnTo>
                  <a:lnTo>
                    <a:pt x="5209" y="10027"/>
                  </a:lnTo>
                  <a:lnTo>
                    <a:pt x="4979" y="10564"/>
                  </a:lnTo>
                  <a:lnTo>
                    <a:pt x="3987" y="11173"/>
                  </a:lnTo>
                  <a:lnTo>
                    <a:pt x="4846" y="11407"/>
                  </a:lnTo>
                  <a:lnTo>
                    <a:pt x="5274" y="12156"/>
                  </a:lnTo>
                  <a:lnTo>
                    <a:pt x="5716" y="12507"/>
                  </a:lnTo>
                  <a:lnTo>
                    <a:pt x="5808" y="13042"/>
                  </a:lnTo>
                  <a:lnTo>
                    <a:pt x="6182" y="13555"/>
                  </a:lnTo>
                  <a:lnTo>
                    <a:pt x="6790" y="13551"/>
                  </a:lnTo>
                  <a:lnTo>
                    <a:pt x="6634" y="14858"/>
                  </a:lnTo>
                  <a:lnTo>
                    <a:pt x="7040" y="15284"/>
                  </a:lnTo>
                  <a:lnTo>
                    <a:pt x="7460" y="15109"/>
                  </a:lnTo>
                  <a:lnTo>
                    <a:pt x="7677" y="15968"/>
                  </a:lnTo>
                  <a:lnTo>
                    <a:pt x="8444" y="16566"/>
                  </a:lnTo>
                  <a:lnTo>
                    <a:pt x="9114" y="15682"/>
                  </a:lnTo>
                  <a:lnTo>
                    <a:pt x="8889" y="14856"/>
                  </a:lnTo>
                  <a:lnTo>
                    <a:pt x="9944" y="14500"/>
                  </a:lnTo>
                  <a:lnTo>
                    <a:pt x="10681" y="14826"/>
                  </a:lnTo>
                  <a:lnTo>
                    <a:pt x="11306" y="15061"/>
                  </a:lnTo>
                  <a:lnTo>
                    <a:pt x="11870" y="14434"/>
                  </a:lnTo>
                  <a:lnTo>
                    <a:pt x="12805" y="14115"/>
                  </a:lnTo>
                  <a:lnTo>
                    <a:pt x="13544" y="13973"/>
                  </a:lnTo>
                  <a:lnTo>
                    <a:pt x="13649" y="14668"/>
                  </a:lnTo>
                  <a:lnTo>
                    <a:pt x="13696" y="15179"/>
                  </a:lnTo>
                  <a:lnTo>
                    <a:pt x="13774" y="15778"/>
                  </a:lnTo>
                  <a:lnTo>
                    <a:pt x="13570" y="16131"/>
                  </a:lnTo>
                  <a:lnTo>
                    <a:pt x="13185" y="16661"/>
                  </a:lnTo>
                  <a:lnTo>
                    <a:pt x="12835" y="17043"/>
                  </a:lnTo>
                  <a:lnTo>
                    <a:pt x="12426" y="17355"/>
                  </a:lnTo>
                  <a:lnTo>
                    <a:pt x="12059" y="17494"/>
                  </a:lnTo>
                  <a:lnTo>
                    <a:pt x="12045" y="18043"/>
                  </a:lnTo>
                  <a:lnTo>
                    <a:pt x="12228" y="18605"/>
                  </a:lnTo>
                  <a:lnTo>
                    <a:pt x="11897" y="18862"/>
                  </a:lnTo>
                  <a:lnTo>
                    <a:pt x="11811" y="19476"/>
                  </a:lnTo>
                  <a:lnTo>
                    <a:pt x="12256" y="19943"/>
                  </a:lnTo>
                  <a:lnTo>
                    <a:pt x="12591" y="20465"/>
                  </a:lnTo>
                  <a:lnTo>
                    <a:pt x="12982" y="20897"/>
                  </a:lnTo>
                  <a:lnTo>
                    <a:pt x="13558" y="21399"/>
                  </a:lnTo>
                  <a:lnTo>
                    <a:pt x="14040" y="21600"/>
                  </a:lnTo>
                  <a:lnTo>
                    <a:pt x="14363" y="21187"/>
                  </a:lnTo>
                  <a:lnTo>
                    <a:pt x="15282" y="21160"/>
                  </a:lnTo>
                  <a:lnTo>
                    <a:pt x="16196" y="20678"/>
                  </a:lnTo>
                  <a:lnTo>
                    <a:pt x="16962" y="20512"/>
                  </a:lnTo>
                  <a:lnTo>
                    <a:pt x="17408" y="19747"/>
                  </a:lnTo>
                  <a:lnTo>
                    <a:pt x="17315" y="19185"/>
                  </a:lnTo>
                  <a:lnTo>
                    <a:pt x="17444" y="18502"/>
                  </a:lnTo>
                  <a:lnTo>
                    <a:pt x="17375" y="17599"/>
                  </a:lnTo>
                  <a:lnTo>
                    <a:pt x="17462" y="16807"/>
                  </a:lnTo>
                  <a:lnTo>
                    <a:pt x="17885" y="15827"/>
                  </a:lnTo>
                  <a:lnTo>
                    <a:pt x="18135" y="15334"/>
                  </a:lnTo>
                  <a:lnTo>
                    <a:pt x="18580" y="15292"/>
                  </a:lnTo>
                  <a:lnTo>
                    <a:pt x="18635" y="14941"/>
                  </a:lnTo>
                  <a:lnTo>
                    <a:pt x="19582" y="14489"/>
                  </a:lnTo>
                  <a:lnTo>
                    <a:pt x="19738" y="15657"/>
                  </a:lnTo>
                  <a:lnTo>
                    <a:pt x="20099" y="16173"/>
                  </a:lnTo>
                  <a:lnTo>
                    <a:pt x="19495" y="17176"/>
                  </a:lnTo>
                  <a:lnTo>
                    <a:pt x="19207" y="18019"/>
                  </a:lnTo>
                  <a:lnTo>
                    <a:pt x="18961" y="18544"/>
                  </a:lnTo>
                  <a:lnTo>
                    <a:pt x="19396" y="19000"/>
                  </a:lnTo>
                  <a:lnTo>
                    <a:pt x="20070" y="19176"/>
                  </a:lnTo>
                  <a:lnTo>
                    <a:pt x="20545" y="19161"/>
                  </a:lnTo>
                  <a:lnTo>
                    <a:pt x="20998" y="19883"/>
                  </a:lnTo>
                  <a:lnTo>
                    <a:pt x="21600" y="20428"/>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38" name="线条"/>
            <p:cNvSpPr/>
            <p:nvPr/>
          </p:nvSpPr>
          <p:spPr>
            <a:xfrm>
              <a:off x="6045882" y="4642003"/>
              <a:ext cx="68193" cy="18217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75" y="2760"/>
                  </a:lnTo>
                  <a:lnTo>
                    <a:pt x="4214" y="5749"/>
                  </a:lnTo>
                  <a:lnTo>
                    <a:pt x="8995" y="7372"/>
                  </a:lnTo>
                  <a:lnTo>
                    <a:pt x="7841" y="12274"/>
                  </a:lnTo>
                  <a:lnTo>
                    <a:pt x="15859" y="13816"/>
                  </a:lnTo>
                  <a:lnTo>
                    <a:pt x="17186" y="15824"/>
                  </a:lnTo>
                  <a:lnTo>
                    <a:pt x="21600" y="17646"/>
                  </a:lnTo>
                  <a:lnTo>
                    <a:pt x="21380" y="21600"/>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39" name="线条"/>
            <p:cNvSpPr/>
            <p:nvPr/>
          </p:nvSpPr>
          <p:spPr>
            <a:xfrm>
              <a:off x="6665107" y="3942938"/>
              <a:ext cx="8995" cy="1652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0495" y="3935"/>
                    <a:pt x="18204" y="7743"/>
                    <a:pt x="14820" y="11272"/>
                  </a:cubicBezTo>
                  <a:cubicBezTo>
                    <a:pt x="11076" y="15177"/>
                    <a:pt x="6053" y="18677"/>
                    <a:pt x="0" y="21600"/>
                  </a:cubicBezTo>
                </a:path>
              </a:pathLst>
            </a:custGeom>
            <a:solidFill>
              <a:schemeClr val="accent2">
                <a:lumMod val="40000"/>
                <a:lumOff val="60000"/>
              </a:schemeClr>
            </a:solidFill>
            <a:ln w="127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40" name="形状"/>
            <p:cNvSpPr/>
            <p:nvPr/>
          </p:nvSpPr>
          <p:spPr>
            <a:xfrm>
              <a:off x="6520020" y="3767017"/>
              <a:ext cx="201722" cy="217568"/>
            </a:xfrm>
            <a:custGeom>
              <a:avLst/>
              <a:gdLst/>
              <a:ahLst/>
              <a:cxnLst>
                <a:cxn ang="0">
                  <a:pos x="wd2" y="hd2"/>
                </a:cxn>
                <a:cxn ang="5400000">
                  <a:pos x="wd2" y="hd2"/>
                </a:cxn>
                <a:cxn ang="10800000">
                  <a:pos x="wd2" y="hd2"/>
                </a:cxn>
                <a:cxn ang="16200000">
                  <a:pos x="wd2" y="hd2"/>
                </a:cxn>
              </a:cxnLst>
              <a:rect l="0" t="0" r="r" b="b"/>
              <a:pathLst>
                <a:path w="21457" h="21600" extrusionOk="0">
                  <a:moveTo>
                    <a:pt x="21076" y="9819"/>
                  </a:moveTo>
                  <a:lnTo>
                    <a:pt x="19230" y="8857"/>
                  </a:lnTo>
                  <a:lnTo>
                    <a:pt x="19184" y="7637"/>
                  </a:lnTo>
                  <a:lnTo>
                    <a:pt x="19761" y="5922"/>
                  </a:lnTo>
                  <a:lnTo>
                    <a:pt x="21457" y="4825"/>
                  </a:lnTo>
                  <a:cubicBezTo>
                    <a:pt x="20580" y="4665"/>
                    <a:pt x="19720" y="4434"/>
                    <a:pt x="18886" y="4136"/>
                  </a:cubicBezTo>
                  <a:cubicBezTo>
                    <a:pt x="18423" y="3970"/>
                    <a:pt x="17966" y="3783"/>
                    <a:pt x="17480" y="3686"/>
                  </a:cubicBezTo>
                  <a:cubicBezTo>
                    <a:pt x="16786" y="3548"/>
                    <a:pt x="16064" y="3599"/>
                    <a:pt x="15400" y="3834"/>
                  </a:cubicBezTo>
                  <a:lnTo>
                    <a:pt x="11739" y="0"/>
                  </a:lnTo>
                  <a:lnTo>
                    <a:pt x="9468" y="1630"/>
                  </a:lnTo>
                  <a:cubicBezTo>
                    <a:pt x="10228" y="1956"/>
                    <a:pt x="10519" y="2825"/>
                    <a:pt x="10094" y="3497"/>
                  </a:cubicBezTo>
                  <a:cubicBezTo>
                    <a:pt x="9731" y="4070"/>
                    <a:pt x="8960" y="4290"/>
                    <a:pt x="8317" y="4003"/>
                  </a:cubicBezTo>
                  <a:lnTo>
                    <a:pt x="6549" y="5778"/>
                  </a:lnTo>
                  <a:lnTo>
                    <a:pt x="3867" y="6489"/>
                  </a:lnTo>
                  <a:cubicBezTo>
                    <a:pt x="3656" y="6952"/>
                    <a:pt x="3642" y="7472"/>
                    <a:pt x="3826" y="7944"/>
                  </a:cubicBezTo>
                  <a:cubicBezTo>
                    <a:pt x="4095" y="8634"/>
                    <a:pt x="4750" y="9125"/>
                    <a:pt x="5066" y="9796"/>
                  </a:cubicBezTo>
                  <a:cubicBezTo>
                    <a:pt x="5301" y="10294"/>
                    <a:pt x="5333" y="10854"/>
                    <a:pt x="5157" y="11373"/>
                  </a:cubicBezTo>
                  <a:cubicBezTo>
                    <a:pt x="4414" y="11572"/>
                    <a:pt x="3709" y="11877"/>
                    <a:pt x="3067" y="12277"/>
                  </a:cubicBezTo>
                  <a:cubicBezTo>
                    <a:pt x="2300" y="12755"/>
                    <a:pt x="1634" y="13362"/>
                    <a:pt x="1103" y="14066"/>
                  </a:cubicBezTo>
                  <a:cubicBezTo>
                    <a:pt x="492" y="13831"/>
                    <a:pt x="-143" y="14352"/>
                    <a:pt x="29" y="14947"/>
                  </a:cubicBezTo>
                  <a:cubicBezTo>
                    <a:pt x="158" y="15395"/>
                    <a:pt x="687" y="15544"/>
                    <a:pt x="1058" y="15806"/>
                  </a:cubicBezTo>
                  <a:cubicBezTo>
                    <a:pt x="1422" y="16062"/>
                    <a:pt x="1661" y="16443"/>
                    <a:pt x="1723" y="16865"/>
                  </a:cubicBezTo>
                  <a:lnTo>
                    <a:pt x="365" y="18459"/>
                  </a:lnTo>
                  <a:cubicBezTo>
                    <a:pt x="842" y="18985"/>
                    <a:pt x="1476" y="19367"/>
                    <a:pt x="2185" y="19559"/>
                  </a:cubicBezTo>
                  <a:cubicBezTo>
                    <a:pt x="2608" y="19673"/>
                    <a:pt x="3059" y="19720"/>
                    <a:pt x="3430" y="19943"/>
                  </a:cubicBezTo>
                  <a:cubicBezTo>
                    <a:pt x="3739" y="20129"/>
                    <a:pt x="3960" y="20419"/>
                    <a:pt x="4047" y="20752"/>
                  </a:cubicBezTo>
                  <a:cubicBezTo>
                    <a:pt x="4630" y="20128"/>
                    <a:pt x="5412" y="19693"/>
                    <a:pt x="6278" y="19512"/>
                  </a:cubicBezTo>
                  <a:cubicBezTo>
                    <a:pt x="7083" y="19344"/>
                    <a:pt x="7923" y="19403"/>
                    <a:pt x="8692" y="19682"/>
                  </a:cubicBezTo>
                  <a:lnTo>
                    <a:pt x="10453" y="21600"/>
                  </a:lnTo>
                  <a:cubicBezTo>
                    <a:pt x="10543" y="20819"/>
                    <a:pt x="10899" y="20086"/>
                    <a:pt x="11467" y="19507"/>
                  </a:cubicBezTo>
                  <a:cubicBezTo>
                    <a:pt x="11820" y="19148"/>
                    <a:pt x="12246" y="18858"/>
                    <a:pt x="12721" y="18655"/>
                  </a:cubicBezTo>
                  <a:cubicBezTo>
                    <a:pt x="13422" y="18283"/>
                    <a:pt x="14301" y="18378"/>
                    <a:pt x="14892" y="18889"/>
                  </a:cubicBezTo>
                  <a:cubicBezTo>
                    <a:pt x="15051" y="19027"/>
                    <a:pt x="15181" y="19192"/>
                    <a:pt x="15276" y="19374"/>
                  </a:cubicBezTo>
                  <a:lnTo>
                    <a:pt x="18214" y="12768"/>
                  </a:lnTo>
                  <a:lnTo>
                    <a:pt x="21076" y="9819"/>
                  </a:lnTo>
                  <a:close/>
                </a:path>
              </a:pathLst>
            </a:custGeom>
            <a:solidFill>
              <a:schemeClr val="accent2">
                <a:lumMod val="40000"/>
                <a:lumOff val="60000"/>
              </a:schemeClr>
            </a:solidFill>
            <a:ln w="127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41" name="形状"/>
            <p:cNvSpPr/>
            <p:nvPr/>
          </p:nvSpPr>
          <p:spPr>
            <a:xfrm>
              <a:off x="6650801" y="3865177"/>
              <a:ext cx="65419" cy="85838"/>
            </a:xfrm>
            <a:custGeom>
              <a:avLst/>
              <a:gdLst/>
              <a:ahLst/>
              <a:cxnLst>
                <a:cxn ang="0">
                  <a:pos x="wd2" y="hd2"/>
                </a:cxn>
                <a:cxn ang="5400000">
                  <a:pos x="wd2" y="hd2"/>
                </a:cxn>
                <a:cxn ang="10800000">
                  <a:pos x="wd2" y="hd2"/>
                </a:cxn>
                <a:cxn ang="16200000">
                  <a:pos x="wd2" y="hd2"/>
                </a:cxn>
              </a:cxnLst>
              <a:rect l="0" t="0" r="r" b="b"/>
              <a:pathLst>
                <a:path w="21158" h="21600" extrusionOk="0">
                  <a:moveTo>
                    <a:pt x="21158" y="0"/>
                  </a:moveTo>
                  <a:lnTo>
                    <a:pt x="13615" y="6904"/>
                  </a:lnTo>
                  <a:cubicBezTo>
                    <a:pt x="11814" y="7548"/>
                    <a:pt x="9840" y="7843"/>
                    <a:pt x="7860" y="7764"/>
                  </a:cubicBezTo>
                  <a:cubicBezTo>
                    <a:pt x="6456" y="7708"/>
                    <a:pt x="5074" y="7463"/>
                    <a:pt x="3776" y="7041"/>
                  </a:cubicBezTo>
                  <a:cubicBezTo>
                    <a:pt x="2179" y="7728"/>
                    <a:pt x="970" y="8855"/>
                    <a:pt x="389" y="10201"/>
                  </a:cubicBezTo>
                  <a:cubicBezTo>
                    <a:pt x="-442" y="12124"/>
                    <a:pt x="78" y="14244"/>
                    <a:pt x="1761" y="15793"/>
                  </a:cubicBezTo>
                  <a:cubicBezTo>
                    <a:pt x="3315" y="16366"/>
                    <a:pt x="4797" y="17050"/>
                    <a:pt x="6189" y="17835"/>
                  </a:cubicBezTo>
                  <a:cubicBezTo>
                    <a:pt x="8104" y="18915"/>
                    <a:pt x="9835" y="20180"/>
                    <a:pt x="11340" y="21600"/>
                  </a:cubicBezTo>
                  <a:lnTo>
                    <a:pt x="16800" y="19984"/>
                  </a:lnTo>
                  <a:cubicBezTo>
                    <a:pt x="17159" y="19047"/>
                    <a:pt x="17291" y="18066"/>
                    <a:pt x="17189" y="17092"/>
                  </a:cubicBezTo>
                  <a:cubicBezTo>
                    <a:pt x="17001" y="15288"/>
                    <a:pt x="16032" y="13587"/>
                    <a:pt x="14440" y="12268"/>
                  </a:cubicBezTo>
                  <a:cubicBezTo>
                    <a:pt x="13624" y="10849"/>
                    <a:pt x="13524" y="9242"/>
                    <a:pt x="14164" y="7770"/>
                  </a:cubicBezTo>
                  <a:cubicBezTo>
                    <a:pt x="14674" y="6597"/>
                    <a:pt x="15611" y="5594"/>
                    <a:pt x="16542" y="4622"/>
                  </a:cubicBezTo>
                  <a:cubicBezTo>
                    <a:pt x="18027" y="3070"/>
                    <a:pt x="19565" y="1529"/>
                    <a:pt x="21158" y="0"/>
                  </a:cubicBezTo>
                  <a:close/>
                </a:path>
              </a:pathLst>
            </a:custGeom>
            <a:solidFill>
              <a:schemeClr val="accent2">
                <a:lumMod val="40000"/>
                <a:lumOff val="60000"/>
              </a:schemeClr>
            </a:solidFill>
            <a:ln w="127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42" name="线条"/>
            <p:cNvSpPr/>
            <p:nvPr/>
          </p:nvSpPr>
          <p:spPr>
            <a:xfrm>
              <a:off x="6720394" y="3867814"/>
              <a:ext cx="81916" cy="12462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585" y="397"/>
                    <a:pt x="3074" y="943"/>
                    <a:pt x="4421" y="1620"/>
                  </a:cubicBezTo>
                  <a:cubicBezTo>
                    <a:pt x="6388" y="2607"/>
                    <a:pt x="8018" y="3855"/>
                    <a:pt x="9206" y="5282"/>
                  </a:cubicBezTo>
                  <a:cubicBezTo>
                    <a:pt x="7835" y="5183"/>
                    <a:pt x="6448" y="5322"/>
                    <a:pt x="5183" y="5685"/>
                  </a:cubicBezTo>
                  <a:cubicBezTo>
                    <a:pt x="3869" y="6061"/>
                    <a:pt x="2736" y="6664"/>
                    <a:pt x="1902" y="7430"/>
                  </a:cubicBezTo>
                  <a:cubicBezTo>
                    <a:pt x="2195" y="8618"/>
                    <a:pt x="2674" y="9782"/>
                    <a:pt x="3333" y="10905"/>
                  </a:cubicBezTo>
                  <a:cubicBezTo>
                    <a:pt x="4413" y="12747"/>
                    <a:pt x="5961" y="14455"/>
                    <a:pt x="7910" y="15956"/>
                  </a:cubicBezTo>
                  <a:lnTo>
                    <a:pt x="10573" y="14113"/>
                  </a:lnTo>
                  <a:cubicBezTo>
                    <a:pt x="11639" y="14299"/>
                    <a:pt x="12578" y="14715"/>
                    <a:pt x="13240" y="15295"/>
                  </a:cubicBezTo>
                  <a:cubicBezTo>
                    <a:pt x="14797" y="16658"/>
                    <a:pt x="14606" y="18564"/>
                    <a:pt x="12790" y="19781"/>
                  </a:cubicBezTo>
                  <a:cubicBezTo>
                    <a:pt x="14554" y="19511"/>
                    <a:pt x="16401" y="19593"/>
                    <a:pt x="18094" y="20017"/>
                  </a:cubicBezTo>
                  <a:cubicBezTo>
                    <a:pt x="19437" y="20354"/>
                    <a:pt x="20639" y="20897"/>
                    <a:pt x="21600" y="21600"/>
                  </a:cubicBezTo>
                </a:path>
              </a:pathLst>
            </a:custGeom>
            <a:solidFill>
              <a:schemeClr val="accent2">
                <a:lumMod val="40000"/>
                <a:lumOff val="60000"/>
              </a:schemeClr>
            </a:solidFill>
            <a:ln w="127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43" name="线条"/>
            <p:cNvSpPr/>
            <p:nvPr/>
          </p:nvSpPr>
          <p:spPr>
            <a:xfrm>
              <a:off x="6655882" y="3963328"/>
              <a:ext cx="88988" cy="128132"/>
            </a:xfrm>
            <a:custGeom>
              <a:avLst/>
              <a:gdLst/>
              <a:ahLst/>
              <a:cxnLst>
                <a:cxn ang="0">
                  <a:pos x="wd2" y="hd2"/>
                </a:cxn>
                <a:cxn ang="5400000">
                  <a:pos x="wd2" y="hd2"/>
                </a:cxn>
                <a:cxn ang="10800000">
                  <a:pos x="wd2" y="hd2"/>
                </a:cxn>
                <a:cxn ang="16200000">
                  <a:pos x="wd2" y="hd2"/>
                </a:cxn>
              </a:cxnLst>
              <a:rect l="0" t="0" r="r" b="b"/>
              <a:pathLst>
                <a:path w="21251" h="21600" extrusionOk="0">
                  <a:moveTo>
                    <a:pt x="2003" y="0"/>
                  </a:moveTo>
                  <a:cubicBezTo>
                    <a:pt x="2607" y="692"/>
                    <a:pt x="3055" y="1446"/>
                    <a:pt x="3331" y="2235"/>
                  </a:cubicBezTo>
                  <a:cubicBezTo>
                    <a:pt x="3537" y="2823"/>
                    <a:pt x="3645" y="3426"/>
                    <a:pt x="3653" y="4031"/>
                  </a:cubicBezTo>
                  <a:cubicBezTo>
                    <a:pt x="2773" y="4932"/>
                    <a:pt x="2386" y="6028"/>
                    <a:pt x="2566" y="7116"/>
                  </a:cubicBezTo>
                  <a:cubicBezTo>
                    <a:pt x="2740" y="8172"/>
                    <a:pt x="3437" y="9151"/>
                    <a:pt x="4535" y="9879"/>
                  </a:cubicBezTo>
                  <a:cubicBezTo>
                    <a:pt x="2393" y="10466"/>
                    <a:pt x="785" y="11747"/>
                    <a:pt x="219" y="13319"/>
                  </a:cubicBezTo>
                  <a:cubicBezTo>
                    <a:pt x="-349" y="14897"/>
                    <a:pt x="203" y="16571"/>
                    <a:pt x="1700" y="17810"/>
                  </a:cubicBezTo>
                  <a:cubicBezTo>
                    <a:pt x="3360" y="17922"/>
                    <a:pt x="4974" y="18257"/>
                    <a:pt x="6457" y="18795"/>
                  </a:cubicBezTo>
                  <a:cubicBezTo>
                    <a:pt x="7770" y="19273"/>
                    <a:pt x="8960" y="19903"/>
                    <a:pt x="9976" y="20659"/>
                  </a:cubicBezTo>
                  <a:cubicBezTo>
                    <a:pt x="10945" y="19997"/>
                    <a:pt x="12335" y="19742"/>
                    <a:pt x="13638" y="19986"/>
                  </a:cubicBezTo>
                  <a:cubicBezTo>
                    <a:pt x="14809" y="20206"/>
                    <a:pt x="15762" y="20805"/>
                    <a:pt x="16207" y="21600"/>
                  </a:cubicBezTo>
                  <a:cubicBezTo>
                    <a:pt x="16994" y="21094"/>
                    <a:pt x="17885" y="20675"/>
                    <a:pt x="18849" y="20358"/>
                  </a:cubicBezTo>
                  <a:cubicBezTo>
                    <a:pt x="19615" y="20105"/>
                    <a:pt x="20422" y="19919"/>
                    <a:pt x="21251" y="19803"/>
                  </a:cubicBezTo>
                </a:path>
              </a:pathLst>
            </a:custGeom>
            <a:solidFill>
              <a:schemeClr val="accent2">
                <a:lumMod val="40000"/>
                <a:lumOff val="60000"/>
              </a:schemeClr>
            </a:solidFill>
            <a:ln w="127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44" name="形状"/>
            <p:cNvSpPr/>
            <p:nvPr/>
          </p:nvSpPr>
          <p:spPr>
            <a:xfrm>
              <a:off x="6437603" y="6211522"/>
              <a:ext cx="13456" cy="22851"/>
            </a:xfrm>
            <a:custGeom>
              <a:avLst/>
              <a:gdLst/>
              <a:ahLst/>
              <a:cxnLst>
                <a:cxn ang="0">
                  <a:pos x="wd2" y="hd2"/>
                </a:cxn>
                <a:cxn ang="5400000">
                  <a:pos x="wd2" y="hd2"/>
                </a:cxn>
                <a:cxn ang="10800000">
                  <a:pos x="wd2" y="hd2"/>
                </a:cxn>
                <a:cxn ang="16200000">
                  <a:pos x="wd2" y="hd2"/>
                </a:cxn>
              </a:cxnLst>
              <a:rect l="0" t="0" r="r" b="b"/>
              <a:pathLst>
                <a:path w="20525" h="19965" extrusionOk="0">
                  <a:moveTo>
                    <a:pt x="1599" y="2571"/>
                  </a:moveTo>
                  <a:cubicBezTo>
                    <a:pt x="4660" y="-1635"/>
                    <a:pt x="15594" y="-385"/>
                    <a:pt x="15601" y="4172"/>
                  </a:cubicBezTo>
                  <a:cubicBezTo>
                    <a:pt x="15607" y="8123"/>
                    <a:pt x="14565" y="14267"/>
                    <a:pt x="19482" y="12189"/>
                  </a:cubicBezTo>
                  <a:cubicBezTo>
                    <a:pt x="21298" y="11422"/>
                    <a:pt x="20620" y="9783"/>
                    <a:pt x="18396" y="9564"/>
                  </a:cubicBezTo>
                  <a:cubicBezTo>
                    <a:pt x="18914" y="12659"/>
                    <a:pt x="16772" y="15704"/>
                    <a:pt x="12652" y="17728"/>
                  </a:cubicBezTo>
                  <a:cubicBezTo>
                    <a:pt x="9950" y="19056"/>
                    <a:pt x="6564" y="19841"/>
                    <a:pt x="3010" y="19965"/>
                  </a:cubicBezTo>
                  <a:cubicBezTo>
                    <a:pt x="1511" y="17542"/>
                    <a:pt x="562" y="15018"/>
                    <a:pt x="185" y="12456"/>
                  </a:cubicBezTo>
                  <a:cubicBezTo>
                    <a:pt x="-302" y="9139"/>
                    <a:pt x="176" y="5798"/>
                    <a:pt x="1599" y="2571"/>
                  </a:cubicBezTo>
                  <a:close/>
                </a:path>
              </a:pathLst>
            </a:custGeom>
            <a:solidFill>
              <a:schemeClr val="accent2">
                <a:lumMod val="40000"/>
                <a:lumOff val="60000"/>
              </a:scheme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45" name="形状"/>
            <p:cNvSpPr/>
            <p:nvPr/>
          </p:nvSpPr>
          <p:spPr>
            <a:xfrm>
              <a:off x="5834629" y="6523483"/>
              <a:ext cx="303890" cy="251431"/>
            </a:xfrm>
            <a:custGeom>
              <a:avLst/>
              <a:gdLst/>
              <a:ahLst/>
              <a:cxnLst>
                <a:cxn ang="0">
                  <a:pos x="wd2" y="hd2"/>
                </a:cxn>
                <a:cxn ang="5400000">
                  <a:pos x="wd2" y="hd2"/>
                </a:cxn>
                <a:cxn ang="10800000">
                  <a:pos x="wd2" y="hd2"/>
                </a:cxn>
                <a:cxn ang="16200000">
                  <a:pos x="wd2" y="hd2"/>
                </a:cxn>
              </a:cxnLst>
              <a:rect l="0" t="0" r="r" b="b"/>
              <a:pathLst>
                <a:path w="21580" h="21443" extrusionOk="0">
                  <a:moveTo>
                    <a:pt x="5513" y="4545"/>
                  </a:moveTo>
                  <a:cubicBezTo>
                    <a:pt x="5221" y="4646"/>
                    <a:pt x="4908" y="4503"/>
                    <a:pt x="4745" y="4196"/>
                  </a:cubicBezTo>
                  <a:cubicBezTo>
                    <a:pt x="4421" y="3585"/>
                    <a:pt x="4774" y="2783"/>
                    <a:pt x="5377" y="2761"/>
                  </a:cubicBezTo>
                  <a:lnTo>
                    <a:pt x="7556" y="3473"/>
                  </a:lnTo>
                  <a:cubicBezTo>
                    <a:pt x="7674" y="3131"/>
                    <a:pt x="7837" y="2813"/>
                    <a:pt x="8037" y="2532"/>
                  </a:cubicBezTo>
                  <a:cubicBezTo>
                    <a:pt x="8390" y="2036"/>
                    <a:pt x="8848" y="1664"/>
                    <a:pt x="9362" y="1457"/>
                  </a:cubicBezTo>
                  <a:cubicBezTo>
                    <a:pt x="9328" y="2252"/>
                    <a:pt x="9980" y="2831"/>
                    <a:pt x="10603" y="2557"/>
                  </a:cubicBezTo>
                  <a:cubicBezTo>
                    <a:pt x="10866" y="2442"/>
                    <a:pt x="11061" y="2172"/>
                    <a:pt x="11120" y="1843"/>
                  </a:cubicBezTo>
                  <a:cubicBezTo>
                    <a:pt x="11332" y="2524"/>
                    <a:pt x="11955" y="2881"/>
                    <a:pt x="12530" y="2651"/>
                  </a:cubicBezTo>
                  <a:cubicBezTo>
                    <a:pt x="13044" y="2444"/>
                    <a:pt x="13326" y="1833"/>
                    <a:pt x="13739" y="1452"/>
                  </a:cubicBezTo>
                  <a:cubicBezTo>
                    <a:pt x="14055" y="1162"/>
                    <a:pt x="14441" y="1004"/>
                    <a:pt x="14838" y="1003"/>
                  </a:cubicBezTo>
                  <a:lnTo>
                    <a:pt x="17305" y="1089"/>
                  </a:lnTo>
                  <a:lnTo>
                    <a:pt x="18177" y="0"/>
                  </a:lnTo>
                  <a:cubicBezTo>
                    <a:pt x="18387" y="569"/>
                    <a:pt x="18744" y="1043"/>
                    <a:pt x="19195" y="1349"/>
                  </a:cubicBezTo>
                  <a:cubicBezTo>
                    <a:pt x="19625" y="1640"/>
                    <a:pt x="20118" y="1766"/>
                    <a:pt x="20608" y="1710"/>
                  </a:cubicBezTo>
                  <a:lnTo>
                    <a:pt x="21580" y="5438"/>
                  </a:lnTo>
                  <a:lnTo>
                    <a:pt x="19761" y="7145"/>
                  </a:lnTo>
                  <a:lnTo>
                    <a:pt x="17673" y="9337"/>
                  </a:lnTo>
                  <a:cubicBezTo>
                    <a:pt x="18031" y="9673"/>
                    <a:pt x="18203" y="10220"/>
                    <a:pt x="18122" y="10756"/>
                  </a:cubicBezTo>
                  <a:cubicBezTo>
                    <a:pt x="18022" y="11416"/>
                    <a:pt x="17578" y="11878"/>
                    <a:pt x="17299" y="12430"/>
                  </a:cubicBezTo>
                  <a:cubicBezTo>
                    <a:pt x="16955" y="13112"/>
                    <a:pt x="16850" y="13930"/>
                    <a:pt x="17007" y="14705"/>
                  </a:cubicBezTo>
                  <a:lnTo>
                    <a:pt x="16349" y="16109"/>
                  </a:lnTo>
                  <a:lnTo>
                    <a:pt x="14165" y="16515"/>
                  </a:lnTo>
                  <a:lnTo>
                    <a:pt x="13020" y="18623"/>
                  </a:lnTo>
                  <a:lnTo>
                    <a:pt x="11975" y="19294"/>
                  </a:lnTo>
                  <a:lnTo>
                    <a:pt x="10102" y="19220"/>
                  </a:lnTo>
                  <a:cubicBezTo>
                    <a:pt x="10302" y="19684"/>
                    <a:pt x="10287" y="20239"/>
                    <a:pt x="10063" y="20687"/>
                  </a:cubicBezTo>
                  <a:cubicBezTo>
                    <a:pt x="9745" y="21321"/>
                    <a:pt x="9100" y="21600"/>
                    <a:pt x="8519" y="21354"/>
                  </a:cubicBezTo>
                  <a:lnTo>
                    <a:pt x="7040" y="20907"/>
                  </a:lnTo>
                  <a:cubicBezTo>
                    <a:pt x="6807" y="20611"/>
                    <a:pt x="6502" y="20412"/>
                    <a:pt x="6168" y="20341"/>
                  </a:cubicBezTo>
                  <a:cubicBezTo>
                    <a:pt x="5803" y="20263"/>
                    <a:pt x="5419" y="20342"/>
                    <a:pt x="5068" y="20193"/>
                  </a:cubicBezTo>
                  <a:cubicBezTo>
                    <a:pt x="4740" y="20054"/>
                    <a:pt x="4486" y="19736"/>
                    <a:pt x="4383" y="19336"/>
                  </a:cubicBezTo>
                  <a:cubicBezTo>
                    <a:pt x="4065" y="19632"/>
                    <a:pt x="3644" y="19714"/>
                    <a:pt x="3263" y="19556"/>
                  </a:cubicBezTo>
                  <a:cubicBezTo>
                    <a:pt x="3005" y="19449"/>
                    <a:pt x="2787" y="19236"/>
                    <a:pt x="2645" y="18955"/>
                  </a:cubicBezTo>
                  <a:cubicBezTo>
                    <a:pt x="2496" y="18724"/>
                    <a:pt x="2294" y="18550"/>
                    <a:pt x="2064" y="18455"/>
                  </a:cubicBezTo>
                  <a:cubicBezTo>
                    <a:pt x="1703" y="18306"/>
                    <a:pt x="1301" y="18361"/>
                    <a:pt x="951" y="18180"/>
                  </a:cubicBezTo>
                  <a:cubicBezTo>
                    <a:pt x="682" y="18041"/>
                    <a:pt x="472" y="17778"/>
                    <a:pt x="367" y="17450"/>
                  </a:cubicBezTo>
                  <a:cubicBezTo>
                    <a:pt x="517" y="17120"/>
                    <a:pt x="599" y="16752"/>
                    <a:pt x="607" y="16376"/>
                  </a:cubicBezTo>
                  <a:cubicBezTo>
                    <a:pt x="619" y="15791"/>
                    <a:pt x="453" y="15220"/>
                    <a:pt x="140" y="14771"/>
                  </a:cubicBezTo>
                  <a:cubicBezTo>
                    <a:pt x="249" y="14172"/>
                    <a:pt x="281" y="13556"/>
                    <a:pt x="234" y="12945"/>
                  </a:cubicBezTo>
                  <a:cubicBezTo>
                    <a:pt x="174" y="12144"/>
                    <a:pt x="-20" y="11358"/>
                    <a:pt x="2" y="10553"/>
                  </a:cubicBezTo>
                  <a:cubicBezTo>
                    <a:pt x="20" y="9851"/>
                    <a:pt x="202" y="9169"/>
                    <a:pt x="526" y="8584"/>
                  </a:cubicBezTo>
                  <a:cubicBezTo>
                    <a:pt x="1128" y="8152"/>
                    <a:pt x="1724" y="7706"/>
                    <a:pt x="2312" y="7246"/>
                  </a:cubicBezTo>
                  <a:cubicBezTo>
                    <a:pt x="3405" y="6391"/>
                    <a:pt x="4473" y="5491"/>
                    <a:pt x="5513" y="4545"/>
                  </a:cubicBezTo>
                  <a:close/>
                </a:path>
              </a:pathLst>
            </a:custGeom>
            <a:solidFill>
              <a:schemeClr val="accent2">
                <a:lumMod val="40000"/>
                <a:lumOff val="60000"/>
              </a:scheme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46" name="线条"/>
            <p:cNvSpPr/>
            <p:nvPr/>
          </p:nvSpPr>
          <p:spPr>
            <a:xfrm>
              <a:off x="6908192" y="2139680"/>
              <a:ext cx="1039186" cy="1146268"/>
            </a:xfrm>
            <a:custGeom>
              <a:avLst/>
              <a:gdLst/>
              <a:ahLst/>
              <a:cxnLst>
                <a:cxn ang="0">
                  <a:pos x="wd2" y="hd2"/>
                </a:cxn>
                <a:cxn ang="5400000">
                  <a:pos x="wd2" y="hd2"/>
                </a:cxn>
                <a:cxn ang="10800000">
                  <a:pos x="wd2" y="hd2"/>
                </a:cxn>
                <a:cxn ang="16200000">
                  <a:pos x="wd2" y="hd2"/>
                </a:cxn>
              </a:cxnLst>
              <a:rect l="0" t="0" r="r" b="b"/>
              <a:pathLst>
                <a:path w="21600" h="21600" extrusionOk="0">
                  <a:moveTo>
                    <a:pt x="341" y="0"/>
                  </a:moveTo>
                  <a:cubicBezTo>
                    <a:pt x="489" y="251"/>
                    <a:pt x="557" y="535"/>
                    <a:pt x="536" y="819"/>
                  </a:cubicBezTo>
                  <a:cubicBezTo>
                    <a:pt x="508" y="1211"/>
                    <a:pt x="316" y="1579"/>
                    <a:pt x="0" y="1847"/>
                  </a:cubicBezTo>
                  <a:lnTo>
                    <a:pt x="700" y="2189"/>
                  </a:lnTo>
                  <a:lnTo>
                    <a:pt x="1304" y="2401"/>
                  </a:lnTo>
                  <a:lnTo>
                    <a:pt x="1618" y="1771"/>
                  </a:lnTo>
                  <a:lnTo>
                    <a:pt x="2202" y="2203"/>
                  </a:lnTo>
                  <a:lnTo>
                    <a:pt x="2796" y="2371"/>
                  </a:lnTo>
                  <a:lnTo>
                    <a:pt x="2536" y="2720"/>
                  </a:lnTo>
                  <a:lnTo>
                    <a:pt x="3168" y="4307"/>
                  </a:lnTo>
                  <a:lnTo>
                    <a:pt x="4111" y="4512"/>
                  </a:lnTo>
                  <a:lnTo>
                    <a:pt x="4664" y="4209"/>
                  </a:lnTo>
                  <a:lnTo>
                    <a:pt x="6217" y="4014"/>
                  </a:lnTo>
                  <a:lnTo>
                    <a:pt x="6777" y="3235"/>
                  </a:lnTo>
                  <a:lnTo>
                    <a:pt x="7412" y="3331"/>
                  </a:lnTo>
                  <a:lnTo>
                    <a:pt x="8881" y="4736"/>
                  </a:lnTo>
                  <a:lnTo>
                    <a:pt x="8426" y="5189"/>
                  </a:lnTo>
                  <a:lnTo>
                    <a:pt x="8480" y="5731"/>
                  </a:lnTo>
                  <a:lnTo>
                    <a:pt x="8123" y="6061"/>
                  </a:lnTo>
                  <a:lnTo>
                    <a:pt x="7762" y="6975"/>
                  </a:lnTo>
                  <a:lnTo>
                    <a:pt x="7754" y="7946"/>
                  </a:lnTo>
                  <a:lnTo>
                    <a:pt x="8001" y="8587"/>
                  </a:lnTo>
                  <a:lnTo>
                    <a:pt x="7868" y="9249"/>
                  </a:lnTo>
                  <a:lnTo>
                    <a:pt x="7505" y="9278"/>
                  </a:lnTo>
                  <a:lnTo>
                    <a:pt x="7130" y="10157"/>
                  </a:lnTo>
                  <a:lnTo>
                    <a:pt x="7115" y="11098"/>
                  </a:lnTo>
                  <a:lnTo>
                    <a:pt x="7318" y="11513"/>
                  </a:lnTo>
                  <a:lnTo>
                    <a:pt x="7170" y="11847"/>
                  </a:lnTo>
                  <a:lnTo>
                    <a:pt x="6571" y="10942"/>
                  </a:lnTo>
                  <a:lnTo>
                    <a:pt x="6257" y="11086"/>
                  </a:lnTo>
                  <a:lnTo>
                    <a:pt x="5473" y="12073"/>
                  </a:lnTo>
                  <a:lnTo>
                    <a:pt x="5062" y="12463"/>
                  </a:lnTo>
                  <a:lnTo>
                    <a:pt x="5011" y="12850"/>
                  </a:lnTo>
                  <a:lnTo>
                    <a:pt x="4476" y="13107"/>
                  </a:lnTo>
                  <a:lnTo>
                    <a:pt x="4010" y="13522"/>
                  </a:lnTo>
                  <a:lnTo>
                    <a:pt x="3721" y="14073"/>
                  </a:lnTo>
                  <a:lnTo>
                    <a:pt x="4081" y="14606"/>
                  </a:lnTo>
                  <a:lnTo>
                    <a:pt x="4785" y="15262"/>
                  </a:lnTo>
                  <a:lnTo>
                    <a:pt x="5402" y="15270"/>
                  </a:lnTo>
                  <a:lnTo>
                    <a:pt x="5891" y="14756"/>
                  </a:lnTo>
                  <a:lnTo>
                    <a:pt x="6181" y="15300"/>
                  </a:lnTo>
                  <a:lnTo>
                    <a:pt x="5203" y="15808"/>
                  </a:lnTo>
                  <a:lnTo>
                    <a:pt x="4957" y="16107"/>
                  </a:lnTo>
                  <a:lnTo>
                    <a:pt x="5444" y="16693"/>
                  </a:lnTo>
                  <a:lnTo>
                    <a:pt x="7052" y="16399"/>
                  </a:lnTo>
                  <a:lnTo>
                    <a:pt x="7265" y="16906"/>
                  </a:lnTo>
                  <a:lnTo>
                    <a:pt x="7310" y="17744"/>
                  </a:lnTo>
                  <a:lnTo>
                    <a:pt x="8260" y="18267"/>
                  </a:lnTo>
                  <a:lnTo>
                    <a:pt x="9228" y="18044"/>
                  </a:lnTo>
                  <a:lnTo>
                    <a:pt x="9791" y="18263"/>
                  </a:lnTo>
                  <a:cubicBezTo>
                    <a:pt x="9931" y="18186"/>
                    <a:pt x="10072" y="18110"/>
                    <a:pt x="10212" y="18033"/>
                  </a:cubicBezTo>
                  <a:cubicBezTo>
                    <a:pt x="10353" y="17956"/>
                    <a:pt x="10493" y="17879"/>
                    <a:pt x="10634" y="17803"/>
                  </a:cubicBezTo>
                  <a:lnTo>
                    <a:pt x="10660" y="18365"/>
                  </a:lnTo>
                  <a:lnTo>
                    <a:pt x="11417" y="18564"/>
                  </a:lnTo>
                  <a:lnTo>
                    <a:pt x="12303" y="18231"/>
                  </a:lnTo>
                  <a:lnTo>
                    <a:pt x="13279" y="18484"/>
                  </a:lnTo>
                  <a:lnTo>
                    <a:pt x="13182" y="19065"/>
                  </a:lnTo>
                  <a:lnTo>
                    <a:pt x="13335" y="19519"/>
                  </a:lnTo>
                  <a:lnTo>
                    <a:pt x="13942" y="19343"/>
                  </a:lnTo>
                  <a:lnTo>
                    <a:pt x="14664" y="20415"/>
                  </a:lnTo>
                  <a:lnTo>
                    <a:pt x="15293" y="20550"/>
                  </a:lnTo>
                  <a:lnTo>
                    <a:pt x="15655" y="19761"/>
                  </a:lnTo>
                  <a:lnTo>
                    <a:pt x="16046" y="19392"/>
                  </a:lnTo>
                  <a:lnTo>
                    <a:pt x="16354" y="20388"/>
                  </a:lnTo>
                  <a:lnTo>
                    <a:pt x="17299" y="21600"/>
                  </a:lnTo>
                  <a:lnTo>
                    <a:pt x="17974" y="21390"/>
                  </a:lnTo>
                  <a:lnTo>
                    <a:pt x="17986" y="20947"/>
                  </a:lnTo>
                  <a:lnTo>
                    <a:pt x="18776" y="20415"/>
                  </a:lnTo>
                  <a:lnTo>
                    <a:pt x="18975" y="19976"/>
                  </a:lnTo>
                  <a:lnTo>
                    <a:pt x="19436" y="20434"/>
                  </a:lnTo>
                  <a:lnTo>
                    <a:pt x="19794" y="19922"/>
                  </a:lnTo>
                  <a:lnTo>
                    <a:pt x="20110" y="20506"/>
                  </a:lnTo>
                  <a:lnTo>
                    <a:pt x="21198" y="21153"/>
                  </a:lnTo>
                  <a:lnTo>
                    <a:pt x="21600" y="21069"/>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47" name="线条"/>
            <p:cNvSpPr/>
            <p:nvPr/>
          </p:nvSpPr>
          <p:spPr>
            <a:xfrm>
              <a:off x="6845569" y="3399687"/>
              <a:ext cx="425249" cy="473985"/>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487" y="1482"/>
                  </a:lnTo>
                  <a:lnTo>
                    <a:pt x="20511" y="1796"/>
                  </a:lnTo>
                  <a:lnTo>
                    <a:pt x="19524" y="2682"/>
                  </a:lnTo>
                  <a:lnTo>
                    <a:pt x="18193" y="3735"/>
                  </a:lnTo>
                  <a:lnTo>
                    <a:pt x="15847" y="3281"/>
                  </a:lnTo>
                  <a:lnTo>
                    <a:pt x="15829" y="4437"/>
                  </a:lnTo>
                  <a:lnTo>
                    <a:pt x="14259" y="4462"/>
                  </a:lnTo>
                  <a:lnTo>
                    <a:pt x="12831" y="6232"/>
                  </a:lnTo>
                  <a:lnTo>
                    <a:pt x="11772" y="5943"/>
                  </a:lnTo>
                  <a:lnTo>
                    <a:pt x="9780" y="7593"/>
                  </a:lnTo>
                  <a:lnTo>
                    <a:pt x="7819" y="8040"/>
                  </a:lnTo>
                  <a:lnTo>
                    <a:pt x="7101" y="9174"/>
                  </a:lnTo>
                  <a:lnTo>
                    <a:pt x="5626" y="11170"/>
                  </a:lnTo>
                  <a:lnTo>
                    <a:pt x="4545" y="9451"/>
                  </a:lnTo>
                  <a:lnTo>
                    <a:pt x="3903" y="8364"/>
                  </a:lnTo>
                  <a:lnTo>
                    <a:pt x="2838" y="7720"/>
                  </a:lnTo>
                  <a:lnTo>
                    <a:pt x="1612" y="8563"/>
                  </a:lnTo>
                  <a:lnTo>
                    <a:pt x="2085" y="9699"/>
                  </a:lnTo>
                  <a:lnTo>
                    <a:pt x="2133" y="12147"/>
                  </a:lnTo>
                  <a:lnTo>
                    <a:pt x="2372" y="13221"/>
                  </a:lnTo>
                  <a:lnTo>
                    <a:pt x="952" y="15524"/>
                  </a:lnTo>
                  <a:lnTo>
                    <a:pt x="0" y="17122"/>
                  </a:lnTo>
                  <a:lnTo>
                    <a:pt x="1544" y="17972"/>
                  </a:lnTo>
                  <a:lnTo>
                    <a:pt x="2721" y="18811"/>
                  </a:lnTo>
                  <a:lnTo>
                    <a:pt x="4346" y="18860"/>
                  </a:lnTo>
                  <a:lnTo>
                    <a:pt x="4376" y="19778"/>
                  </a:lnTo>
                  <a:lnTo>
                    <a:pt x="5296" y="21600"/>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48" name="线条"/>
            <p:cNvSpPr/>
            <p:nvPr/>
          </p:nvSpPr>
          <p:spPr>
            <a:xfrm>
              <a:off x="6346410" y="3550947"/>
              <a:ext cx="532172" cy="881443"/>
            </a:xfrm>
            <a:custGeom>
              <a:avLst/>
              <a:gdLst/>
              <a:ahLst/>
              <a:cxnLst>
                <a:cxn ang="0">
                  <a:pos x="wd2" y="hd2"/>
                </a:cxn>
                <a:cxn ang="5400000">
                  <a:pos x="wd2" y="hd2"/>
                </a:cxn>
                <a:cxn ang="10800000">
                  <a:pos x="wd2" y="hd2"/>
                </a:cxn>
                <a:cxn ang="16200000">
                  <a:pos x="wd2" y="hd2"/>
                </a:cxn>
              </a:cxnLst>
              <a:rect l="0" t="0" r="r" b="b"/>
              <a:pathLst>
                <a:path w="21600" h="21600" extrusionOk="0">
                  <a:moveTo>
                    <a:pt x="21600" y="4022"/>
                  </a:moveTo>
                  <a:lnTo>
                    <a:pt x="20786" y="4037"/>
                  </a:lnTo>
                  <a:lnTo>
                    <a:pt x="20227" y="3911"/>
                  </a:lnTo>
                  <a:lnTo>
                    <a:pt x="18168" y="4063"/>
                  </a:lnTo>
                  <a:lnTo>
                    <a:pt x="17900" y="3626"/>
                  </a:lnTo>
                  <a:lnTo>
                    <a:pt x="17469" y="2695"/>
                  </a:lnTo>
                  <a:lnTo>
                    <a:pt x="17992" y="2356"/>
                  </a:lnTo>
                  <a:lnTo>
                    <a:pt x="17674" y="1740"/>
                  </a:lnTo>
                  <a:lnTo>
                    <a:pt x="17291" y="1630"/>
                  </a:lnTo>
                  <a:lnTo>
                    <a:pt x="16501" y="1166"/>
                  </a:lnTo>
                  <a:lnTo>
                    <a:pt x="16504" y="790"/>
                  </a:lnTo>
                  <a:lnTo>
                    <a:pt x="15817" y="0"/>
                  </a:lnTo>
                  <a:lnTo>
                    <a:pt x="14520" y="118"/>
                  </a:lnTo>
                  <a:lnTo>
                    <a:pt x="13532" y="626"/>
                  </a:lnTo>
                  <a:lnTo>
                    <a:pt x="12534" y="551"/>
                  </a:lnTo>
                  <a:lnTo>
                    <a:pt x="11910" y="925"/>
                  </a:lnTo>
                  <a:lnTo>
                    <a:pt x="11852" y="1541"/>
                  </a:lnTo>
                  <a:lnTo>
                    <a:pt x="12284" y="2028"/>
                  </a:lnTo>
                  <a:lnTo>
                    <a:pt x="11514" y="2359"/>
                  </a:lnTo>
                  <a:lnTo>
                    <a:pt x="10224" y="2151"/>
                  </a:lnTo>
                  <a:lnTo>
                    <a:pt x="8902" y="2939"/>
                  </a:lnTo>
                  <a:lnTo>
                    <a:pt x="8545" y="2547"/>
                  </a:lnTo>
                  <a:lnTo>
                    <a:pt x="7984" y="2547"/>
                  </a:lnTo>
                  <a:lnTo>
                    <a:pt x="6331" y="3276"/>
                  </a:lnTo>
                  <a:lnTo>
                    <a:pt x="6254" y="3747"/>
                  </a:lnTo>
                  <a:lnTo>
                    <a:pt x="5239" y="3694"/>
                  </a:lnTo>
                  <a:lnTo>
                    <a:pt x="4365" y="3416"/>
                  </a:lnTo>
                  <a:lnTo>
                    <a:pt x="4684" y="2561"/>
                  </a:lnTo>
                  <a:lnTo>
                    <a:pt x="4385" y="1461"/>
                  </a:lnTo>
                  <a:lnTo>
                    <a:pt x="3975" y="1984"/>
                  </a:lnTo>
                  <a:lnTo>
                    <a:pt x="3220" y="1906"/>
                  </a:lnTo>
                  <a:lnTo>
                    <a:pt x="2685" y="2228"/>
                  </a:lnTo>
                  <a:lnTo>
                    <a:pt x="2849" y="2735"/>
                  </a:lnTo>
                  <a:lnTo>
                    <a:pt x="2361" y="2820"/>
                  </a:lnTo>
                  <a:lnTo>
                    <a:pt x="1944" y="3255"/>
                  </a:lnTo>
                  <a:lnTo>
                    <a:pt x="2127" y="3846"/>
                  </a:lnTo>
                  <a:lnTo>
                    <a:pt x="1650" y="4045"/>
                  </a:lnTo>
                  <a:lnTo>
                    <a:pt x="1056" y="4124"/>
                  </a:lnTo>
                  <a:lnTo>
                    <a:pt x="779" y="4645"/>
                  </a:lnTo>
                  <a:lnTo>
                    <a:pt x="1343" y="5132"/>
                  </a:lnTo>
                  <a:lnTo>
                    <a:pt x="898" y="5479"/>
                  </a:lnTo>
                  <a:lnTo>
                    <a:pt x="1825" y="6438"/>
                  </a:lnTo>
                  <a:lnTo>
                    <a:pt x="2590" y="7130"/>
                  </a:lnTo>
                  <a:lnTo>
                    <a:pt x="2663" y="7706"/>
                  </a:lnTo>
                  <a:lnTo>
                    <a:pt x="3631" y="7955"/>
                  </a:lnTo>
                  <a:lnTo>
                    <a:pt x="2074" y="8446"/>
                  </a:lnTo>
                  <a:lnTo>
                    <a:pt x="1372" y="8885"/>
                  </a:lnTo>
                  <a:lnTo>
                    <a:pt x="2555" y="9513"/>
                  </a:lnTo>
                  <a:lnTo>
                    <a:pt x="3338" y="9416"/>
                  </a:lnTo>
                  <a:lnTo>
                    <a:pt x="3235" y="10079"/>
                  </a:lnTo>
                  <a:lnTo>
                    <a:pt x="3860" y="10555"/>
                  </a:lnTo>
                  <a:lnTo>
                    <a:pt x="3311" y="11127"/>
                  </a:lnTo>
                  <a:lnTo>
                    <a:pt x="3430" y="11649"/>
                  </a:lnTo>
                  <a:lnTo>
                    <a:pt x="2658" y="11928"/>
                  </a:lnTo>
                  <a:lnTo>
                    <a:pt x="1719" y="11854"/>
                  </a:lnTo>
                  <a:lnTo>
                    <a:pt x="632" y="12470"/>
                  </a:lnTo>
                  <a:lnTo>
                    <a:pt x="1161" y="13168"/>
                  </a:lnTo>
                  <a:lnTo>
                    <a:pt x="262" y="13650"/>
                  </a:lnTo>
                  <a:lnTo>
                    <a:pt x="0" y="14422"/>
                  </a:lnTo>
                  <a:lnTo>
                    <a:pt x="415" y="14993"/>
                  </a:lnTo>
                  <a:lnTo>
                    <a:pt x="1398" y="15123"/>
                  </a:lnTo>
                  <a:lnTo>
                    <a:pt x="2261" y="16515"/>
                  </a:lnTo>
                  <a:lnTo>
                    <a:pt x="2471" y="17047"/>
                  </a:lnTo>
                  <a:lnTo>
                    <a:pt x="1203" y="18479"/>
                  </a:lnTo>
                  <a:lnTo>
                    <a:pt x="1460" y="19286"/>
                  </a:lnTo>
                  <a:lnTo>
                    <a:pt x="199" y="19936"/>
                  </a:lnTo>
                  <a:lnTo>
                    <a:pt x="1423" y="21077"/>
                  </a:lnTo>
                  <a:lnTo>
                    <a:pt x="2499" y="21111"/>
                  </a:lnTo>
                  <a:lnTo>
                    <a:pt x="4871" y="21437"/>
                  </a:lnTo>
                  <a:lnTo>
                    <a:pt x="6361" y="21600"/>
                  </a:lnTo>
                  <a:lnTo>
                    <a:pt x="7651" y="21234"/>
                  </a:lnTo>
                  <a:lnTo>
                    <a:pt x="8871" y="21388"/>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49" name="线条"/>
            <p:cNvSpPr/>
            <p:nvPr/>
          </p:nvSpPr>
          <p:spPr>
            <a:xfrm>
              <a:off x="6027724" y="3811337"/>
              <a:ext cx="361677" cy="835976"/>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403" y="814"/>
                  </a:lnTo>
                  <a:lnTo>
                    <a:pt x="20708" y="1023"/>
                  </a:lnTo>
                  <a:lnTo>
                    <a:pt x="19988" y="1000"/>
                  </a:lnTo>
                  <a:lnTo>
                    <a:pt x="18803" y="1438"/>
                  </a:lnTo>
                  <a:lnTo>
                    <a:pt x="18835" y="1843"/>
                  </a:lnTo>
                  <a:lnTo>
                    <a:pt x="17894" y="1982"/>
                  </a:lnTo>
                  <a:lnTo>
                    <a:pt x="16652" y="1767"/>
                  </a:lnTo>
                  <a:lnTo>
                    <a:pt x="13705" y="1839"/>
                  </a:lnTo>
                  <a:lnTo>
                    <a:pt x="11696" y="1462"/>
                  </a:lnTo>
                  <a:lnTo>
                    <a:pt x="10832" y="1610"/>
                  </a:lnTo>
                  <a:lnTo>
                    <a:pt x="9986" y="2247"/>
                  </a:lnTo>
                  <a:lnTo>
                    <a:pt x="9917" y="4208"/>
                  </a:lnTo>
                  <a:lnTo>
                    <a:pt x="9227" y="4548"/>
                  </a:lnTo>
                  <a:lnTo>
                    <a:pt x="7803" y="4392"/>
                  </a:lnTo>
                  <a:lnTo>
                    <a:pt x="6795" y="4297"/>
                  </a:lnTo>
                  <a:lnTo>
                    <a:pt x="6455" y="4844"/>
                  </a:lnTo>
                  <a:lnTo>
                    <a:pt x="5495" y="4935"/>
                  </a:lnTo>
                  <a:lnTo>
                    <a:pt x="4514" y="5186"/>
                  </a:lnTo>
                  <a:lnTo>
                    <a:pt x="5739" y="5432"/>
                  </a:lnTo>
                  <a:lnTo>
                    <a:pt x="5201" y="5783"/>
                  </a:lnTo>
                  <a:lnTo>
                    <a:pt x="3647" y="7492"/>
                  </a:lnTo>
                  <a:lnTo>
                    <a:pt x="3243" y="8462"/>
                  </a:lnTo>
                  <a:lnTo>
                    <a:pt x="1821" y="8783"/>
                  </a:lnTo>
                  <a:lnTo>
                    <a:pt x="897" y="9391"/>
                  </a:lnTo>
                  <a:lnTo>
                    <a:pt x="1125" y="10008"/>
                  </a:lnTo>
                  <a:lnTo>
                    <a:pt x="3021" y="11102"/>
                  </a:lnTo>
                  <a:lnTo>
                    <a:pt x="3045" y="11532"/>
                  </a:lnTo>
                  <a:lnTo>
                    <a:pt x="2105" y="11857"/>
                  </a:lnTo>
                  <a:lnTo>
                    <a:pt x="2459" y="12258"/>
                  </a:lnTo>
                  <a:lnTo>
                    <a:pt x="1657" y="12808"/>
                  </a:lnTo>
                  <a:lnTo>
                    <a:pt x="692" y="13304"/>
                  </a:lnTo>
                  <a:lnTo>
                    <a:pt x="1015" y="14670"/>
                  </a:lnTo>
                  <a:lnTo>
                    <a:pt x="1189" y="15775"/>
                  </a:lnTo>
                  <a:lnTo>
                    <a:pt x="1689" y="17164"/>
                  </a:lnTo>
                  <a:lnTo>
                    <a:pt x="2132" y="18264"/>
                  </a:lnTo>
                  <a:lnTo>
                    <a:pt x="1207" y="18875"/>
                  </a:lnTo>
                  <a:lnTo>
                    <a:pt x="254" y="19935"/>
                  </a:lnTo>
                  <a:lnTo>
                    <a:pt x="0" y="21169"/>
                  </a:lnTo>
                  <a:lnTo>
                    <a:pt x="761" y="21600"/>
                  </a:lnTo>
                  <a:lnTo>
                    <a:pt x="2761" y="21507"/>
                  </a:lnTo>
                  <a:lnTo>
                    <a:pt x="5745" y="20966"/>
                  </a:lnTo>
                  <a:lnTo>
                    <a:pt x="8001" y="20733"/>
                  </a:lnTo>
                  <a:lnTo>
                    <a:pt x="9428" y="20000"/>
                  </a:lnTo>
                  <a:lnTo>
                    <a:pt x="10697" y="19780"/>
                  </a:lnTo>
                  <a:lnTo>
                    <a:pt x="11364" y="19345"/>
                  </a:lnTo>
                  <a:lnTo>
                    <a:pt x="13541" y="19330"/>
                  </a:lnTo>
                  <a:lnTo>
                    <a:pt x="15603" y="19208"/>
                  </a:lnTo>
                  <a:lnTo>
                    <a:pt x="17506" y="18685"/>
                  </a:lnTo>
                  <a:lnTo>
                    <a:pt x="20468" y="17984"/>
                  </a:lnTo>
                  <a:lnTo>
                    <a:pt x="20658" y="17488"/>
                  </a:lnTo>
                  <a:lnTo>
                    <a:pt x="20919" y="16459"/>
                  </a:lnTo>
                  <a:lnTo>
                    <a:pt x="21242" y="15461"/>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50" name="线条"/>
            <p:cNvSpPr/>
            <p:nvPr/>
          </p:nvSpPr>
          <p:spPr>
            <a:xfrm>
              <a:off x="6501556" y="4126343"/>
              <a:ext cx="468624" cy="510486"/>
            </a:xfrm>
            <a:custGeom>
              <a:avLst/>
              <a:gdLst/>
              <a:ahLst/>
              <a:cxnLst>
                <a:cxn ang="0">
                  <a:pos x="wd2" y="hd2"/>
                </a:cxn>
                <a:cxn ang="5400000">
                  <a:pos x="wd2" y="hd2"/>
                </a:cxn>
                <a:cxn ang="10800000">
                  <a:pos x="wd2" y="hd2"/>
                </a:cxn>
                <a:cxn ang="16200000">
                  <a:pos x="wd2" y="hd2"/>
                </a:cxn>
              </a:cxnLst>
              <a:rect l="0" t="0" r="r" b="b"/>
              <a:pathLst>
                <a:path w="21600" h="21600" extrusionOk="0">
                  <a:moveTo>
                    <a:pt x="12731" y="0"/>
                  </a:moveTo>
                  <a:lnTo>
                    <a:pt x="12180" y="878"/>
                  </a:lnTo>
                  <a:lnTo>
                    <a:pt x="11646" y="1371"/>
                  </a:lnTo>
                  <a:lnTo>
                    <a:pt x="11056" y="2103"/>
                  </a:lnTo>
                  <a:cubicBezTo>
                    <a:pt x="10621" y="2175"/>
                    <a:pt x="10187" y="2246"/>
                    <a:pt x="9752" y="2318"/>
                  </a:cubicBezTo>
                  <a:cubicBezTo>
                    <a:pt x="9318" y="2389"/>
                    <a:pt x="8883" y="2461"/>
                    <a:pt x="8448" y="2533"/>
                  </a:cubicBezTo>
                  <a:lnTo>
                    <a:pt x="7228" y="3583"/>
                  </a:lnTo>
                  <a:lnTo>
                    <a:pt x="6771" y="4197"/>
                  </a:lnTo>
                  <a:lnTo>
                    <a:pt x="6079" y="4364"/>
                  </a:lnTo>
                  <a:lnTo>
                    <a:pt x="5850" y="5052"/>
                  </a:lnTo>
                  <a:lnTo>
                    <a:pt x="5025" y="5323"/>
                  </a:lnTo>
                  <a:lnTo>
                    <a:pt x="4247" y="6488"/>
                  </a:lnTo>
                  <a:lnTo>
                    <a:pt x="3691" y="7827"/>
                  </a:lnTo>
                  <a:lnTo>
                    <a:pt x="3599" y="8724"/>
                  </a:lnTo>
                  <a:lnTo>
                    <a:pt x="2725" y="8892"/>
                  </a:lnTo>
                  <a:lnTo>
                    <a:pt x="1447" y="10757"/>
                  </a:lnTo>
                  <a:lnTo>
                    <a:pt x="2115" y="11756"/>
                  </a:lnTo>
                  <a:lnTo>
                    <a:pt x="3066" y="12320"/>
                  </a:lnTo>
                  <a:lnTo>
                    <a:pt x="2277" y="13387"/>
                  </a:lnTo>
                  <a:lnTo>
                    <a:pt x="2120" y="14852"/>
                  </a:lnTo>
                  <a:lnTo>
                    <a:pt x="3574" y="13734"/>
                  </a:lnTo>
                  <a:lnTo>
                    <a:pt x="4179" y="13211"/>
                  </a:lnTo>
                  <a:lnTo>
                    <a:pt x="4780" y="12649"/>
                  </a:lnTo>
                  <a:lnTo>
                    <a:pt x="5768" y="12957"/>
                  </a:lnTo>
                  <a:lnTo>
                    <a:pt x="3875" y="14452"/>
                  </a:lnTo>
                  <a:lnTo>
                    <a:pt x="2167" y="15685"/>
                  </a:lnTo>
                  <a:lnTo>
                    <a:pt x="2067" y="16407"/>
                  </a:lnTo>
                  <a:lnTo>
                    <a:pt x="1219" y="16962"/>
                  </a:lnTo>
                  <a:lnTo>
                    <a:pt x="199" y="18202"/>
                  </a:lnTo>
                  <a:lnTo>
                    <a:pt x="0" y="19141"/>
                  </a:lnTo>
                  <a:lnTo>
                    <a:pt x="1476" y="19249"/>
                  </a:lnTo>
                  <a:lnTo>
                    <a:pt x="2264" y="19856"/>
                  </a:lnTo>
                  <a:lnTo>
                    <a:pt x="3375" y="20216"/>
                  </a:lnTo>
                  <a:lnTo>
                    <a:pt x="3274" y="20891"/>
                  </a:lnTo>
                  <a:lnTo>
                    <a:pt x="4113" y="21448"/>
                  </a:lnTo>
                  <a:lnTo>
                    <a:pt x="5672" y="21222"/>
                  </a:lnTo>
                  <a:lnTo>
                    <a:pt x="6349" y="20803"/>
                  </a:lnTo>
                  <a:lnTo>
                    <a:pt x="7186" y="21289"/>
                  </a:lnTo>
                  <a:lnTo>
                    <a:pt x="8062" y="20805"/>
                  </a:lnTo>
                  <a:lnTo>
                    <a:pt x="7875" y="19699"/>
                  </a:lnTo>
                  <a:lnTo>
                    <a:pt x="8543" y="19232"/>
                  </a:lnTo>
                  <a:lnTo>
                    <a:pt x="10348" y="18810"/>
                  </a:lnTo>
                  <a:lnTo>
                    <a:pt x="11125" y="20536"/>
                  </a:lnTo>
                  <a:lnTo>
                    <a:pt x="11590" y="21600"/>
                  </a:lnTo>
                  <a:lnTo>
                    <a:pt x="12813" y="20843"/>
                  </a:lnTo>
                  <a:lnTo>
                    <a:pt x="13633" y="21413"/>
                  </a:lnTo>
                  <a:lnTo>
                    <a:pt x="14671" y="20852"/>
                  </a:lnTo>
                  <a:lnTo>
                    <a:pt x="14771" y="20275"/>
                  </a:lnTo>
                  <a:lnTo>
                    <a:pt x="16082" y="20109"/>
                  </a:lnTo>
                  <a:lnTo>
                    <a:pt x="16495" y="21311"/>
                  </a:lnTo>
                  <a:lnTo>
                    <a:pt x="17624" y="21099"/>
                  </a:lnTo>
                  <a:lnTo>
                    <a:pt x="17835" y="20237"/>
                  </a:lnTo>
                  <a:lnTo>
                    <a:pt x="18121" y="19636"/>
                  </a:lnTo>
                  <a:lnTo>
                    <a:pt x="19391" y="19695"/>
                  </a:lnTo>
                  <a:lnTo>
                    <a:pt x="19380" y="18919"/>
                  </a:lnTo>
                  <a:lnTo>
                    <a:pt x="19792" y="17651"/>
                  </a:lnTo>
                  <a:lnTo>
                    <a:pt x="21600" y="17101"/>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51" name="线条"/>
            <p:cNvSpPr/>
            <p:nvPr/>
          </p:nvSpPr>
          <p:spPr>
            <a:xfrm>
              <a:off x="6678564" y="4620101"/>
              <a:ext cx="516399" cy="4662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890" y="775"/>
                  </a:lnTo>
                  <a:lnTo>
                    <a:pt x="2188" y="1380"/>
                  </a:lnTo>
                  <a:lnTo>
                    <a:pt x="2772" y="2734"/>
                  </a:lnTo>
                  <a:lnTo>
                    <a:pt x="3444" y="3296"/>
                  </a:lnTo>
                  <a:lnTo>
                    <a:pt x="4914" y="3200"/>
                  </a:lnTo>
                  <a:lnTo>
                    <a:pt x="5679" y="3615"/>
                  </a:lnTo>
                  <a:lnTo>
                    <a:pt x="5926" y="4684"/>
                  </a:lnTo>
                  <a:lnTo>
                    <a:pt x="7654" y="4639"/>
                  </a:lnTo>
                  <a:lnTo>
                    <a:pt x="7881" y="5561"/>
                  </a:lnTo>
                  <a:lnTo>
                    <a:pt x="7399" y="6759"/>
                  </a:lnTo>
                  <a:lnTo>
                    <a:pt x="7018" y="8229"/>
                  </a:lnTo>
                  <a:lnTo>
                    <a:pt x="8198" y="7990"/>
                  </a:lnTo>
                  <a:lnTo>
                    <a:pt x="8563" y="8985"/>
                  </a:lnTo>
                  <a:lnTo>
                    <a:pt x="8681" y="10041"/>
                  </a:lnTo>
                  <a:lnTo>
                    <a:pt x="9966" y="10835"/>
                  </a:lnTo>
                  <a:cubicBezTo>
                    <a:pt x="10100" y="10792"/>
                    <a:pt x="10234" y="10749"/>
                    <a:pt x="10368" y="10706"/>
                  </a:cubicBezTo>
                  <a:cubicBezTo>
                    <a:pt x="10502" y="10663"/>
                    <a:pt x="10636" y="10619"/>
                    <a:pt x="10769" y="10576"/>
                  </a:cubicBezTo>
                  <a:lnTo>
                    <a:pt x="11163" y="9205"/>
                  </a:lnTo>
                  <a:lnTo>
                    <a:pt x="12121" y="9417"/>
                  </a:lnTo>
                  <a:lnTo>
                    <a:pt x="12954" y="10598"/>
                  </a:lnTo>
                  <a:lnTo>
                    <a:pt x="12814" y="12159"/>
                  </a:lnTo>
                  <a:lnTo>
                    <a:pt x="12288" y="12286"/>
                  </a:lnTo>
                  <a:lnTo>
                    <a:pt x="11614" y="11605"/>
                  </a:lnTo>
                  <a:lnTo>
                    <a:pt x="9892" y="11743"/>
                  </a:lnTo>
                  <a:lnTo>
                    <a:pt x="10931" y="12721"/>
                  </a:lnTo>
                  <a:lnTo>
                    <a:pt x="10307" y="13907"/>
                  </a:lnTo>
                  <a:lnTo>
                    <a:pt x="9675" y="14854"/>
                  </a:lnTo>
                  <a:lnTo>
                    <a:pt x="9797" y="16013"/>
                  </a:lnTo>
                  <a:lnTo>
                    <a:pt x="10592" y="16703"/>
                  </a:lnTo>
                  <a:lnTo>
                    <a:pt x="11767" y="17321"/>
                  </a:lnTo>
                  <a:lnTo>
                    <a:pt x="12257" y="18192"/>
                  </a:lnTo>
                  <a:lnTo>
                    <a:pt x="11484" y="19106"/>
                  </a:lnTo>
                  <a:lnTo>
                    <a:pt x="12200" y="19863"/>
                  </a:lnTo>
                  <a:lnTo>
                    <a:pt x="13921" y="19106"/>
                  </a:lnTo>
                  <a:lnTo>
                    <a:pt x="14712" y="19900"/>
                  </a:lnTo>
                  <a:lnTo>
                    <a:pt x="16891" y="19447"/>
                  </a:lnTo>
                  <a:lnTo>
                    <a:pt x="17656" y="20543"/>
                  </a:lnTo>
                  <a:lnTo>
                    <a:pt x="18884" y="20790"/>
                  </a:lnTo>
                  <a:lnTo>
                    <a:pt x="19758" y="21600"/>
                  </a:lnTo>
                  <a:lnTo>
                    <a:pt x="20546" y="20881"/>
                  </a:lnTo>
                  <a:lnTo>
                    <a:pt x="20923" y="20132"/>
                  </a:lnTo>
                  <a:lnTo>
                    <a:pt x="21600" y="20044"/>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52" name="形状"/>
            <p:cNvSpPr/>
            <p:nvPr/>
          </p:nvSpPr>
          <p:spPr>
            <a:xfrm>
              <a:off x="7183965" y="4972924"/>
              <a:ext cx="116005" cy="113924"/>
            </a:xfrm>
            <a:custGeom>
              <a:avLst/>
              <a:gdLst/>
              <a:ahLst/>
              <a:cxnLst>
                <a:cxn ang="0">
                  <a:pos x="wd2" y="hd2"/>
                </a:cxn>
                <a:cxn ang="5400000">
                  <a:pos x="wd2" y="hd2"/>
                </a:cxn>
                <a:cxn ang="10800000">
                  <a:pos x="wd2" y="hd2"/>
                </a:cxn>
                <a:cxn ang="16200000">
                  <a:pos x="wd2" y="hd2"/>
                </a:cxn>
              </a:cxnLst>
              <a:rect l="0" t="0" r="r" b="b"/>
              <a:pathLst>
                <a:path w="21600" h="21594" extrusionOk="0">
                  <a:moveTo>
                    <a:pt x="14286" y="15430"/>
                  </a:moveTo>
                  <a:lnTo>
                    <a:pt x="21494" y="15591"/>
                  </a:lnTo>
                  <a:lnTo>
                    <a:pt x="21600" y="9905"/>
                  </a:lnTo>
                  <a:lnTo>
                    <a:pt x="18900" y="3528"/>
                  </a:lnTo>
                  <a:lnTo>
                    <a:pt x="14105" y="0"/>
                  </a:lnTo>
                  <a:cubicBezTo>
                    <a:pt x="12742" y="-6"/>
                    <a:pt x="11383" y="150"/>
                    <a:pt x="10055" y="466"/>
                  </a:cubicBezTo>
                  <a:cubicBezTo>
                    <a:pt x="8514" y="833"/>
                    <a:pt x="7028" y="1410"/>
                    <a:pt x="5639" y="2184"/>
                  </a:cubicBezTo>
                  <a:cubicBezTo>
                    <a:pt x="4930" y="2839"/>
                    <a:pt x="4460" y="3721"/>
                    <a:pt x="4308" y="4684"/>
                  </a:cubicBezTo>
                  <a:cubicBezTo>
                    <a:pt x="4183" y="5471"/>
                    <a:pt x="4277" y="6279"/>
                    <a:pt x="4581" y="7015"/>
                  </a:cubicBezTo>
                  <a:cubicBezTo>
                    <a:pt x="3815" y="7438"/>
                    <a:pt x="3324" y="8240"/>
                    <a:pt x="3289" y="9126"/>
                  </a:cubicBezTo>
                  <a:cubicBezTo>
                    <a:pt x="3258" y="9894"/>
                    <a:pt x="3577" y="10633"/>
                    <a:pt x="4153" y="11130"/>
                  </a:cubicBezTo>
                  <a:lnTo>
                    <a:pt x="0" y="11732"/>
                  </a:lnTo>
                  <a:cubicBezTo>
                    <a:pt x="87" y="12830"/>
                    <a:pt x="449" y="13888"/>
                    <a:pt x="1053" y="14802"/>
                  </a:cubicBezTo>
                  <a:cubicBezTo>
                    <a:pt x="1444" y="15395"/>
                    <a:pt x="1929" y="15916"/>
                    <a:pt x="2489" y="16345"/>
                  </a:cubicBezTo>
                  <a:cubicBezTo>
                    <a:pt x="2445" y="17265"/>
                    <a:pt x="2806" y="18157"/>
                    <a:pt x="3475" y="18777"/>
                  </a:cubicBezTo>
                  <a:cubicBezTo>
                    <a:pt x="4278" y="19522"/>
                    <a:pt x="5409" y="19780"/>
                    <a:pt x="6448" y="19453"/>
                  </a:cubicBezTo>
                  <a:lnTo>
                    <a:pt x="8048" y="21594"/>
                  </a:lnTo>
                  <a:cubicBezTo>
                    <a:pt x="9307" y="21058"/>
                    <a:pt x="10466" y="20304"/>
                    <a:pt x="11474" y="19367"/>
                  </a:cubicBezTo>
                  <a:cubicBezTo>
                    <a:pt x="12663" y="18262"/>
                    <a:pt x="13620" y="16923"/>
                    <a:pt x="14286" y="15430"/>
                  </a:cubicBezTo>
                  <a:close/>
                </a:path>
              </a:pathLst>
            </a:custGeom>
            <a:solidFill>
              <a:schemeClr val="accent2">
                <a:lumMod val="40000"/>
                <a:lumOff val="60000"/>
              </a:schemeClr>
            </a:solidFill>
            <a:ln w="9525">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53" name="线条"/>
            <p:cNvSpPr/>
            <p:nvPr/>
          </p:nvSpPr>
          <p:spPr>
            <a:xfrm>
              <a:off x="6694548" y="5430515"/>
              <a:ext cx="263310" cy="62490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0646" y="316"/>
                  </a:lnTo>
                  <a:lnTo>
                    <a:pt x="21053" y="1118"/>
                  </a:lnTo>
                  <a:lnTo>
                    <a:pt x="18522" y="1759"/>
                  </a:lnTo>
                  <a:lnTo>
                    <a:pt x="16795" y="1843"/>
                  </a:lnTo>
                  <a:lnTo>
                    <a:pt x="15184" y="2512"/>
                  </a:lnTo>
                  <a:lnTo>
                    <a:pt x="13892" y="1892"/>
                  </a:lnTo>
                  <a:lnTo>
                    <a:pt x="12848" y="2054"/>
                  </a:lnTo>
                  <a:lnTo>
                    <a:pt x="11015" y="2695"/>
                  </a:lnTo>
                  <a:lnTo>
                    <a:pt x="10677" y="3293"/>
                  </a:lnTo>
                  <a:lnTo>
                    <a:pt x="8774" y="3640"/>
                  </a:lnTo>
                  <a:lnTo>
                    <a:pt x="9840" y="4655"/>
                  </a:lnTo>
                  <a:lnTo>
                    <a:pt x="10202" y="5718"/>
                  </a:lnTo>
                  <a:lnTo>
                    <a:pt x="8673" y="6303"/>
                  </a:lnTo>
                  <a:lnTo>
                    <a:pt x="5859" y="6864"/>
                  </a:lnTo>
                  <a:lnTo>
                    <a:pt x="4938" y="7553"/>
                  </a:lnTo>
                  <a:lnTo>
                    <a:pt x="5185" y="8444"/>
                  </a:lnTo>
                  <a:lnTo>
                    <a:pt x="6067" y="9380"/>
                  </a:lnTo>
                  <a:lnTo>
                    <a:pt x="4995" y="9557"/>
                  </a:lnTo>
                  <a:lnTo>
                    <a:pt x="3979" y="10158"/>
                  </a:lnTo>
                  <a:lnTo>
                    <a:pt x="5472" y="10734"/>
                  </a:lnTo>
                  <a:lnTo>
                    <a:pt x="3933" y="11361"/>
                  </a:lnTo>
                  <a:lnTo>
                    <a:pt x="2501" y="11580"/>
                  </a:lnTo>
                  <a:lnTo>
                    <a:pt x="1988" y="12386"/>
                  </a:lnTo>
                  <a:lnTo>
                    <a:pt x="1472" y="13107"/>
                  </a:lnTo>
                  <a:lnTo>
                    <a:pt x="1005" y="14008"/>
                  </a:lnTo>
                  <a:lnTo>
                    <a:pt x="29" y="14634"/>
                  </a:lnTo>
                  <a:lnTo>
                    <a:pt x="0" y="16044"/>
                  </a:lnTo>
                  <a:lnTo>
                    <a:pt x="3155" y="16489"/>
                  </a:lnTo>
                  <a:lnTo>
                    <a:pt x="5271" y="16314"/>
                  </a:lnTo>
                  <a:lnTo>
                    <a:pt x="5547" y="16968"/>
                  </a:lnTo>
                  <a:lnTo>
                    <a:pt x="7006" y="17464"/>
                  </a:lnTo>
                  <a:lnTo>
                    <a:pt x="8737" y="17122"/>
                  </a:lnTo>
                  <a:lnTo>
                    <a:pt x="9498" y="18027"/>
                  </a:lnTo>
                  <a:lnTo>
                    <a:pt x="11257" y="19447"/>
                  </a:lnTo>
                  <a:lnTo>
                    <a:pt x="10635" y="19817"/>
                  </a:lnTo>
                  <a:lnTo>
                    <a:pt x="12698" y="21600"/>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54" name="线条"/>
            <p:cNvSpPr/>
            <p:nvPr/>
          </p:nvSpPr>
          <p:spPr>
            <a:xfrm>
              <a:off x="5971464" y="5831526"/>
              <a:ext cx="722486" cy="515998"/>
            </a:xfrm>
            <a:custGeom>
              <a:avLst/>
              <a:gdLst/>
              <a:ahLst/>
              <a:cxnLst>
                <a:cxn ang="0">
                  <a:pos x="wd2" y="hd2"/>
                </a:cxn>
                <a:cxn ang="5400000">
                  <a:pos x="wd2" y="hd2"/>
                </a:cxn>
                <a:cxn ang="10800000">
                  <a:pos x="wd2" y="hd2"/>
                </a:cxn>
                <a:cxn ang="16200000">
                  <a:pos x="wd2" y="hd2"/>
                </a:cxn>
              </a:cxnLst>
              <a:rect l="0" t="0" r="r" b="b"/>
              <a:pathLst>
                <a:path w="21600" h="21600" extrusionOk="0">
                  <a:moveTo>
                    <a:pt x="21600" y="2487"/>
                  </a:moveTo>
                  <a:lnTo>
                    <a:pt x="21109" y="3206"/>
                  </a:lnTo>
                  <a:lnTo>
                    <a:pt x="21351" y="4961"/>
                  </a:lnTo>
                  <a:lnTo>
                    <a:pt x="20717" y="4563"/>
                  </a:lnTo>
                  <a:lnTo>
                    <a:pt x="20082" y="3550"/>
                  </a:lnTo>
                  <a:lnTo>
                    <a:pt x="19538" y="4123"/>
                  </a:lnTo>
                  <a:lnTo>
                    <a:pt x="16807" y="5493"/>
                  </a:lnTo>
                  <a:lnTo>
                    <a:pt x="15848" y="4526"/>
                  </a:lnTo>
                  <a:lnTo>
                    <a:pt x="16215" y="3998"/>
                  </a:lnTo>
                  <a:lnTo>
                    <a:pt x="16896" y="2615"/>
                  </a:lnTo>
                  <a:lnTo>
                    <a:pt x="17702" y="1573"/>
                  </a:lnTo>
                  <a:lnTo>
                    <a:pt x="17188" y="653"/>
                  </a:lnTo>
                  <a:lnTo>
                    <a:pt x="16083" y="836"/>
                  </a:lnTo>
                  <a:lnTo>
                    <a:pt x="15398" y="1343"/>
                  </a:lnTo>
                  <a:lnTo>
                    <a:pt x="14789" y="484"/>
                  </a:lnTo>
                  <a:lnTo>
                    <a:pt x="14321" y="928"/>
                  </a:lnTo>
                  <a:lnTo>
                    <a:pt x="13438" y="1150"/>
                  </a:lnTo>
                  <a:lnTo>
                    <a:pt x="12840" y="740"/>
                  </a:lnTo>
                  <a:lnTo>
                    <a:pt x="12280" y="0"/>
                  </a:lnTo>
                  <a:lnTo>
                    <a:pt x="11868" y="781"/>
                  </a:lnTo>
                  <a:lnTo>
                    <a:pt x="11111" y="1424"/>
                  </a:lnTo>
                  <a:lnTo>
                    <a:pt x="11435" y="2284"/>
                  </a:lnTo>
                  <a:lnTo>
                    <a:pt x="11531" y="3402"/>
                  </a:lnTo>
                  <a:lnTo>
                    <a:pt x="11070" y="3690"/>
                  </a:lnTo>
                  <a:lnTo>
                    <a:pt x="10688" y="3289"/>
                  </a:lnTo>
                  <a:lnTo>
                    <a:pt x="10312" y="2554"/>
                  </a:lnTo>
                  <a:lnTo>
                    <a:pt x="9679" y="2286"/>
                  </a:lnTo>
                  <a:lnTo>
                    <a:pt x="8488" y="2137"/>
                  </a:lnTo>
                  <a:lnTo>
                    <a:pt x="8388" y="3360"/>
                  </a:lnTo>
                  <a:lnTo>
                    <a:pt x="7839" y="4773"/>
                  </a:lnTo>
                  <a:lnTo>
                    <a:pt x="7954" y="5779"/>
                  </a:lnTo>
                  <a:lnTo>
                    <a:pt x="8147" y="7123"/>
                  </a:lnTo>
                  <a:lnTo>
                    <a:pt x="7563" y="7716"/>
                  </a:lnTo>
                  <a:lnTo>
                    <a:pt x="7672" y="9030"/>
                  </a:lnTo>
                  <a:lnTo>
                    <a:pt x="7160" y="9785"/>
                  </a:lnTo>
                  <a:lnTo>
                    <a:pt x="6784" y="9965"/>
                  </a:lnTo>
                  <a:lnTo>
                    <a:pt x="5727" y="11705"/>
                  </a:lnTo>
                  <a:lnTo>
                    <a:pt x="5814" y="12785"/>
                  </a:lnTo>
                  <a:lnTo>
                    <a:pt x="6043" y="14229"/>
                  </a:lnTo>
                  <a:lnTo>
                    <a:pt x="5272" y="15437"/>
                  </a:lnTo>
                  <a:lnTo>
                    <a:pt x="4769" y="15430"/>
                  </a:lnTo>
                  <a:lnTo>
                    <a:pt x="4173" y="15942"/>
                  </a:lnTo>
                  <a:lnTo>
                    <a:pt x="3731" y="16484"/>
                  </a:lnTo>
                  <a:lnTo>
                    <a:pt x="3528" y="17570"/>
                  </a:lnTo>
                  <a:lnTo>
                    <a:pt x="3248" y="18392"/>
                  </a:lnTo>
                  <a:lnTo>
                    <a:pt x="2918" y="18708"/>
                  </a:lnTo>
                  <a:lnTo>
                    <a:pt x="2357" y="18488"/>
                  </a:lnTo>
                  <a:lnTo>
                    <a:pt x="2492" y="19710"/>
                  </a:lnTo>
                  <a:lnTo>
                    <a:pt x="1998" y="20326"/>
                  </a:lnTo>
                  <a:lnTo>
                    <a:pt x="1208" y="20184"/>
                  </a:lnTo>
                  <a:lnTo>
                    <a:pt x="0" y="21600"/>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55" name="线条"/>
            <p:cNvSpPr/>
            <p:nvPr/>
          </p:nvSpPr>
          <p:spPr>
            <a:xfrm>
              <a:off x="5357486" y="5734106"/>
              <a:ext cx="879745" cy="401254"/>
            </a:xfrm>
            <a:custGeom>
              <a:avLst/>
              <a:gdLst/>
              <a:ahLst/>
              <a:cxnLst>
                <a:cxn ang="0">
                  <a:pos x="wd2" y="hd2"/>
                </a:cxn>
                <a:cxn ang="5400000">
                  <a:pos x="wd2" y="hd2"/>
                </a:cxn>
                <a:cxn ang="10800000">
                  <a:pos x="wd2" y="hd2"/>
                </a:cxn>
                <a:cxn ang="16200000">
                  <a:pos x="wd2" y="hd2"/>
                </a:cxn>
              </a:cxnLst>
              <a:rect l="0" t="0" r="r" b="b"/>
              <a:pathLst>
                <a:path w="21600" h="21600" extrusionOk="0">
                  <a:moveTo>
                    <a:pt x="21600" y="11003"/>
                  </a:moveTo>
                  <a:lnTo>
                    <a:pt x="20857" y="10734"/>
                  </a:lnTo>
                  <a:lnTo>
                    <a:pt x="20362" y="11683"/>
                  </a:lnTo>
                  <a:lnTo>
                    <a:pt x="20152" y="11262"/>
                  </a:lnTo>
                  <a:lnTo>
                    <a:pt x="20150" y="8936"/>
                  </a:lnTo>
                  <a:lnTo>
                    <a:pt x="19803" y="8100"/>
                  </a:lnTo>
                  <a:lnTo>
                    <a:pt x="19391" y="8431"/>
                  </a:lnTo>
                  <a:lnTo>
                    <a:pt x="18754" y="9993"/>
                  </a:lnTo>
                  <a:lnTo>
                    <a:pt x="18797" y="8466"/>
                  </a:lnTo>
                  <a:lnTo>
                    <a:pt x="19759" y="5739"/>
                  </a:lnTo>
                  <a:lnTo>
                    <a:pt x="19733" y="4355"/>
                  </a:lnTo>
                  <a:lnTo>
                    <a:pt x="20296" y="3017"/>
                  </a:lnTo>
                  <a:lnTo>
                    <a:pt x="19639" y="3225"/>
                  </a:lnTo>
                  <a:lnTo>
                    <a:pt x="19504" y="2179"/>
                  </a:lnTo>
                  <a:lnTo>
                    <a:pt x="19547" y="496"/>
                  </a:lnTo>
                  <a:lnTo>
                    <a:pt x="19034" y="169"/>
                  </a:lnTo>
                  <a:lnTo>
                    <a:pt x="18765" y="0"/>
                  </a:lnTo>
                  <a:lnTo>
                    <a:pt x="18284" y="307"/>
                  </a:lnTo>
                  <a:lnTo>
                    <a:pt x="17625" y="193"/>
                  </a:lnTo>
                  <a:lnTo>
                    <a:pt x="16673" y="2538"/>
                  </a:lnTo>
                  <a:lnTo>
                    <a:pt x="16443" y="2297"/>
                  </a:lnTo>
                  <a:lnTo>
                    <a:pt x="16109" y="2084"/>
                  </a:lnTo>
                  <a:lnTo>
                    <a:pt x="16015" y="1625"/>
                  </a:lnTo>
                  <a:lnTo>
                    <a:pt x="15926" y="1248"/>
                  </a:lnTo>
                  <a:lnTo>
                    <a:pt x="15652" y="1935"/>
                  </a:lnTo>
                  <a:lnTo>
                    <a:pt x="15350" y="2695"/>
                  </a:lnTo>
                  <a:lnTo>
                    <a:pt x="15237" y="3614"/>
                  </a:lnTo>
                  <a:lnTo>
                    <a:pt x="15082" y="3347"/>
                  </a:lnTo>
                  <a:lnTo>
                    <a:pt x="14952" y="2517"/>
                  </a:lnTo>
                  <a:lnTo>
                    <a:pt x="14473" y="2458"/>
                  </a:lnTo>
                  <a:lnTo>
                    <a:pt x="13742" y="4245"/>
                  </a:lnTo>
                  <a:lnTo>
                    <a:pt x="13326" y="3627"/>
                  </a:lnTo>
                  <a:lnTo>
                    <a:pt x="12744" y="4559"/>
                  </a:lnTo>
                  <a:lnTo>
                    <a:pt x="13110" y="5728"/>
                  </a:lnTo>
                  <a:lnTo>
                    <a:pt x="12615" y="5815"/>
                  </a:lnTo>
                  <a:lnTo>
                    <a:pt x="12160" y="5132"/>
                  </a:lnTo>
                  <a:lnTo>
                    <a:pt x="11821" y="5999"/>
                  </a:lnTo>
                  <a:lnTo>
                    <a:pt x="11796" y="7037"/>
                  </a:lnTo>
                  <a:lnTo>
                    <a:pt x="11153" y="5931"/>
                  </a:lnTo>
                  <a:lnTo>
                    <a:pt x="10817" y="6042"/>
                  </a:lnTo>
                  <a:lnTo>
                    <a:pt x="10334" y="6685"/>
                  </a:lnTo>
                  <a:lnTo>
                    <a:pt x="10432" y="7852"/>
                  </a:lnTo>
                  <a:lnTo>
                    <a:pt x="9644" y="8701"/>
                  </a:lnTo>
                  <a:lnTo>
                    <a:pt x="9253" y="7884"/>
                  </a:lnTo>
                  <a:lnTo>
                    <a:pt x="9109" y="7318"/>
                  </a:lnTo>
                  <a:lnTo>
                    <a:pt x="8636" y="7845"/>
                  </a:lnTo>
                  <a:lnTo>
                    <a:pt x="8205" y="6318"/>
                  </a:lnTo>
                  <a:lnTo>
                    <a:pt x="8053" y="5346"/>
                  </a:lnTo>
                  <a:lnTo>
                    <a:pt x="7787" y="5281"/>
                  </a:lnTo>
                  <a:lnTo>
                    <a:pt x="7215" y="5766"/>
                  </a:lnTo>
                  <a:lnTo>
                    <a:pt x="7093" y="7617"/>
                  </a:lnTo>
                  <a:lnTo>
                    <a:pt x="6803" y="7609"/>
                  </a:lnTo>
                  <a:lnTo>
                    <a:pt x="6332" y="7355"/>
                  </a:lnTo>
                  <a:lnTo>
                    <a:pt x="5735" y="8749"/>
                  </a:lnTo>
                  <a:lnTo>
                    <a:pt x="5252" y="9113"/>
                  </a:lnTo>
                  <a:lnTo>
                    <a:pt x="4982" y="9080"/>
                  </a:lnTo>
                  <a:lnTo>
                    <a:pt x="4740" y="9917"/>
                  </a:lnTo>
                  <a:lnTo>
                    <a:pt x="4458" y="10010"/>
                  </a:lnTo>
                  <a:lnTo>
                    <a:pt x="3626" y="9564"/>
                  </a:lnTo>
                  <a:lnTo>
                    <a:pt x="3027" y="8978"/>
                  </a:lnTo>
                  <a:lnTo>
                    <a:pt x="2637" y="8860"/>
                  </a:lnTo>
                  <a:lnTo>
                    <a:pt x="2234" y="8214"/>
                  </a:lnTo>
                  <a:lnTo>
                    <a:pt x="1832" y="8819"/>
                  </a:lnTo>
                  <a:lnTo>
                    <a:pt x="1505" y="9790"/>
                  </a:lnTo>
                  <a:lnTo>
                    <a:pt x="1275" y="9953"/>
                  </a:lnTo>
                  <a:lnTo>
                    <a:pt x="749" y="10496"/>
                  </a:lnTo>
                  <a:lnTo>
                    <a:pt x="135" y="10150"/>
                  </a:lnTo>
                  <a:lnTo>
                    <a:pt x="0" y="11152"/>
                  </a:lnTo>
                  <a:lnTo>
                    <a:pt x="510" y="13228"/>
                  </a:lnTo>
                  <a:lnTo>
                    <a:pt x="757" y="12627"/>
                  </a:lnTo>
                  <a:lnTo>
                    <a:pt x="1394" y="12782"/>
                  </a:lnTo>
                  <a:lnTo>
                    <a:pt x="1991" y="13180"/>
                  </a:lnTo>
                  <a:lnTo>
                    <a:pt x="2115" y="14447"/>
                  </a:lnTo>
                  <a:lnTo>
                    <a:pt x="2507" y="15466"/>
                  </a:lnTo>
                  <a:lnTo>
                    <a:pt x="3062" y="15095"/>
                  </a:lnTo>
                  <a:lnTo>
                    <a:pt x="3584" y="15757"/>
                  </a:lnTo>
                  <a:lnTo>
                    <a:pt x="4292" y="15282"/>
                  </a:lnTo>
                  <a:lnTo>
                    <a:pt x="4891" y="16680"/>
                  </a:lnTo>
                  <a:lnTo>
                    <a:pt x="4706" y="18398"/>
                  </a:lnTo>
                  <a:lnTo>
                    <a:pt x="4449" y="19479"/>
                  </a:lnTo>
                  <a:lnTo>
                    <a:pt x="4036" y="19339"/>
                  </a:lnTo>
                  <a:lnTo>
                    <a:pt x="3770" y="19344"/>
                  </a:lnTo>
                  <a:lnTo>
                    <a:pt x="3362" y="20187"/>
                  </a:lnTo>
                  <a:lnTo>
                    <a:pt x="2686" y="21600"/>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56" name="线条"/>
            <p:cNvSpPr/>
            <p:nvPr/>
          </p:nvSpPr>
          <p:spPr>
            <a:xfrm>
              <a:off x="5273870" y="5355578"/>
              <a:ext cx="641644" cy="566788"/>
            </a:xfrm>
            <a:custGeom>
              <a:avLst/>
              <a:gdLst/>
              <a:ahLst/>
              <a:cxnLst>
                <a:cxn ang="0">
                  <a:pos x="wd2" y="hd2"/>
                </a:cxn>
                <a:cxn ang="5400000">
                  <a:pos x="wd2" y="hd2"/>
                </a:cxn>
                <a:cxn ang="10800000">
                  <a:pos x="wd2" y="hd2"/>
                </a:cxn>
                <a:cxn ang="16200000">
                  <a:pos x="wd2" y="hd2"/>
                </a:cxn>
              </a:cxnLst>
              <a:rect l="0" t="0" r="r" b="b"/>
              <a:pathLst>
                <a:path w="21600" h="21600" extrusionOk="0">
                  <a:moveTo>
                    <a:pt x="3064" y="21600"/>
                  </a:moveTo>
                  <a:lnTo>
                    <a:pt x="3641" y="20513"/>
                  </a:lnTo>
                  <a:lnTo>
                    <a:pt x="3742" y="19935"/>
                  </a:lnTo>
                  <a:lnTo>
                    <a:pt x="4284" y="19161"/>
                  </a:lnTo>
                  <a:lnTo>
                    <a:pt x="3614" y="18480"/>
                  </a:lnTo>
                  <a:lnTo>
                    <a:pt x="3269" y="17799"/>
                  </a:lnTo>
                  <a:lnTo>
                    <a:pt x="2458" y="16884"/>
                  </a:lnTo>
                  <a:lnTo>
                    <a:pt x="2782" y="16323"/>
                  </a:lnTo>
                  <a:lnTo>
                    <a:pt x="3417" y="14186"/>
                  </a:lnTo>
                  <a:lnTo>
                    <a:pt x="4052" y="13358"/>
                  </a:lnTo>
                  <a:lnTo>
                    <a:pt x="3586" y="12475"/>
                  </a:lnTo>
                  <a:lnTo>
                    <a:pt x="3231" y="11912"/>
                  </a:lnTo>
                  <a:lnTo>
                    <a:pt x="2491" y="12329"/>
                  </a:lnTo>
                  <a:lnTo>
                    <a:pt x="1866" y="12078"/>
                  </a:lnTo>
                  <a:lnTo>
                    <a:pt x="1336" y="12613"/>
                  </a:lnTo>
                  <a:lnTo>
                    <a:pt x="519" y="12470"/>
                  </a:lnTo>
                  <a:lnTo>
                    <a:pt x="186" y="11339"/>
                  </a:lnTo>
                  <a:lnTo>
                    <a:pt x="511" y="10237"/>
                  </a:lnTo>
                  <a:lnTo>
                    <a:pt x="343" y="9839"/>
                  </a:lnTo>
                  <a:lnTo>
                    <a:pt x="0" y="9937"/>
                  </a:lnTo>
                  <a:lnTo>
                    <a:pt x="587" y="9273"/>
                  </a:lnTo>
                  <a:cubicBezTo>
                    <a:pt x="704" y="9088"/>
                    <a:pt x="822" y="8902"/>
                    <a:pt x="939" y="8717"/>
                  </a:cubicBezTo>
                  <a:cubicBezTo>
                    <a:pt x="1056" y="8532"/>
                    <a:pt x="1173" y="8347"/>
                    <a:pt x="1291" y="8162"/>
                  </a:cubicBezTo>
                  <a:lnTo>
                    <a:pt x="2147" y="9216"/>
                  </a:lnTo>
                  <a:lnTo>
                    <a:pt x="2988" y="8078"/>
                  </a:lnTo>
                  <a:lnTo>
                    <a:pt x="3674" y="8964"/>
                  </a:lnTo>
                  <a:lnTo>
                    <a:pt x="4816" y="9005"/>
                  </a:lnTo>
                  <a:lnTo>
                    <a:pt x="5343" y="8505"/>
                  </a:lnTo>
                  <a:lnTo>
                    <a:pt x="6457" y="8588"/>
                  </a:lnTo>
                  <a:lnTo>
                    <a:pt x="6708" y="7271"/>
                  </a:lnTo>
                  <a:lnTo>
                    <a:pt x="6459" y="6482"/>
                  </a:lnTo>
                  <a:lnTo>
                    <a:pt x="7867" y="6822"/>
                  </a:lnTo>
                  <a:lnTo>
                    <a:pt x="9242" y="6950"/>
                  </a:lnTo>
                  <a:lnTo>
                    <a:pt x="9751" y="6628"/>
                  </a:lnTo>
                  <a:lnTo>
                    <a:pt x="10789" y="6515"/>
                  </a:lnTo>
                  <a:lnTo>
                    <a:pt x="10656" y="5449"/>
                  </a:lnTo>
                  <a:lnTo>
                    <a:pt x="9967" y="4711"/>
                  </a:lnTo>
                  <a:lnTo>
                    <a:pt x="9016" y="5235"/>
                  </a:lnTo>
                  <a:lnTo>
                    <a:pt x="8784" y="4388"/>
                  </a:lnTo>
                  <a:lnTo>
                    <a:pt x="8041" y="4313"/>
                  </a:lnTo>
                  <a:lnTo>
                    <a:pt x="8037" y="3259"/>
                  </a:lnTo>
                  <a:lnTo>
                    <a:pt x="8989" y="2790"/>
                  </a:lnTo>
                  <a:lnTo>
                    <a:pt x="9309" y="2186"/>
                  </a:lnTo>
                  <a:lnTo>
                    <a:pt x="10599" y="3393"/>
                  </a:lnTo>
                  <a:lnTo>
                    <a:pt x="11336" y="3123"/>
                  </a:lnTo>
                  <a:lnTo>
                    <a:pt x="11343" y="2402"/>
                  </a:lnTo>
                  <a:lnTo>
                    <a:pt x="11128" y="1758"/>
                  </a:lnTo>
                  <a:lnTo>
                    <a:pt x="12348" y="3565"/>
                  </a:lnTo>
                  <a:lnTo>
                    <a:pt x="12817" y="2188"/>
                  </a:lnTo>
                  <a:lnTo>
                    <a:pt x="13648" y="1400"/>
                  </a:lnTo>
                  <a:lnTo>
                    <a:pt x="14327" y="2204"/>
                  </a:lnTo>
                  <a:lnTo>
                    <a:pt x="14857" y="1305"/>
                  </a:lnTo>
                  <a:lnTo>
                    <a:pt x="14837" y="0"/>
                  </a:lnTo>
                  <a:lnTo>
                    <a:pt x="16036" y="238"/>
                  </a:lnTo>
                  <a:lnTo>
                    <a:pt x="16403" y="1163"/>
                  </a:lnTo>
                  <a:lnTo>
                    <a:pt x="18073" y="767"/>
                  </a:lnTo>
                  <a:lnTo>
                    <a:pt x="18428" y="1824"/>
                  </a:lnTo>
                  <a:lnTo>
                    <a:pt x="18131" y="2420"/>
                  </a:lnTo>
                  <a:lnTo>
                    <a:pt x="19083" y="3122"/>
                  </a:lnTo>
                  <a:lnTo>
                    <a:pt x="18994" y="3781"/>
                  </a:lnTo>
                  <a:lnTo>
                    <a:pt x="19132" y="4482"/>
                  </a:lnTo>
                  <a:lnTo>
                    <a:pt x="20016" y="5200"/>
                  </a:lnTo>
                  <a:lnTo>
                    <a:pt x="20980" y="5012"/>
                  </a:lnTo>
                  <a:lnTo>
                    <a:pt x="21600" y="3996"/>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57" name="线条"/>
            <p:cNvSpPr/>
            <p:nvPr/>
          </p:nvSpPr>
          <p:spPr>
            <a:xfrm>
              <a:off x="6521402" y="4625173"/>
              <a:ext cx="399830" cy="665834"/>
            </a:xfrm>
            <a:custGeom>
              <a:avLst/>
              <a:gdLst/>
              <a:ahLst/>
              <a:cxnLst>
                <a:cxn ang="0">
                  <a:pos x="wd2" y="hd2"/>
                </a:cxn>
                <a:cxn ang="5400000">
                  <a:pos x="wd2" y="hd2"/>
                </a:cxn>
                <a:cxn ang="10800000">
                  <a:pos x="wd2" y="hd2"/>
                </a:cxn>
                <a:cxn ang="16200000">
                  <a:pos x="wd2" y="hd2"/>
                </a:cxn>
              </a:cxnLst>
              <a:rect l="0" t="0" r="r" b="b"/>
              <a:pathLst>
                <a:path w="21600" h="21600" extrusionOk="0">
                  <a:moveTo>
                    <a:pt x="6508" y="0"/>
                  </a:moveTo>
                  <a:lnTo>
                    <a:pt x="6631" y="611"/>
                  </a:lnTo>
                  <a:lnTo>
                    <a:pt x="7835" y="1244"/>
                  </a:lnTo>
                  <a:lnTo>
                    <a:pt x="9309" y="1259"/>
                  </a:lnTo>
                  <a:lnTo>
                    <a:pt x="9259" y="1912"/>
                  </a:lnTo>
                  <a:lnTo>
                    <a:pt x="9700" y="2620"/>
                  </a:lnTo>
                  <a:lnTo>
                    <a:pt x="6988" y="3838"/>
                  </a:lnTo>
                  <a:lnTo>
                    <a:pt x="6490" y="3477"/>
                  </a:lnTo>
                  <a:lnTo>
                    <a:pt x="5644" y="2418"/>
                  </a:lnTo>
                  <a:lnTo>
                    <a:pt x="4939" y="2458"/>
                  </a:lnTo>
                  <a:lnTo>
                    <a:pt x="4089" y="2367"/>
                  </a:lnTo>
                  <a:lnTo>
                    <a:pt x="3391" y="2986"/>
                  </a:lnTo>
                  <a:lnTo>
                    <a:pt x="3898" y="4325"/>
                  </a:lnTo>
                  <a:lnTo>
                    <a:pt x="2645" y="4580"/>
                  </a:lnTo>
                  <a:lnTo>
                    <a:pt x="2120" y="5120"/>
                  </a:lnTo>
                  <a:lnTo>
                    <a:pt x="2365" y="6095"/>
                  </a:lnTo>
                  <a:lnTo>
                    <a:pt x="1651" y="6610"/>
                  </a:lnTo>
                  <a:lnTo>
                    <a:pt x="179" y="6481"/>
                  </a:lnTo>
                  <a:lnTo>
                    <a:pt x="0" y="7183"/>
                  </a:lnTo>
                  <a:lnTo>
                    <a:pt x="1541" y="7626"/>
                  </a:lnTo>
                  <a:lnTo>
                    <a:pt x="1916" y="8458"/>
                  </a:lnTo>
                  <a:lnTo>
                    <a:pt x="3466" y="9028"/>
                  </a:lnTo>
                  <a:lnTo>
                    <a:pt x="4693" y="9247"/>
                  </a:lnTo>
                  <a:lnTo>
                    <a:pt x="6245" y="8721"/>
                  </a:lnTo>
                  <a:lnTo>
                    <a:pt x="6159" y="9507"/>
                  </a:lnTo>
                  <a:lnTo>
                    <a:pt x="6554" y="11431"/>
                  </a:lnTo>
                  <a:lnTo>
                    <a:pt x="6264" y="12124"/>
                  </a:lnTo>
                  <a:lnTo>
                    <a:pt x="5162" y="12223"/>
                  </a:lnTo>
                  <a:lnTo>
                    <a:pt x="3717" y="13165"/>
                  </a:lnTo>
                  <a:lnTo>
                    <a:pt x="3507" y="13878"/>
                  </a:lnTo>
                  <a:lnTo>
                    <a:pt x="4726" y="14753"/>
                  </a:lnTo>
                  <a:lnTo>
                    <a:pt x="5902" y="14856"/>
                  </a:lnTo>
                  <a:lnTo>
                    <a:pt x="7136" y="15013"/>
                  </a:lnTo>
                  <a:lnTo>
                    <a:pt x="7710" y="15657"/>
                  </a:lnTo>
                  <a:lnTo>
                    <a:pt x="6563" y="15961"/>
                  </a:lnTo>
                  <a:lnTo>
                    <a:pt x="6293" y="16422"/>
                  </a:lnTo>
                  <a:lnTo>
                    <a:pt x="6153" y="16951"/>
                  </a:lnTo>
                  <a:lnTo>
                    <a:pt x="6978" y="17642"/>
                  </a:lnTo>
                  <a:lnTo>
                    <a:pt x="6923" y="18232"/>
                  </a:lnTo>
                  <a:lnTo>
                    <a:pt x="7860" y="18913"/>
                  </a:lnTo>
                  <a:lnTo>
                    <a:pt x="8180" y="19837"/>
                  </a:lnTo>
                  <a:lnTo>
                    <a:pt x="8740" y="20402"/>
                  </a:lnTo>
                  <a:lnTo>
                    <a:pt x="10262" y="20006"/>
                  </a:lnTo>
                  <a:lnTo>
                    <a:pt x="12073" y="19106"/>
                  </a:lnTo>
                  <a:lnTo>
                    <a:pt x="12901" y="19566"/>
                  </a:lnTo>
                  <a:lnTo>
                    <a:pt x="12744" y="20106"/>
                  </a:lnTo>
                  <a:lnTo>
                    <a:pt x="11857" y="20890"/>
                  </a:lnTo>
                  <a:lnTo>
                    <a:pt x="12368" y="21360"/>
                  </a:lnTo>
                  <a:lnTo>
                    <a:pt x="13360" y="21034"/>
                  </a:lnTo>
                  <a:lnTo>
                    <a:pt x="14528" y="20297"/>
                  </a:lnTo>
                  <a:lnTo>
                    <a:pt x="14389" y="19644"/>
                  </a:lnTo>
                  <a:lnTo>
                    <a:pt x="15602" y="19896"/>
                  </a:lnTo>
                  <a:lnTo>
                    <a:pt x="17333" y="20767"/>
                  </a:lnTo>
                  <a:lnTo>
                    <a:pt x="20287" y="20925"/>
                  </a:lnTo>
                  <a:lnTo>
                    <a:pt x="21600" y="21600"/>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58" name="线条"/>
            <p:cNvSpPr/>
            <p:nvPr/>
          </p:nvSpPr>
          <p:spPr>
            <a:xfrm>
              <a:off x="6414579" y="5255848"/>
              <a:ext cx="262730" cy="589487"/>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0034" y="337"/>
                  </a:lnTo>
                  <a:lnTo>
                    <a:pt x="18406" y="51"/>
                  </a:lnTo>
                  <a:lnTo>
                    <a:pt x="16368" y="141"/>
                  </a:lnTo>
                  <a:lnTo>
                    <a:pt x="15193" y="752"/>
                  </a:lnTo>
                  <a:lnTo>
                    <a:pt x="12824" y="1081"/>
                  </a:lnTo>
                  <a:lnTo>
                    <a:pt x="11378" y="1615"/>
                  </a:lnTo>
                  <a:lnTo>
                    <a:pt x="9943" y="2414"/>
                  </a:lnTo>
                  <a:lnTo>
                    <a:pt x="6650" y="2762"/>
                  </a:lnTo>
                  <a:lnTo>
                    <a:pt x="4772" y="2629"/>
                  </a:lnTo>
                  <a:lnTo>
                    <a:pt x="3831" y="3299"/>
                  </a:lnTo>
                  <a:lnTo>
                    <a:pt x="1818" y="4425"/>
                  </a:lnTo>
                  <a:lnTo>
                    <a:pt x="4169" y="5472"/>
                  </a:lnTo>
                  <a:lnTo>
                    <a:pt x="4412" y="6448"/>
                  </a:lnTo>
                  <a:lnTo>
                    <a:pt x="6066" y="7299"/>
                  </a:lnTo>
                  <a:lnTo>
                    <a:pt x="3414" y="8418"/>
                  </a:lnTo>
                  <a:lnTo>
                    <a:pt x="3307" y="9104"/>
                  </a:lnTo>
                  <a:lnTo>
                    <a:pt x="967" y="9369"/>
                  </a:lnTo>
                  <a:lnTo>
                    <a:pt x="706" y="10425"/>
                  </a:lnTo>
                  <a:lnTo>
                    <a:pt x="0" y="11227"/>
                  </a:lnTo>
                  <a:lnTo>
                    <a:pt x="347" y="12545"/>
                  </a:lnTo>
                  <a:lnTo>
                    <a:pt x="2347" y="12288"/>
                  </a:lnTo>
                  <a:lnTo>
                    <a:pt x="1887" y="13327"/>
                  </a:lnTo>
                  <a:lnTo>
                    <a:pt x="2592" y="14380"/>
                  </a:lnTo>
                  <a:lnTo>
                    <a:pt x="2488" y="15563"/>
                  </a:lnTo>
                  <a:lnTo>
                    <a:pt x="4983" y="16114"/>
                  </a:lnTo>
                  <a:lnTo>
                    <a:pt x="4460" y="17106"/>
                  </a:lnTo>
                  <a:lnTo>
                    <a:pt x="4057" y="17819"/>
                  </a:lnTo>
                  <a:lnTo>
                    <a:pt x="6377" y="17849"/>
                  </a:lnTo>
                  <a:lnTo>
                    <a:pt x="4659" y="18618"/>
                  </a:lnTo>
                  <a:lnTo>
                    <a:pt x="3834" y="19988"/>
                  </a:lnTo>
                  <a:lnTo>
                    <a:pt x="3729" y="21600"/>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59" name="线条"/>
            <p:cNvSpPr/>
            <p:nvPr/>
          </p:nvSpPr>
          <p:spPr>
            <a:xfrm>
              <a:off x="5863846" y="5235655"/>
              <a:ext cx="574175" cy="547647"/>
            </a:xfrm>
            <a:custGeom>
              <a:avLst/>
              <a:gdLst/>
              <a:ahLst/>
              <a:cxnLst>
                <a:cxn ang="0">
                  <a:pos x="wd2" y="hd2"/>
                </a:cxn>
                <a:cxn ang="5400000">
                  <a:pos x="wd2" y="hd2"/>
                </a:cxn>
                <a:cxn ang="10800000">
                  <a:pos x="wd2" y="hd2"/>
                </a:cxn>
                <a:cxn ang="16200000">
                  <a:pos x="wd2" y="hd2"/>
                </a:cxn>
              </a:cxnLst>
              <a:rect l="0" t="0" r="r" b="b"/>
              <a:pathLst>
                <a:path w="21600" h="21600" extrusionOk="0">
                  <a:moveTo>
                    <a:pt x="21600" y="5561"/>
                  </a:moveTo>
                  <a:lnTo>
                    <a:pt x="21116" y="4711"/>
                  </a:lnTo>
                  <a:lnTo>
                    <a:pt x="20365" y="4412"/>
                  </a:lnTo>
                  <a:lnTo>
                    <a:pt x="20826" y="3348"/>
                  </a:lnTo>
                  <a:lnTo>
                    <a:pt x="20852" y="2216"/>
                  </a:lnTo>
                  <a:lnTo>
                    <a:pt x="19913" y="1202"/>
                  </a:lnTo>
                  <a:lnTo>
                    <a:pt x="18689" y="2346"/>
                  </a:lnTo>
                  <a:lnTo>
                    <a:pt x="18167" y="3468"/>
                  </a:lnTo>
                  <a:lnTo>
                    <a:pt x="17677" y="3198"/>
                  </a:lnTo>
                  <a:lnTo>
                    <a:pt x="17227" y="1854"/>
                  </a:lnTo>
                  <a:lnTo>
                    <a:pt x="16621" y="2650"/>
                  </a:lnTo>
                  <a:lnTo>
                    <a:pt x="15688" y="2614"/>
                  </a:lnTo>
                  <a:lnTo>
                    <a:pt x="14654" y="2973"/>
                  </a:lnTo>
                  <a:lnTo>
                    <a:pt x="12417" y="1214"/>
                  </a:lnTo>
                  <a:lnTo>
                    <a:pt x="11134" y="1073"/>
                  </a:lnTo>
                  <a:lnTo>
                    <a:pt x="9001" y="0"/>
                  </a:lnTo>
                  <a:lnTo>
                    <a:pt x="8044" y="281"/>
                  </a:lnTo>
                  <a:lnTo>
                    <a:pt x="7165" y="358"/>
                  </a:lnTo>
                  <a:lnTo>
                    <a:pt x="7690" y="1817"/>
                  </a:lnTo>
                  <a:lnTo>
                    <a:pt x="6728" y="2630"/>
                  </a:lnTo>
                  <a:lnTo>
                    <a:pt x="5652" y="1928"/>
                  </a:lnTo>
                  <a:lnTo>
                    <a:pt x="4354" y="1935"/>
                  </a:lnTo>
                  <a:lnTo>
                    <a:pt x="3652" y="2622"/>
                  </a:lnTo>
                  <a:lnTo>
                    <a:pt x="3078" y="2833"/>
                  </a:lnTo>
                  <a:lnTo>
                    <a:pt x="2651" y="3494"/>
                  </a:lnTo>
                  <a:lnTo>
                    <a:pt x="1936" y="5328"/>
                  </a:lnTo>
                  <a:lnTo>
                    <a:pt x="2123" y="6209"/>
                  </a:lnTo>
                  <a:lnTo>
                    <a:pt x="1778" y="7387"/>
                  </a:lnTo>
                  <a:lnTo>
                    <a:pt x="1926" y="8715"/>
                  </a:lnTo>
                  <a:lnTo>
                    <a:pt x="2197" y="9784"/>
                  </a:lnTo>
                  <a:lnTo>
                    <a:pt x="2110" y="10754"/>
                  </a:lnTo>
                  <a:lnTo>
                    <a:pt x="2314" y="12184"/>
                  </a:lnTo>
                  <a:lnTo>
                    <a:pt x="2942" y="13191"/>
                  </a:lnTo>
                  <a:lnTo>
                    <a:pt x="2032" y="14122"/>
                  </a:lnTo>
                  <a:lnTo>
                    <a:pt x="1494" y="14118"/>
                  </a:lnTo>
                  <a:lnTo>
                    <a:pt x="0" y="16197"/>
                  </a:lnTo>
                  <a:lnTo>
                    <a:pt x="1629" y="16018"/>
                  </a:lnTo>
                  <a:lnTo>
                    <a:pt x="2921" y="15492"/>
                  </a:lnTo>
                  <a:lnTo>
                    <a:pt x="3639" y="16538"/>
                  </a:lnTo>
                  <a:lnTo>
                    <a:pt x="3162" y="16995"/>
                  </a:lnTo>
                  <a:lnTo>
                    <a:pt x="3020" y="17638"/>
                  </a:lnTo>
                  <a:lnTo>
                    <a:pt x="2446" y="17806"/>
                  </a:lnTo>
                  <a:lnTo>
                    <a:pt x="2727" y="18751"/>
                  </a:lnTo>
                  <a:lnTo>
                    <a:pt x="2163" y="19760"/>
                  </a:lnTo>
                  <a:lnTo>
                    <a:pt x="3119" y="20586"/>
                  </a:lnTo>
                  <a:lnTo>
                    <a:pt x="3098" y="21600"/>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60" name="线条"/>
            <p:cNvSpPr/>
            <p:nvPr/>
          </p:nvSpPr>
          <p:spPr>
            <a:xfrm>
              <a:off x="5817911" y="4825311"/>
              <a:ext cx="787014" cy="547077"/>
            </a:xfrm>
            <a:custGeom>
              <a:avLst/>
              <a:gdLst/>
              <a:ahLst/>
              <a:cxnLst>
                <a:cxn ang="0">
                  <a:pos x="wd2" y="hd2"/>
                </a:cxn>
                <a:cxn ang="5400000">
                  <a:pos x="wd2" y="hd2"/>
                </a:cxn>
                <a:cxn ang="10800000">
                  <a:pos x="wd2" y="hd2"/>
                </a:cxn>
                <a:cxn ang="16200000">
                  <a:pos x="wd2" y="hd2"/>
                </a:cxn>
              </a:cxnLst>
              <a:rect l="0" t="0" r="r" b="b"/>
              <a:pathLst>
                <a:path w="21600" h="21600" extrusionOk="0">
                  <a:moveTo>
                    <a:pt x="2656" y="21600"/>
                  </a:moveTo>
                  <a:lnTo>
                    <a:pt x="2190" y="21240"/>
                  </a:lnTo>
                  <a:lnTo>
                    <a:pt x="2234" y="20622"/>
                  </a:lnTo>
                  <a:lnTo>
                    <a:pt x="1691" y="20407"/>
                  </a:lnTo>
                  <a:lnTo>
                    <a:pt x="1453" y="19218"/>
                  </a:lnTo>
                  <a:lnTo>
                    <a:pt x="748" y="17689"/>
                  </a:lnTo>
                  <a:lnTo>
                    <a:pt x="348" y="18259"/>
                  </a:lnTo>
                  <a:lnTo>
                    <a:pt x="0" y="17929"/>
                  </a:lnTo>
                  <a:lnTo>
                    <a:pt x="367" y="17510"/>
                  </a:lnTo>
                  <a:lnTo>
                    <a:pt x="630" y="15884"/>
                  </a:lnTo>
                  <a:lnTo>
                    <a:pt x="108" y="14805"/>
                  </a:lnTo>
                  <a:lnTo>
                    <a:pt x="497" y="14287"/>
                  </a:lnTo>
                  <a:lnTo>
                    <a:pt x="1098" y="14130"/>
                  </a:lnTo>
                  <a:lnTo>
                    <a:pt x="2238" y="13781"/>
                  </a:lnTo>
                  <a:lnTo>
                    <a:pt x="2964" y="13990"/>
                  </a:lnTo>
                  <a:lnTo>
                    <a:pt x="4600" y="12672"/>
                  </a:lnTo>
                  <a:lnTo>
                    <a:pt x="5393" y="12867"/>
                  </a:lnTo>
                  <a:lnTo>
                    <a:pt x="5606" y="11950"/>
                  </a:lnTo>
                  <a:lnTo>
                    <a:pt x="5576" y="9918"/>
                  </a:lnTo>
                  <a:lnTo>
                    <a:pt x="4657" y="9014"/>
                  </a:lnTo>
                  <a:lnTo>
                    <a:pt x="4265" y="8966"/>
                  </a:lnTo>
                  <a:lnTo>
                    <a:pt x="4263" y="8490"/>
                  </a:lnTo>
                  <a:lnTo>
                    <a:pt x="3923" y="7789"/>
                  </a:lnTo>
                  <a:lnTo>
                    <a:pt x="3905" y="6677"/>
                  </a:lnTo>
                  <a:lnTo>
                    <a:pt x="3620" y="6289"/>
                  </a:lnTo>
                  <a:lnTo>
                    <a:pt x="3893" y="5827"/>
                  </a:lnTo>
                  <a:lnTo>
                    <a:pt x="3387" y="4819"/>
                  </a:lnTo>
                  <a:lnTo>
                    <a:pt x="3985" y="3205"/>
                  </a:lnTo>
                  <a:lnTo>
                    <a:pt x="4958" y="3652"/>
                  </a:lnTo>
                  <a:lnTo>
                    <a:pt x="5646" y="3516"/>
                  </a:lnTo>
                  <a:lnTo>
                    <a:pt x="5166" y="2053"/>
                  </a:lnTo>
                  <a:lnTo>
                    <a:pt x="4724" y="1950"/>
                  </a:lnTo>
                  <a:lnTo>
                    <a:pt x="4416" y="1831"/>
                  </a:lnTo>
                  <a:lnTo>
                    <a:pt x="4417" y="1170"/>
                  </a:lnTo>
                  <a:lnTo>
                    <a:pt x="3946" y="563"/>
                  </a:lnTo>
                  <a:lnTo>
                    <a:pt x="3517" y="434"/>
                  </a:lnTo>
                  <a:lnTo>
                    <a:pt x="3747" y="0"/>
                  </a:lnTo>
                  <a:lnTo>
                    <a:pt x="5086" y="7"/>
                  </a:lnTo>
                  <a:lnTo>
                    <a:pt x="5744" y="595"/>
                  </a:lnTo>
                  <a:lnTo>
                    <a:pt x="6690" y="120"/>
                  </a:lnTo>
                  <a:lnTo>
                    <a:pt x="7052" y="963"/>
                  </a:lnTo>
                  <a:lnTo>
                    <a:pt x="7850" y="80"/>
                  </a:lnTo>
                  <a:lnTo>
                    <a:pt x="8571" y="1167"/>
                  </a:lnTo>
                  <a:lnTo>
                    <a:pt x="8722" y="1977"/>
                  </a:lnTo>
                  <a:lnTo>
                    <a:pt x="9527" y="2610"/>
                  </a:lnTo>
                  <a:lnTo>
                    <a:pt x="9587" y="3406"/>
                  </a:lnTo>
                  <a:lnTo>
                    <a:pt x="10320" y="3560"/>
                  </a:lnTo>
                  <a:lnTo>
                    <a:pt x="11627" y="4853"/>
                  </a:lnTo>
                  <a:lnTo>
                    <a:pt x="12972" y="4481"/>
                  </a:lnTo>
                  <a:lnTo>
                    <a:pt x="13663" y="4447"/>
                  </a:lnTo>
                  <a:lnTo>
                    <a:pt x="14387" y="4207"/>
                  </a:lnTo>
                  <a:lnTo>
                    <a:pt x="15300" y="5094"/>
                  </a:lnTo>
                  <a:lnTo>
                    <a:pt x="15624" y="4538"/>
                  </a:lnTo>
                  <a:lnTo>
                    <a:pt x="15930" y="4346"/>
                  </a:lnTo>
                  <a:lnTo>
                    <a:pt x="16218" y="5261"/>
                  </a:lnTo>
                  <a:lnTo>
                    <a:pt x="16049" y="5852"/>
                  </a:lnTo>
                  <a:lnTo>
                    <a:pt x="16543" y="6971"/>
                  </a:lnTo>
                  <a:lnTo>
                    <a:pt x="17177" y="7354"/>
                  </a:lnTo>
                  <a:lnTo>
                    <a:pt x="17519" y="6800"/>
                  </a:lnTo>
                  <a:lnTo>
                    <a:pt x="18264" y="7453"/>
                  </a:lnTo>
                  <a:lnTo>
                    <a:pt x="18764" y="8397"/>
                  </a:lnTo>
                  <a:lnTo>
                    <a:pt x="19855" y="8832"/>
                  </a:lnTo>
                  <a:lnTo>
                    <a:pt x="20446" y="8156"/>
                  </a:lnTo>
                  <a:lnTo>
                    <a:pt x="20796" y="9051"/>
                  </a:lnTo>
                  <a:lnTo>
                    <a:pt x="21600" y="9820"/>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61" name="线条"/>
            <p:cNvSpPr/>
            <p:nvPr/>
          </p:nvSpPr>
          <p:spPr>
            <a:xfrm>
              <a:off x="5522550" y="3980242"/>
              <a:ext cx="585497" cy="1054442"/>
            </a:xfrm>
            <a:custGeom>
              <a:avLst/>
              <a:gdLst/>
              <a:ahLst/>
              <a:cxnLst>
                <a:cxn ang="0">
                  <a:pos x="wd2" y="hd2"/>
                </a:cxn>
                <a:cxn ang="5400000">
                  <a:pos x="wd2" y="hd2"/>
                </a:cxn>
                <a:cxn ang="10800000">
                  <a:pos x="wd2" y="hd2"/>
                </a:cxn>
                <a:cxn ang="16200000">
                  <a:pos x="wd2" y="hd2"/>
                </a:cxn>
              </a:cxnLst>
              <a:rect l="0" t="0" r="r" b="b"/>
              <a:pathLst>
                <a:path w="21600" h="21600" extrusionOk="0">
                  <a:moveTo>
                    <a:pt x="21548" y="513"/>
                  </a:moveTo>
                  <a:lnTo>
                    <a:pt x="21600" y="0"/>
                  </a:lnTo>
                  <a:lnTo>
                    <a:pt x="20767" y="150"/>
                  </a:lnTo>
                  <a:lnTo>
                    <a:pt x="19744" y="1026"/>
                  </a:lnTo>
                  <a:lnTo>
                    <a:pt x="19442" y="780"/>
                  </a:lnTo>
                  <a:lnTo>
                    <a:pt x="18687" y="870"/>
                  </a:lnTo>
                  <a:lnTo>
                    <a:pt x="17867" y="505"/>
                  </a:lnTo>
                  <a:lnTo>
                    <a:pt x="17881" y="1044"/>
                  </a:lnTo>
                  <a:lnTo>
                    <a:pt x="17145" y="1135"/>
                  </a:lnTo>
                  <a:lnTo>
                    <a:pt x="16002" y="1849"/>
                  </a:lnTo>
                  <a:lnTo>
                    <a:pt x="15875" y="2317"/>
                  </a:lnTo>
                  <a:lnTo>
                    <a:pt x="15181" y="2413"/>
                  </a:lnTo>
                  <a:lnTo>
                    <a:pt x="14754" y="2751"/>
                  </a:lnTo>
                  <a:lnTo>
                    <a:pt x="13703" y="3496"/>
                  </a:lnTo>
                  <a:lnTo>
                    <a:pt x="13590" y="3961"/>
                  </a:lnTo>
                  <a:lnTo>
                    <a:pt x="13907" y="4460"/>
                  </a:lnTo>
                  <a:lnTo>
                    <a:pt x="13569" y="4750"/>
                  </a:lnTo>
                  <a:lnTo>
                    <a:pt x="13049" y="4376"/>
                  </a:lnTo>
                  <a:lnTo>
                    <a:pt x="12878" y="5107"/>
                  </a:lnTo>
                  <a:lnTo>
                    <a:pt x="11896" y="5389"/>
                  </a:lnTo>
                  <a:lnTo>
                    <a:pt x="10375" y="5444"/>
                  </a:lnTo>
                  <a:lnTo>
                    <a:pt x="9968" y="5075"/>
                  </a:lnTo>
                  <a:lnTo>
                    <a:pt x="9315" y="4784"/>
                  </a:lnTo>
                  <a:lnTo>
                    <a:pt x="8750" y="4763"/>
                  </a:lnTo>
                  <a:lnTo>
                    <a:pt x="7603" y="5301"/>
                  </a:lnTo>
                  <a:lnTo>
                    <a:pt x="7183" y="5972"/>
                  </a:lnTo>
                  <a:lnTo>
                    <a:pt x="7512" y="6618"/>
                  </a:lnTo>
                  <a:lnTo>
                    <a:pt x="7311" y="6984"/>
                  </a:lnTo>
                  <a:lnTo>
                    <a:pt x="8100" y="7417"/>
                  </a:lnTo>
                  <a:lnTo>
                    <a:pt x="9207" y="7731"/>
                  </a:lnTo>
                  <a:lnTo>
                    <a:pt x="10190" y="8354"/>
                  </a:lnTo>
                  <a:lnTo>
                    <a:pt x="11029" y="8291"/>
                  </a:lnTo>
                  <a:lnTo>
                    <a:pt x="11921" y="8704"/>
                  </a:lnTo>
                  <a:lnTo>
                    <a:pt x="12750" y="9010"/>
                  </a:lnTo>
                  <a:lnTo>
                    <a:pt x="12518" y="9815"/>
                  </a:lnTo>
                  <a:lnTo>
                    <a:pt x="11758" y="10335"/>
                  </a:lnTo>
                  <a:lnTo>
                    <a:pt x="12050" y="11043"/>
                  </a:lnTo>
                  <a:lnTo>
                    <a:pt x="12197" y="11584"/>
                  </a:lnTo>
                  <a:lnTo>
                    <a:pt x="11613" y="11863"/>
                  </a:lnTo>
                  <a:lnTo>
                    <a:pt x="10844" y="11744"/>
                  </a:lnTo>
                  <a:lnTo>
                    <a:pt x="9715" y="11854"/>
                  </a:lnTo>
                  <a:lnTo>
                    <a:pt x="8948" y="11724"/>
                  </a:lnTo>
                  <a:lnTo>
                    <a:pt x="8639" y="11976"/>
                  </a:lnTo>
                  <a:lnTo>
                    <a:pt x="9363" y="12603"/>
                  </a:lnTo>
                  <a:lnTo>
                    <a:pt x="8849" y="12676"/>
                  </a:lnTo>
                  <a:lnTo>
                    <a:pt x="8070" y="12654"/>
                  </a:lnTo>
                  <a:lnTo>
                    <a:pt x="7078" y="12678"/>
                  </a:lnTo>
                  <a:lnTo>
                    <a:pt x="6664" y="12834"/>
                  </a:lnTo>
                  <a:lnTo>
                    <a:pt x="6045" y="12447"/>
                  </a:lnTo>
                  <a:lnTo>
                    <a:pt x="5050" y="12223"/>
                  </a:lnTo>
                  <a:lnTo>
                    <a:pt x="4256" y="12403"/>
                  </a:lnTo>
                  <a:lnTo>
                    <a:pt x="4436" y="12958"/>
                  </a:lnTo>
                  <a:lnTo>
                    <a:pt x="3538" y="13772"/>
                  </a:lnTo>
                  <a:lnTo>
                    <a:pt x="4532" y="13810"/>
                  </a:lnTo>
                  <a:lnTo>
                    <a:pt x="4832" y="14401"/>
                  </a:lnTo>
                  <a:lnTo>
                    <a:pt x="4279" y="14628"/>
                  </a:lnTo>
                  <a:lnTo>
                    <a:pt x="4291" y="15129"/>
                  </a:lnTo>
                  <a:lnTo>
                    <a:pt x="4000" y="15343"/>
                  </a:lnTo>
                  <a:lnTo>
                    <a:pt x="3915" y="15832"/>
                  </a:lnTo>
                  <a:lnTo>
                    <a:pt x="4264" y="16297"/>
                  </a:lnTo>
                  <a:lnTo>
                    <a:pt x="3995" y="16408"/>
                  </a:lnTo>
                  <a:lnTo>
                    <a:pt x="3556" y="16239"/>
                  </a:lnTo>
                  <a:lnTo>
                    <a:pt x="2809" y="16299"/>
                  </a:lnTo>
                  <a:lnTo>
                    <a:pt x="1806" y="16191"/>
                  </a:lnTo>
                  <a:lnTo>
                    <a:pt x="1165" y="16439"/>
                  </a:lnTo>
                  <a:lnTo>
                    <a:pt x="662" y="17067"/>
                  </a:lnTo>
                  <a:lnTo>
                    <a:pt x="1662" y="17214"/>
                  </a:lnTo>
                  <a:lnTo>
                    <a:pt x="1389" y="17712"/>
                  </a:lnTo>
                  <a:lnTo>
                    <a:pt x="879" y="18075"/>
                  </a:lnTo>
                  <a:lnTo>
                    <a:pt x="0" y="17984"/>
                  </a:lnTo>
                  <a:lnTo>
                    <a:pt x="352" y="18642"/>
                  </a:lnTo>
                  <a:lnTo>
                    <a:pt x="1920" y="18302"/>
                  </a:lnTo>
                  <a:lnTo>
                    <a:pt x="2783" y="18757"/>
                  </a:lnTo>
                  <a:lnTo>
                    <a:pt x="3686" y="18873"/>
                  </a:lnTo>
                  <a:lnTo>
                    <a:pt x="5007" y="18591"/>
                  </a:lnTo>
                  <a:lnTo>
                    <a:pt x="6081" y="18689"/>
                  </a:lnTo>
                  <a:lnTo>
                    <a:pt x="5888" y="19268"/>
                  </a:lnTo>
                  <a:lnTo>
                    <a:pt x="6880" y="19441"/>
                  </a:lnTo>
                  <a:lnTo>
                    <a:pt x="7326" y="19143"/>
                  </a:lnTo>
                  <a:lnTo>
                    <a:pt x="7841" y="19606"/>
                  </a:lnTo>
                  <a:lnTo>
                    <a:pt x="8733" y="19826"/>
                  </a:lnTo>
                  <a:lnTo>
                    <a:pt x="9297" y="20284"/>
                  </a:lnTo>
                  <a:lnTo>
                    <a:pt x="10182" y="19949"/>
                  </a:lnTo>
                  <a:lnTo>
                    <a:pt x="11708" y="19957"/>
                  </a:lnTo>
                  <a:lnTo>
                    <a:pt x="12930" y="20631"/>
                  </a:lnTo>
                  <a:lnTo>
                    <a:pt x="14175" y="20946"/>
                  </a:lnTo>
                  <a:lnTo>
                    <a:pt x="14825" y="21600"/>
                  </a:lnTo>
                  <a:lnTo>
                    <a:pt x="16395" y="21468"/>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62" name="线条"/>
            <p:cNvSpPr/>
            <p:nvPr/>
          </p:nvSpPr>
          <p:spPr>
            <a:xfrm>
              <a:off x="5484313" y="4958509"/>
              <a:ext cx="363765" cy="484821"/>
            </a:xfrm>
            <a:custGeom>
              <a:avLst/>
              <a:gdLst/>
              <a:ahLst/>
              <a:cxnLst>
                <a:cxn ang="0">
                  <a:pos x="wd2" y="hd2"/>
                </a:cxn>
                <a:cxn ang="5400000">
                  <a:pos x="wd2" y="hd2"/>
                </a:cxn>
                <a:cxn ang="10800000">
                  <a:pos x="wd2" y="hd2"/>
                </a:cxn>
                <a:cxn ang="16200000">
                  <a:pos x="wd2" y="hd2"/>
                </a:cxn>
              </a:cxnLst>
              <a:rect l="0" t="0" r="r" b="b"/>
              <a:pathLst>
                <a:path w="21600" h="21600" extrusionOk="0">
                  <a:moveTo>
                    <a:pt x="20827" y="0"/>
                  </a:moveTo>
                  <a:lnTo>
                    <a:pt x="19949" y="954"/>
                  </a:lnTo>
                  <a:lnTo>
                    <a:pt x="19323" y="964"/>
                  </a:lnTo>
                  <a:lnTo>
                    <a:pt x="19225" y="1983"/>
                  </a:lnTo>
                  <a:lnTo>
                    <a:pt x="21600" y="3183"/>
                  </a:lnTo>
                  <a:lnTo>
                    <a:pt x="20108" y="4008"/>
                  </a:lnTo>
                  <a:lnTo>
                    <a:pt x="19114" y="4427"/>
                  </a:lnTo>
                  <a:lnTo>
                    <a:pt x="18180" y="5448"/>
                  </a:lnTo>
                  <a:lnTo>
                    <a:pt x="17684" y="6752"/>
                  </a:lnTo>
                  <a:lnTo>
                    <a:pt x="17066" y="8388"/>
                  </a:lnTo>
                  <a:lnTo>
                    <a:pt x="16146" y="8013"/>
                  </a:lnTo>
                  <a:lnTo>
                    <a:pt x="15001" y="8281"/>
                  </a:lnTo>
                  <a:lnTo>
                    <a:pt x="13862" y="8429"/>
                  </a:lnTo>
                  <a:lnTo>
                    <a:pt x="13780" y="9618"/>
                  </a:lnTo>
                  <a:lnTo>
                    <a:pt x="11637" y="12487"/>
                  </a:lnTo>
                  <a:lnTo>
                    <a:pt x="9532" y="12639"/>
                  </a:lnTo>
                  <a:lnTo>
                    <a:pt x="8851" y="11973"/>
                  </a:lnTo>
                  <a:lnTo>
                    <a:pt x="8765" y="10910"/>
                  </a:lnTo>
                  <a:lnTo>
                    <a:pt x="5939" y="11867"/>
                  </a:lnTo>
                  <a:lnTo>
                    <a:pt x="5497" y="11032"/>
                  </a:lnTo>
                  <a:lnTo>
                    <a:pt x="3362" y="10298"/>
                  </a:lnTo>
                  <a:lnTo>
                    <a:pt x="2431" y="10975"/>
                  </a:lnTo>
                  <a:lnTo>
                    <a:pt x="1745" y="11883"/>
                  </a:lnTo>
                  <a:lnTo>
                    <a:pt x="2605" y="12787"/>
                  </a:lnTo>
                  <a:lnTo>
                    <a:pt x="2311" y="13795"/>
                  </a:lnTo>
                  <a:lnTo>
                    <a:pt x="1463" y="14513"/>
                  </a:lnTo>
                  <a:lnTo>
                    <a:pt x="281" y="14933"/>
                  </a:lnTo>
                  <a:lnTo>
                    <a:pt x="0" y="15657"/>
                  </a:lnTo>
                  <a:lnTo>
                    <a:pt x="1231" y="16299"/>
                  </a:lnTo>
                  <a:lnTo>
                    <a:pt x="1392" y="17226"/>
                  </a:lnTo>
                  <a:lnTo>
                    <a:pt x="2636" y="17319"/>
                  </a:lnTo>
                  <a:lnTo>
                    <a:pt x="2800" y="18860"/>
                  </a:lnTo>
                  <a:lnTo>
                    <a:pt x="5523" y="19394"/>
                  </a:lnTo>
                  <a:lnTo>
                    <a:pt x="6242" y="20402"/>
                  </a:lnTo>
                  <a:lnTo>
                    <a:pt x="6372" y="21600"/>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63" name="线条"/>
            <p:cNvSpPr/>
            <p:nvPr/>
          </p:nvSpPr>
          <p:spPr>
            <a:xfrm>
              <a:off x="4669743" y="5282802"/>
              <a:ext cx="797183" cy="461758"/>
            </a:xfrm>
            <a:custGeom>
              <a:avLst/>
              <a:gdLst/>
              <a:ahLst/>
              <a:cxnLst>
                <a:cxn ang="0">
                  <a:pos x="wd2" y="hd2"/>
                </a:cxn>
                <a:cxn ang="5400000">
                  <a:pos x="wd2" y="hd2"/>
                </a:cxn>
                <a:cxn ang="10800000">
                  <a:pos x="wd2" y="hd2"/>
                </a:cxn>
                <a:cxn ang="16200000">
                  <a:pos x="wd2" y="hd2"/>
                </a:cxn>
              </a:cxnLst>
              <a:rect l="0" t="0" r="r" b="b"/>
              <a:pathLst>
                <a:path w="21600" h="21600" extrusionOk="0">
                  <a:moveTo>
                    <a:pt x="21600" y="11273"/>
                  </a:moveTo>
                  <a:lnTo>
                    <a:pt x="21528" y="10370"/>
                  </a:lnTo>
                  <a:lnTo>
                    <a:pt x="20958" y="9695"/>
                  </a:lnTo>
                  <a:lnTo>
                    <a:pt x="20162" y="10781"/>
                  </a:lnTo>
                  <a:lnTo>
                    <a:pt x="19556" y="11197"/>
                  </a:lnTo>
                  <a:lnTo>
                    <a:pt x="18738" y="10305"/>
                  </a:lnTo>
                  <a:lnTo>
                    <a:pt x="19055" y="9378"/>
                  </a:lnTo>
                  <a:lnTo>
                    <a:pt x="19248" y="8343"/>
                  </a:lnTo>
                  <a:lnTo>
                    <a:pt x="18762" y="8008"/>
                  </a:lnTo>
                  <a:lnTo>
                    <a:pt x="18634" y="6968"/>
                  </a:lnTo>
                  <a:lnTo>
                    <a:pt x="19044" y="5915"/>
                  </a:lnTo>
                  <a:lnTo>
                    <a:pt x="18057" y="6101"/>
                  </a:lnTo>
                  <a:lnTo>
                    <a:pt x="17323" y="5855"/>
                  </a:lnTo>
                  <a:lnTo>
                    <a:pt x="17085" y="6944"/>
                  </a:lnTo>
                  <a:lnTo>
                    <a:pt x="17498" y="7825"/>
                  </a:lnTo>
                  <a:lnTo>
                    <a:pt x="17160" y="8401"/>
                  </a:lnTo>
                  <a:lnTo>
                    <a:pt x="16644" y="8052"/>
                  </a:lnTo>
                  <a:lnTo>
                    <a:pt x="16078" y="8448"/>
                  </a:lnTo>
                  <a:lnTo>
                    <a:pt x="15908" y="9341"/>
                  </a:lnTo>
                  <a:lnTo>
                    <a:pt x="16387" y="10047"/>
                  </a:lnTo>
                  <a:lnTo>
                    <a:pt x="15709" y="11513"/>
                  </a:lnTo>
                  <a:lnTo>
                    <a:pt x="14777" y="13106"/>
                  </a:lnTo>
                  <a:lnTo>
                    <a:pt x="14384" y="13023"/>
                  </a:lnTo>
                  <a:lnTo>
                    <a:pt x="14099" y="14576"/>
                  </a:lnTo>
                  <a:lnTo>
                    <a:pt x="14103" y="15919"/>
                  </a:lnTo>
                  <a:lnTo>
                    <a:pt x="14428" y="18374"/>
                  </a:lnTo>
                  <a:lnTo>
                    <a:pt x="14246" y="19362"/>
                  </a:lnTo>
                  <a:lnTo>
                    <a:pt x="13238" y="20186"/>
                  </a:lnTo>
                  <a:lnTo>
                    <a:pt x="13049" y="19394"/>
                  </a:lnTo>
                  <a:lnTo>
                    <a:pt x="12585" y="19596"/>
                  </a:lnTo>
                  <a:lnTo>
                    <a:pt x="11465" y="20676"/>
                  </a:lnTo>
                  <a:lnTo>
                    <a:pt x="11319" y="21571"/>
                  </a:lnTo>
                  <a:lnTo>
                    <a:pt x="10642" y="21600"/>
                  </a:lnTo>
                  <a:lnTo>
                    <a:pt x="10495" y="20523"/>
                  </a:lnTo>
                  <a:lnTo>
                    <a:pt x="10301" y="20185"/>
                  </a:lnTo>
                  <a:lnTo>
                    <a:pt x="9883" y="19988"/>
                  </a:lnTo>
                  <a:lnTo>
                    <a:pt x="9981" y="19012"/>
                  </a:lnTo>
                  <a:lnTo>
                    <a:pt x="9410" y="17983"/>
                  </a:lnTo>
                  <a:lnTo>
                    <a:pt x="9664" y="16775"/>
                  </a:lnTo>
                  <a:lnTo>
                    <a:pt x="9376" y="16466"/>
                  </a:lnTo>
                  <a:lnTo>
                    <a:pt x="8757" y="14967"/>
                  </a:lnTo>
                  <a:lnTo>
                    <a:pt x="8886" y="14077"/>
                  </a:lnTo>
                  <a:lnTo>
                    <a:pt x="8567" y="13708"/>
                  </a:lnTo>
                  <a:lnTo>
                    <a:pt x="7509" y="10007"/>
                  </a:lnTo>
                  <a:lnTo>
                    <a:pt x="7540" y="9394"/>
                  </a:lnTo>
                  <a:lnTo>
                    <a:pt x="7029" y="9673"/>
                  </a:lnTo>
                  <a:lnTo>
                    <a:pt x="6821" y="9391"/>
                  </a:lnTo>
                  <a:lnTo>
                    <a:pt x="6289" y="9919"/>
                  </a:lnTo>
                  <a:lnTo>
                    <a:pt x="6169" y="9259"/>
                  </a:lnTo>
                  <a:lnTo>
                    <a:pt x="5581" y="8101"/>
                  </a:lnTo>
                  <a:lnTo>
                    <a:pt x="5625" y="7566"/>
                  </a:lnTo>
                  <a:lnTo>
                    <a:pt x="6244" y="6846"/>
                  </a:lnTo>
                  <a:lnTo>
                    <a:pt x="6046" y="5488"/>
                  </a:lnTo>
                  <a:lnTo>
                    <a:pt x="5335" y="4636"/>
                  </a:lnTo>
                  <a:lnTo>
                    <a:pt x="4934" y="3900"/>
                  </a:lnTo>
                  <a:lnTo>
                    <a:pt x="4891" y="3134"/>
                  </a:lnTo>
                  <a:lnTo>
                    <a:pt x="4472" y="3419"/>
                  </a:lnTo>
                  <a:lnTo>
                    <a:pt x="4188" y="4826"/>
                  </a:lnTo>
                  <a:lnTo>
                    <a:pt x="3952" y="4892"/>
                  </a:lnTo>
                  <a:lnTo>
                    <a:pt x="3487" y="6667"/>
                  </a:lnTo>
                  <a:lnTo>
                    <a:pt x="3299" y="6016"/>
                  </a:lnTo>
                  <a:lnTo>
                    <a:pt x="3038" y="3579"/>
                  </a:lnTo>
                  <a:lnTo>
                    <a:pt x="3146" y="2348"/>
                  </a:lnTo>
                  <a:lnTo>
                    <a:pt x="3339" y="1391"/>
                  </a:lnTo>
                  <a:lnTo>
                    <a:pt x="3283" y="0"/>
                  </a:lnTo>
                  <a:lnTo>
                    <a:pt x="2910" y="156"/>
                  </a:lnTo>
                  <a:lnTo>
                    <a:pt x="2734" y="1517"/>
                  </a:lnTo>
                  <a:lnTo>
                    <a:pt x="2445" y="2781"/>
                  </a:lnTo>
                  <a:lnTo>
                    <a:pt x="2286" y="2201"/>
                  </a:lnTo>
                  <a:lnTo>
                    <a:pt x="1972" y="1517"/>
                  </a:lnTo>
                  <a:lnTo>
                    <a:pt x="1669" y="2461"/>
                  </a:lnTo>
                  <a:lnTo>
                    <a:pt x="1436" y="4110"/>
                  </a:lnTo>
                  <a:lnTo>
                    <a:pt x="1692" y="5403"/>
                  </a:lnTo>
                  <a:lnTo>
                    <a:pt x="1481" y="6518"/>
                  </a:lnTo>
                  <a:lnTo>
                    <a:pt x="879" y="6859"/>
                  </a:lnTo>
                  <a:lnTo>
                    <a:pt x="372" y="5128"/>
                  </a:lnTo>
                  <a:lnTo>
                    <a:pt x="0" y="6298"/>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64" name="形状"/>
            <p:cNvSpPr/>
            <p:nvPr/>
          </p:nvSpPr>
          <p:spPr>
            <a:xfrm>
              <a:off x="2636566" y="4079987"/>
              <a:ext cx="2160604" cy="1423189"/>
            </a:xfrm>
            <a:custGeom>
              <a:avLst/>
              <a:gdLst/>
              <a:ahLst/>
              <a:cxnLst>
                <a:cxn ang="0">
                  <a:pos x="wd2" y="hd2"/>
                </a:cxn>
                <a:cxn ang="5400000">
                  <a:pos x="wd2" y="hd2"/>
                </a:cxn>
                <a:cxn ang="10800000">
                  <a:pos x="wd2" y="hd2"/>
                </a:cxn>
                <a:cxn ang="16200000">
                  <a:pos x="wd2" y="hd2"/>
                </a:cxn>
              </a:cxnLst>
              <a:rect l="0" t="0" r="r" b="b"/>
              <a:pathLst>
                <a:path w="21600" h="21600" extrusionOk="0">
                  <a:moveTo>
                    <a:pt x="21494" y="18248"/>
                  </a:moveTo>
                  <a:lnTo>
                    <a:pt x="21467" y="17554"/>
                  </a:lnTo>
                  <a:lnTo>
                    <a:pt x="21492" y="17302"/>
                  </a:lnTo>
                  <a:lnTo>
                    <a:pt x="21600" y="16841"/>
                  </a:lnTo>
                  <a:lnTo>
                    <a:pt x="21547" y="16374"/>
                  </a:lnTo>
                  <a:lnTo>
                    <a:pt x="21542" y="15786"/>
                  </a:lnTo>
                  <a:lnTo>
                    <a:pt x="21565" y="15129"/>
                  </a:lnTo>
                  <a:lnTo>
                    <a:pt x="21329" y="14392"/>
                  </a:lnTo>
                  <a:lnTo>
                    <a:pt x="21242" y="14258"/>
                  </a:lnTo>
                  <a:lnTo>
                    <a:pt x="21274" y="14028"/>
                  </a:lnTo>
                  <a:lnTo>
                    <a:pt x="21491" y="14161"/>
                  </a:lnTo>
                  <a:lnTo>
                    <a:pt x="21595" y="14044"/>
                  </a:lnTo>
                  <a:lnTo>
                    <a:pt x="21371" y="13589"/>
                  </a:lnTo>
                  <a:lnTo>
                    <a:pt x="21162" y="12966"/>
                  </a:lnTo>
                  <a:lnTo>
                    <a:pt x="21107" y="12634"/>
                  </a:lnTo>
                  <a:lnTo>
                    <a:pt x="21048" y="12315"/>
                  </a:lnTo>
                  <a:lnTo>
                    <a:pt x="20992" y="11917"/>
                  </a:lnTo>
                  <a:lnTo>
                    <a:pt x="20588" y="11507"/>
                  </a:lnTo>
                  <a:lnTo>
                    <a:pt x="20352" y="11489"/>
                  </a:lnTo>
                  <a:lnTo>
                    <a:pt x="20048" y="11421"/>
                  </a:lnTo>
                  <a:lnTo>
                    <a:pt x="20071" y="11830"/>
                  </a:lnTo>
                  <a:lnTo>
                    <a:pt x="20009" y="12073"/>
                  </a:lnTo>
                  <a:lnTo>
                    <a:pt x="19861" y="12363"/>
                  </a:lnTo>
                  <a:lnTo>
                    <a:pt x="19392" y="12379"/>
                  </a:lnTo>
                  <a:lnTo>
                    <a:pt x="19239" y="12485"/>
                  </a:lnTo>
                  <a:lnTo>
                    <a:pt x="19292" y="13028"/>
                  </a:lnTo>
                  <a:lnTo>
                    <a:pt x="18988" y="12817"/>
                  </a:lnTo>
                  <a:lnTo>
                    <a:pt x="18866" y="12483"/>
                  </a:lnTo>
                  <a:lnTo>
                    <a:pt x="18734" y="12453"/>
                  </a:lnTo>
                  <a:lnTo>
                    <a:pt x="18654" y="13077"/>
                  </a:lnTo>
                  <a:lnTo>
                    <a:pt x="18465" y="12566"/>
                  </a:lnTo>
                  <a:lnTo>
                    <a:pt x="18288" y="12758"/>
                  </a:lnTo>
                  <a:lnTo>
                    <a:pt x="18142" y="12589"/>
                  </a:lnTo>
                  <a:lnTo>
                    <a:pt x="17982" y="12592"/>
                  </a:lnTo>
                  <a:lnTo>
                    <a:pt x="17824" y="12224"/>
                  </a:lnTo>
                  <a:lnTo>
                    <a:pt x="17948" y="11676"/>
                  </a:lnTo>
                  <a:lnTo>
                    <a:pt x="17834" y="11647"/>
                  </a:lnTo>
                  <a:lnTo>
                    <a:pt x="17665" y="11425"/>
                  </a:lnTo>
                  <a:lnTo>
                    <a:pt x="17732" y="11262"/>
                  </a:lnTo>
                  <a:lnTo>
                    <a:pt x="17421" y="11033"/>
                  </a:lnTo>
                  <a:lnTo>
                    <a:pt x="17209" y="10648"/>
                  </a:lnTo>
                  <a:lnTo>
                    <a:pt x="16643" y="10781"/>
                  </a:lnTo>
                  <a:lnTo>
                    <a:pt x="16154" y="10519"/>
                  </a:lnTo>
                  <a:lnTo>
                    <a:pt x="16012" y="10656"/>
                  </a:lnTo>
                  <a:lnTo>
                    <a:pt x="15416" y="9913"/>
                  </a:lnTo>
                  <a:lnTo>
                    <a:pt x="14979" y="9901"/>
                  </a:lnTo>
                  <a:lnTo>
                    <a:pt x="14732" y="9763"/>
                  </a:lnTo>
                  <a:lnTo>
                    <a:pt x="14667" y="9508"/>
                  </a:lnTo>
                  <a:lnTo>
                    <a:pt x="14318" y="9324"/>
                  </a:lnTo>
                  <a:lnTo>
                    <a:pt x="14109" y="9190"/>
                  </a:lnTo>
                  <a:lnTo>
                    <a:pt x="13712" y="8580"/>
                  </a:lnTo>
                  <a:lnTo>
                    <a:pt x="13577" y="8468"/>
                  </a:lnTo>
                  <a:lnTo>
                    <a:pt x="13194" y="8265"/>
                  </a:lnTo>
                  <a:lnTo>
                    <a:pt x="12790" y="7707"/>
                  </a:lnTo>
                  <a:lnTo>
                    <a:pt x="12673" y="7573"/>
                  </a:lnTo>
                  <a:lnTo>
                    <a:pt x="12337" y="6823"/>
                  </a:lnTo>
                  <a:lnTo>
                    <a:pt x="12302" y="6432"/>
                  </a:lnTo>
                  <a:lnTo>
                    <a:pt x="12338" y="6203"/>
                  </a:lnTo>
                  <a:lnTo>
                    <a:pt x="12524" y="6047"/>
                  </a:lnTo>
                  <a:lnTo>
                    <a:pt x="12612" y="5595"/>
                  </a:lnTo>
                  <a:lnTo>
                    <a:pt x="12566" y="5161"/>
                  </a:lnTo>
                  <a:lnTo>
                    <a:pt x="12715" y="4849"/>
                  </a:lnTo>
                  <a:lnTo>
                    <a:pt x="12602" y="4755"/>
                  </a:lnTo>
                  <a:lnTo>
                    <a:pt x="12451" y="4779"/>
                  </a:lnTo>
                  <a:lnTo>
                    <a:pt x="12497" y="4356"/>
                  </a:lnTo>
                  <a:lnTo>
                    <a:pt x="12414" y="4055"/>
                  </a:lnTo>
                  <a:lnTo>
                    <a:pt x="12475" y="3816"/>
                  </a:lnTo>
                  <a:lnTo>
                    <a:pt x="12686" y="3665"/>
                  </a:lnTo>
                  <a:lnTo>
                    <a:pt x="12813" y="3381"/>
                  </a:lnTo>
                  <a:lnTo>
                    <a:pt x="12851" y="2888"/>
                  </a:lnTo>
                  <a:lnTo>
                    <a:pt x="12690" y="2753"/>
                  </a:lnTo>
                  <a:lnTo>
                    <a:pt x="12652" y="2587"/>
                  </a:lnTo>
                  <a:lnTo>
                    <a:pt x="12976" y="2474"/>
                  </a:lnTo>
                  <a:lnTo>
                    <a:pt x="12448" y="1965"/>
                  </a:lnTo>
                  <a:lnTo>
                    <a:pt x="12148" y="1626"/>
                  </a:lnTo>
                  <a:lnTo>
                    <a:pt x="11972" y="1775"/>
                  </a:lnTo>
                  <a:lnTo>
                    <a:pt x="11864" y="1418"/>
                  </a:lnTo>
                  <a:lnTo>
                    <a:pt x="11719" y="1234"/>
                  </a:lnTo>
                  <a:lnTo>
                    <a:pt x="11085" y="1308"/>
                  </a:lnTo>
                  <a:lnTo>
                    <a:pt x="10742" y="1263"/>
                  </a:lnTo>
                  <a:lnTo>
                    <a:pt x="10667" y="1003"/>
                  </a:lnTo>
                  <a:lnTo>
                    <a:pt x="10326" y="1103"/>
                  </a:lnTo>
                  <a:lnTo>
                    <a:pt x="10096" y="1059"/>
                  </a:lnTo>
                  <a:lnTo>
                    <a:pt x="9426" y="1087"/>
                  </a:lnTo>
                  <a:lnTo>
                    <a:pt x="9240" y="1403"/>
                  </a:lnTo>
                  <a:lnTo>
                    <a:pt x="9092" y="1712"/>
                  </a:lnTo>
                  <a:lnTo>
                    <a:pt x="8874" y="1725"/>
                  </a:lnTo>
                  <a:lnTo>
                    <a:pt x="8587" y="1860"/>
                  </a:lnTo>
                  <a:lnTo>
                    <a:pt x="8466" y="1729"/>
                  </a:lnTo>
                  <a:lnTo>
                    <a:pt x="8267" y="1582"/>
                  </a:lnTo>
                  <a:lnTo>
                    <a:pt x="8064" y="1486"/>
                  </a:lnTo>
                  <a:lnTo>
                    <a:pt x="7832" y="1516"/>
                  </a:lnTo>
                  <a:lnTo>
                    <a:pt x="7474" y="1552"/>
                  </a:lnTo>
                  <a:lnTo>
                    <a:pt x="7279" y="1828"/>
                  </a:lnTo>
                  <a:lnTo>
                    <a:pt x="7088" y="1855"/>
                  </a:lnTo>
                  <a:lnTo>
                    <a:pt x="6895" y="1658"/>
                  </a:lnTo>
                  <a:lnTo>
                    <a:pt x="6669" y="1684"/>
                  </a:lnTo>
                  <a:lnTo>
                    <a:pt x="6314" y="1479"/>
                  </a:lnTo>
                  <a:lnTo>
                    <a:pt x="6100" y="1396"/>
                  </a:lnTo>
                  <a:lnTo>
                    <a:pt x="6025" y="1034"/>
                  </a:lnTo>
                  <a:lnTo>
                    <a:pt x="6047" y="766"/>
                  </a:lnTo>
                  <a:lnTo>
                    <a:pt x="5814" y="616"/>
                  </a:lnTo>
                  <a:lnTo>
                    <a:pt x="5608" y="509"/>
                  </a:lnTo>
                  <a:lnTo>
                    <a:pt x="5446" y="441"/>
                  </a:lnTo>
                  <a:lnTo>
                    <a:pt x="5330" y="678"/>
                  </a:lnTo>
                  <a:lnTo>
                    <a:pt x="5104" y="732"/>
                  </a:lnTo>
                  <a:lnTo>
                    <a:pt x="4818" y="1013"/>
                  </a:lnTo>
                  <a:lnTo>
                    <a:pt x="4516" y="1014"/>
                  </a:lnTo>
                  <a:lnTo>
                    <a:pt x="4317" y="752"/>
                  </a:lnTo>
                  <a:lnTo>
                    <a:pt x="4202" y="655"/>
                  </a:lnTo>
                  <a:lnTo>
                    <a:pt x="4049" y="423"/>
                  </a:lnTo>
                  <a:lnTo>
                    <a:pt x="3936" y="570"/>
                  </a:lnTo>
                  <a:lnTo>
                    <a:pt x="3699" y="509"/>
                  </a:lnTo>
                  <a:lnTo>
                    <a:pt x="3554" y="291"/>
                  </a:lnTo>
                  <a:lnTo>
                    <a:pt x="3427" y="0"/>
                  </a:lnTo>
                  <a:lnTo>
                    <a:pt x="3303" y="126"/>
                  </a:lnTo>
                  <a:lnTo>
                    <a:pt x="3196" y="432"/>
                  </a:lnTo>
                  <a:lnTo>
                    <a:pt x="2946" y="678"/>
                  </a:lnTo>
                  <a:lnTo>
                    <a:pt x="2658" y="981"/>
                  </a:lnTo>
                  <a:lnTo>
                    <a:pt x="2526" y="1431"/>
                  </a:lnTo>
                  <a:lnTo>
                    <a:pt x="2359" y="1642"/>
                  </a:lnTo>
                  <a:lnTo>
                    <a:pt x="2103" y="1601"/>
                  </a:lnTo>
                  <a:lnTo>
                    <a:pt x="1508" y="1497"/>
                  </a:lnTo>
                  <a:lnTo>
                    <a:pt x="1260" y="1757"/>
                  </a:lnTo>
                  <a:lnTo>
                    <a:pt x="1004" y="1818"/>
                  </a:lnTo>
                  <a:lnTo>
                    <a:pt x="1037" y="2298"/>
                  </a:lnTo>
                  <a:lnTo>
                    <a:pt x="866" y="2598"/>
                  </a:lnTo>
                  <a:lnTo>
                    <a:pt x="876" y="3053"/>
                  </a:lnTo>
                  <a:lnTo>
                    <a:pt x="1125" y="3722"/>
                  </a:lnTo>
                  <a:lnTo>
                    <a:pt x="1076" y="4918"/>
                  </a:lnTo>
                  <a:lnTo>
                    <a:pt x="695" y="5305"/>
                  </a:lnTo>
                  <a:lnTo>
                    <a:pt x="540" y="5049"/>
                  </a:lnTo>
                  <a:lnTo>
                    <a:pt x="626" y="4518"/>
                  </a:lnTo>
                  <a:lnTo>
                    <a:pt x="179" y="4605"/>
                  </a:lnTo>
                  <a:lnTo>
                    <a:pt x="105" y="5023"/>
                  </a:lnTo>
                  <a:lnTo>
                    <a:pt x="0" y="5394"/>
                  </a:lnTo>
                  <a:lnTo>
                    <a:pt x="205" y="5891"/>
                  </a:lnTo>
                  <a:lnTo>
                    <a:pt x="88" y="6199"/>
                  </a:lnTo>
                  <a:lnTo>
                    <a:pt x="241" y="6624"/>
                  </a:lnTo>
                  <a:lnTo>
                    <a:pt x="100" y="6765"/>
                  </a:lnTo>
                  <a:lnTo>
                    <a:pt x="49" y="7119"/>
                  </a:lnTo>
                  <a:lnTo>
                    <a:pt x="270" y="7956"/>
                  </a:lnTo>
                  <a:lnTo>
                    <a:pt x="613" y="8061"/>
                  </a:lnTo>
                  <a:lnTo>
                    <a:pt x="1025" y="8454"/>
                  </a:lnTo>
                  <a:lnTo>
                    <a:pt x="1119" y="9219"/>
                  </a:lnTo>
                  <a:lnTo>
                    <a:pt x="2031" y="10330"/>
                  </a:lnTo>
                  <a:lnTo>
                    <a:pt x="2015" y="10845"/>
                  </a:lnTo>
                  <a:lnTo>
                    <a:pt x="2559" y="10308"/>
                  </a:lnTo>
                  <a:lnTo>
                    <a:pt x="3200" y="10873"/>
                  </a:lnTo>
                  <a:lnTo>
                    <a:pt x="3219" y="11352"/>
                  </a:lnTo>
                  <a:lnTo>
                    <a:pt x="3615" y="11638"/>
                  </a:lnTo>
                  <a:lnTo>
                    <a:pt x="3708" y="12289"/>
                  </a:lnTo>
                  <a:lnTo>
                    <a:pt x="4144" y="12662"/>
                  </a:lnTo>
                  <a:lnTo>
                    <a:pt x="4313" y="13670"/>
                  </a:lnTo>
                  <a:lnTo>
                    <a:pt x="4726" y="13498"/>
                  </a:lnTo>
                  <a:lnTo>
                    <a:pt x="5036" y="13697"/>
                  </a:lnTo>
                  <a:lnTo>
                    <a:pt x="4947" y="14433"/>
                  </a:lnTo>
                  <a:lnTo>
                    <a:pt x="5464" y="15221"/>
                  </a:lnTo>
                  <a:lnTo>
                    <a:pt x="5894" y="15241"/>
                  </a:lnTo>
                  <a:lnTo>
                    <a:pt x="5781" y="15685"/>
                  </a:lnTo>
                  <a:lnTo>
                    <a:pt x="6108" y="16190"/>
                  </a:lnTo>
                  <a:lnTo>
                    <a:pt x="6478" y="16088"/>
                  </a:lnTo>
                  <a:lnTo>
                    <a:pt x="6581" y="17106"/>
                  </a:lnTo>
                  <a:lnTo>
                    <a:pt x="6886" y="16538"/>
                  </a:lnTo>
                  <a:lnTo>
                    <a:pt x="6979" y="17161"/>
                  </a:lnTo>
                  <a:lnTo>
                    <a:pt x="7333" y="16935"/>
                  </a:lnTo>
                  <a:lnTo>
                    <a:pt x="7896" y="17659"/>
                  </a:lnTo>
                  <a:lnTo>
                    <a:pt x="8518" y="17992"/>
                  </a:lnTo>
                  <a:lnTo>
                    <a:pt x="8698" y="17644"/>
                  </a:lnTo>
                  <a:lnTo>
                    <a:pt x="8983" y="17910"/>
                  </a:lnTo>
                  <a:lnTo>
                    <a:pt x="9643" y="17647"/>
                  </a:lnTo>
                  <a:lnTo>
                    <a:pt x="9819" y="18221"/>
                  </a:lnTo>
                  <a:lnTo>
                    <a:pt x="9539" y="18853"/>
                  </a:lnTo>
                  <a:lnTo>
                    <a:pt x="9681" y="19423"/>
                  </a:lnTo>
                  <a:lnTo>
                    <a:pt x="9999" y="19325"/>
                  </a:lnTo>
                  <a:lnTo>
                    <a:pt x="9974" y="19084"/>
                  </a:lnTo>
                  <a:lnTo>
                    <a:pt x="10046" y="18788"/>
                  </a:lnTo>
                  <a:lnTo>
                    <a:pt x="10584" y="17930"/>
                  </a:lnTo>
                  <a:lnTo>
                    <a:pt x="10950" y="17960"/>
                  </a:lnTo>
                  <a:lnTo>
                    <a:pt x="11905" y="18529"/>
                  </a:lnTo>
                  <a:lnTo>
                    <a:pt x="12219" y="19025"/>
                  </a:lnTo>
                  <a:lnTo>
                    <a:pt x="12672" y="18779"/>
                  </a:lnTo>
                  <a:lnTo>
                    <a:pt x="12908" y="19273"/>
                  </a:lnTo>
                  <a:lnTo>
                    <a:pt x="12745" y="19814"/>
                  </a:lnTo>
                  <a:lnTo>
                    <a:pt x="13116" y="20022"/>
                  </a:lnTo>
                  <a:lnTo>
                    <a:pt x="13232" y="20486"/>
                  </a:lnTo>
                  <a:lnTo>
                    <a:pt x="13069" y="20716"/>
                  </a:lnTo>
                  <a:lnTo>
                    <a:pt x="13173" y="21315"/>
                  </a:lnTo>
                  <a:lnTo>
                    <a:pt x="13780" y="21300"/>
                  </a:lnTo>
                  <a:lnTo>
                    <a:pt x="14243" y="21538"/>
                  </a:lnTo>
                  <a:lnTo>
                    <a:pt x="15177" y="21600"/>
                  </a:lnTo>
                  <a:lnTo>
                    <a:pt x="15253" y="21154"/>
                  </a:lnTo>
                  <a:lnTo>
                    <a:pt x="15786" y="20494"/>
                  </a:lnTo>
                  <a:lnTo>
                    <a:pt x="16145" y="20480"/>
                  </a:lnTo>
                  <a:lnTo>
                    <a:pt x="16982" y="20077"/>
                  </a:lnTo>
                  <a:lnTo>
                    <a:pt x="17162" y="19707"/>
                  </a:lnTo>
                  <a:lnTo>
                    <a:pt x="17479" y="19473"/>
                  </a:lnTo>
                  <a:lnTo>
                    <a:pt x="18149" y="19602"/>
                  </a:lnTo>
                  <a:lnTo>
                    <a:pt x="18195" y="20027"/>
                  </a:lnTo>
                  <a:lnTo>
                    <a:pt x="18726" y="20494"/>
                  </a:lnTo>
                  <a:lnTo>
                    <a:pt x="18960" y="20882"/>
                  </a:lnTo>
                  <a:lnTo>
                    <a:pt x="19356" y="20613"/>
                  </a:lnTo>
                  <a:lnTo>
                    <a:pt x="19335" y="19963"/>
                  </a:lnTo>
                  <a:lnTo>
                    <a:pt x="19582" y="19817"/>
                  </a:lnTo>
                  <a:lnTo>
                    <a:pt x="19545" y="19318"/>
                  </a:lnTo>
                  <a:lnTo>
                    <a:pt x="20266" y="20376"/>
                  </a:lnTo>
                  <a:lnTo>
                    <a:pt x="20515" y="19952"/>
                  </a:lnTo>
                  <a:lnTo>
                    <a:pt x="20670" y="20521"/>
                  </a:lnTo>
                  <a:lnTo>
                    <a:pt x="20813" y="20512"/>
                  </a:lnTo>
                  <a:lnTo>
                    <a:pt x="20918" y="20481"/>
                  </a:lnTo>
                  <a:lnTo>
                    <a:pt x="21001" y="20088"/>
                  </a:lnTo>
                  <a:lnTo>
                    <a:pt x="20904" y="19647"/>
                  </a:lnTo>
                  <a:lnTo>
                    <a:pt x="21003" y="19190"/>
                  </a:lnTo>
                  <a:lnTo>
                    <a:pt x="21093" y="18769"/>
                  </a:lnTo>
                  <a:lnTo>
                    <a:pt x="21267" y="19249"/>
                  </a:lnTo>
                  <a:lnTo>
                    <a:pt x="21410" y="18767"/>
                  </a:lnTo>
                  <a:lnTo>
                    <a:pt x="21494" y="18248"/>
                  </a:lnTo>
                  <a:close/>
                </a:path>
              </a:pathLst>
            </a:custGeom>
            <a:solidFill>
              <a:schemeClr val="accent2">
                <a:lumMod val="40000"/>
                <a:lumOff val="60000"/>
              </a:schemeClr>
            </a:solidFill>
            <a:ln>
              <a:solidFill>
                <a:srgbClr val="FFFFFF"/>
              </a:solidFill>
              <a:miter lim="400000"/>
            </a:ln>
          </p:spPr>
          <p:txBody>
            <a:bodyPr lIns="0" tIns="0" rIns="0" bIns="0" anchor="ctr"/>
            <a:lstStyle/>
            <a:p>
              <a:pPr>
                <a:defRPr sz="3400" b="0">
                  <a:solidFill>
                    <a:srgbClr val="FFFFFF"/>
                  </a:solidFill>
                  <a:latin typeface="+mn-lt"/>
                  <a:ea typeface="+mn-ea"/>
                  <a:cs typeface="+mn-cs"/>
                  <a:sym typeface="Helvetica Neue Medium"/>
                </a:defRPr>
              </a:pPr>
              <a:endParaRPr/>
            </a:p>
          </p:txBody>
        </p:sp>
        <p:sp>
          <p:nvSpPr>
            <p:cNvPr id="565" name="线条"/>
            <p:cNvSpPr/>
            <p:nvPr/>
          </p:nvSpPr>
          <p:spPr>
            <a:xfrm>
              <a:off x="4649258" y="4616435"/>
              <a:ext cx="500002" cy="250366"/>
            </a:xfrm>
            <a:custGeom>
              <a:avLst/>
              <a:gdLst/>
              <a:ahLst/>
              <a:cxnLst>
                <a:cxn ang="0">
                  <a:pos x="wd2" y="hd2"/>
                </a:cxn>
                <a:cxn ang="5400000">
                  <a:pos x="wd2" y="hd2"/>
                </a:cxn>
                <a:cxn ang="10800000">
                  <a:pos x="wd2" y="hd2"/>
                </a:cxn>
                <a:cxn ang="16200000">
                  <a:pos x="wd2" y="hd2"/>
                </a:cxn>
              </a:cxnLst>
              <a:rect l="0" t="0" r="r" b="b"/>
              <a:pathLst>
                <a:path w="21600" h="21600" extrusionOk="0">
                  <a:moveTo>
                    <a:pt x="1503" y="19140"/>
                  </a:moveTo>
                  <a:lnTo>
                    <a:pt x="499" y="16865"/>
                  </a:lnTo>
                  <a:lnTo>
                    <a:pt x="0" y="14314"/>
                  </a:lnTo>
                  <a:lnTo>
                    <a:pt x="901" y="13775"/>
                  </a:lnTo>
                  <a:lnTo>
                    <a:pt x="1206" y="12041"/>
                  </a:lnTo>
                  <a:lnTo>
                    <a:pt x="2146" y="8708"/>
                  </a:lnTo>
                  <a:lnTo>
                    <a:pt x="1350" y="7472"/>
                  </a:lnTo>
                  <a:lnTo>
                    <a:pt x="911" y="6055"/>
                  </a:lnTo>
                  <a:lnTo>
                    <a:pt x="819" y="3198"/>
                  </a:lnTo>
                  <a:lnTo>
                    <a:pt x="1967" y="2570"/>
                  </a:lnTo>
                  <a:lnTo>
                    <a:pt x="2600" y="788"/>
                  </a:lnTo>
                  <a:lnTo>
                    <a:pt x="3316" y="0"/>
                  </a:lnTo>
                  <a:lnTo>
                    <a:pt x="4415" y="1507"/>
                  </a:lnTo>
                  <a:lnTo>
                    <a:pt x="5638" y="2092"/>
                  </a:lnTo>
                  <a:lnTo>
                    <a:pt x="5583" y="4346"/>
                  </a:lnTo>
                  <a:lnTo>
                    <a:pt x="6651" y="7415"/>
                  </a:lnTo>
                  <a:lnTo>
                    <a:pt x="7194" y="12259"/>
                  </a:lnTo>
                  <a:lnTo>
                    <a:pt x="8658" y="14747"/>
                  </a:lnTo>
                  <a:lnTo>
                    <a:pt x="9372" y="16969"/>
                  </a:lnTo>
                  <a:lnTo>
                    <a:pt x="11034" y="18364"/>
                  </a:lnTo>
                  <a:lnTo>
                    <a:pt x="11440" y="16421"/>
                  </a:lnTo>
                  <a:lnTo>
                    <a:pt x="12135" y="15669"/>
                  </a:lnTo>
                  <a:lnTo>
                    <a:pt x="12925" y="18101"/>
                  </a:lnTo>
                  <a:lnTo>
                    <a:pt x="12603" y="20376"/>
                  </a:lnTo>
                  <a:lnTo>
                    <a:pt x="14174" y="18827"/>
                  </a:lnTo>
                  <a:lnTo>
                    <a:pt x="14995" y="21600"/>
                  </a:lnTo>
                  <a:lnTo>
                    <a:pt x="15684" y="20832"/>
                  </a:lnTo>
                  <a:lnTo>
                    <a:pt x="17233" y="21238"/>
                  </a:lnTo>
                  <a:lnTo>
                    <a:pt x="18016" y="20025"/>
                  </a:lnTo>
                  <a:lnTo>
                    <a:pt x="17779" y="18404"/>
                  </a:lnTo>
                  <a:lnTo>
                    <a:pt x="17585" y="14380"/>
                  </a:lnTo>
                  <a:lnTo>
                    <a:pt x="19200" y="15108"/>
                  </a:lnTo>
                  <a:lnTo>
                    <a:pt x="20315" y="15957"/>
                  </a:lnTo>
                  <a:lnTo>
                    <a:pt x="21524" y="13245"/>
                  </a:lnTo>
                  <a:lnTo>
                    <a:pt x="21600" y="11191"/>
                  </a:lnTo>
                  <a:lnTo>
                    <a:pt x="20413" y="11615"/>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66" name="线条"/>
            <p:cNvSpPr/>
            <p:nvPr/>
          </p:nvSpPr>
          <p:spPr>
            <a:xfrm>
              <a:off x="4255228" y="3480795"/>
              <a:ext cx="470641" cy="423270"/>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2" y="20016"/>
                  </a:lnTo>
                  <a:lnTo>
                    <a:pt x="1697" y="18877"/>
                  </a:lnTo>
                  <a:lnTo>
                    <a:pt x="3700" y="12430"/>
                  </a:lnTo>
                  <a:lnTo>
                    <a:pt x="3582" y="11474"/>
                  </a:lnTo>
                  <a:lnTo>
                    <a:pt x="7457" y="11902"/>
                  </a:lnTo>
                  <a:lnTo>
                    <a:pt x="9592" y="9774"/>
                  </a:lnTo>
                  <a:lnTo>
                    <a:pt x="10674" y="8232"/>
                  </a:lnTo>
                  <a:lnTo>
                    <a:pt x="13056" y="6999"/>
                  </a:lnTo>
                  <a:lnTo>
                    <a:pt x="13990" y="5919"/>
                  </a:lnTo>
                  <a:lnTo>
                    <a:pt x="15199" y="5506"/>
                  </a:lnTo>
                  <a:lnTo>
                    <a:pt x="15151" y="6954"/>
                  </a:lnTo>
                  <a:lnTo>
                    <a:pt x="16381" y="6268"/>
                  </a:lnTo>
                  <a:lnTo>
                    <a:pt x="18697" y="5615"/>
                  </a:lnTo>
                  <a:lnTo>
                    <a:pt x="19497" y="4046"/>
                  </a:lnTo>
                  <a:lnTo>
                    <a:pt x="19776" y="2572"/>
                  </a:lnTo>
                  <a:lnTo>
                    <a:pt x="19163" y="1621"/>
                  </a:lnTo>
                  <a:lnTo>
                    <a:pt x="21600" y="0"/>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67" name="形状"/>
            <p:cNvSpPr/>
            <p:nvPr/>
          </p:nvSpPr>
          <p:spPr>
            <a:xfrm>
              <a:off x="3866030" y="3899355"/>
              <a:ext cx="1410558" cy="1043939"/>
            </a:xfrm>
            <a:custGeom>
              <a:avLst/>
              <a:gdLst/>
              <a:ahLst/>
              <a:cxnLst>
                <a:cxn ang="0">
                  <a:pos x="wd2" y="hd2"/>
                </a:cxn>
                <a:cxn ang="5400000">
                  <a:pos x="wd2" y="hd2"/>
                </a:cxn>
                <a:cxn ang="10800000">
                  <a:pos x="wd2" y="hd2"/>
                </a:cxn>
                <a:cxn ang="16200000">
                  <a:pos x="wd2" y="hd2"/>
                </a:cxn>
              </a:cxnLst>
              <a:rect l="0" t="0" r="r" b="b"/>
              <a:pathLst>
                <a:path w="21600" h="21600" extrusionOk="0">
                  <a:moveTo>
                    <a:pt x="18263" y="18304"/>
                  </a:moveTo>
                  <a:lnTo>
                    <a:pt x="18321" y="19285"/>
                  </a:lnTo>
                  <a:lnTo>
                    <a:pt x="18401" y="19652"/>
                  </a:lnTo>
                  <a:lnTo>
                    <a:pt x="18130" y="19984"/>
                  </a:lnTo>
                  <a:lnTo>
                    <a:pt x="17679" y="19860"/>
                  </a:lnTo>
                  <a:lnTo>
                    <a:pt x="17303" y="20045"/>
                  </a:lnTo>
                  <a:lnTo>
                    <a:pt x="17005" y="19422"/>
                  </a:lnTo>
                  <a:lnTo>
                    <a:pt x="16463" y="19751"/>
                  </a:lnTo>
                  <a:lnTo>
                    <a:pt x="16597" y="19218"/>
                  </a:lnTo>
                  <a:lnTo>
                    <a:pt x="16312" y="18674"/>
                  </a:lnTo>
                  <a:lnTo>
                    <a:pt x="16018" y="18837"/>
                  </a:lnTo>
                  <a:lnTo>
                    <a:pt x="15932" y="19267"/>
                  </a:lnTo>
                  <a:lnTo>
                    <a:pt x="15343" y="19000"/>
                  </a:lnTo>
                  <a:lnTo>
                    <a:pt x="15015" y="18378"/>
                  </a:lnTo>
                  <a:lnTo>
                    <a:pt x="14551" y="17790"/>
                  </a:lnTo>
                  <a:lnTo>
                    <a:pt x="14326" y="16598"/>
                  </a:lnTo>
                  <a:lnTo>
                    <a:pt x="13962" y="15877"/>
                  </a:lnTo>
                  <a:lnTo>
                    <a:pt x="13960" y="15347"/>
                  </a:lnTo>
                  <a:lnTo>
                    <a:pt x="13515" y="15211"/>
                  </a:lnTo>
                  <a:lnTo>
                    <a:pt x="13143" y="14894"/>
                  </a:lnTo>
                  <a:lnTo>
                    <a:pt x="12905" y="15055"/>
                  </a:lnTo>
                  <a:lnTo>
                    <a:pt x="12730" y="15399"/>
                  </a:lnTo>
                  <a:lnTo>
                    <a:pt x="12292" y="15626"/>
                  </a:lnTo>
                  <a:lnTo>
                    <a:pt x="12326" y="16354"/>
                  </a:lnTo>
                  <a:lnTo>
                    <a:pt x="12529" y="16690"/>
                  </a:lnTo>
                  <a:lnTo>
                    <a:pt x="12797" y="16965"/>
                  </a:lnTo>
                  <a:lnTo>
                    <a:pt x="12416" y="17849"/>
                  </a:lnTo>
                  <a:lnTo>
                    <a:pt x="12316" y="18159"/>
                  </a:lnTo>
                  <a:lnTo>
                    <a:pt x="12010" y="18333"/>
                  </a:lnTo>
                  <a:lnTo>
                    <a:pt x="12233" y="19013"/>
                  </a:lnTo>
                  <a:lnTo>
                    <a:pt x="12466" y="19383"/>
                  </a:lnTo>
                  <a:lnTo>
                    <a:pt x="11898" y="19306"/>
                  </a:lnTo>
                  <a:lnTo>
                    <a:pt x="11911" y="19850"/>
                  </a:lnTo>
                  <a:lnTo>
                    <a:pt x="11855" y="20108"/>
                  </a:lnTo>
                  <a:lnTo>
                    <a:pt x="11603" y="20641"/>
                  </a:lnTo>
                  <a:lnTo>
                    <a:pt x="10953" y="20679"/>
                  </a:lnTo>
                  <a:lnTo>
                    <a:pt x="10673" y="20801"/>
                  </a:lnTo>
                  <a:lnTo>
                    <a:pt x="10695" y="21555"/>
                  </a:lnTo>
                  <a:lnTo>
                    <a:pt x="10244" y="21200"/>
                  </a:lnTo>
                  <a:lnTo>
                    <a:pt x="9992" y="20800"/>
                  </a:lnTo>
                  <a:lnTo>
                    <a:pt x="9755" y="21600"/>
                  </a:lnTo>
                  <a:lnTo>
                    <a:pt x="9478" y="20964"/>
                  </a:lnTo>
                  <a:lnTo>
                    <a:pt x="9254" y="21249"/>
                  </a:lnTo>
                  <a:lnTo>
                    <a:pt x="8766" y="20896"/>
                  </a:lnTo>
                  <a:lnTo>
                    <a:pt x="8443" y="20460"/>
                  </a:lnTo>
                  <a:lnTo>
                    <a:pt x="8611" y="19707"/>
                  </a:lnTo>
                  <a:lnTo>
                    <a:pt x="8254" y="19311"/>
                  </a:lnTo>
                  <a:cubicBezTo>
                    <a:pt x="8246" y="19194"/>
                    <a:pt x="8209" y="19083"/>
                    <a:pt x="8150" y="18997"/>
                  </a:cubicBezTo>
                  <a:cubicBezTo>
                    <a:pt x="8074" y="18888"/>
                    <a:pt x="7968" y="18826"/>
                    <a:pt x="7857" y="18827"/>
                  </a:cubicBezTo>
                  <a:lnTo>
                    <a:pt x="7565" y="18311"/>
                  </a:lnTo>
                  <a:lnTo>
                    <a:pt x="6683" y="18491"/>
                  </a:lnTo>
                  <a:lnTo>
                    <a:pt x="5941" y="18067"/>
                  </a:lnTo>
                  <a:lnTo>
                    <a:pt x="5697" y="18326"/>
                  </a:lnTo>
                  <a:lnTo>
                    <a:pt x="4754" y="17260"/>
                  </a:lnTo>
                  <a:lnTo>
                    <a:pt x="4169" y="17262"/>
                  </a:lnTo>
                  <a:lnTo>
                    <a:pt x="3725" y="17062"/>
                  </a:lnTo>
                  <a:lnTo>
                    <a:pt x="3635" y="16737"/>
                  </a:lnTo>
                  <a:lnTo>
                    <a:pt x="2822" y="16326"/>
                  </a:lnTo>
                  <a:lnTo>
                    <a:pt x="2098" y="15367"/>
                  </a:lnTo>
                  <a:lnTo>
                    <a:pt x="1399" y="15117"/>
                  </a:lnTo>
                  <a:lnTo>
                    <a:pt x="642" y="14161"/>
                  </a:lnTo>
                  <a:lnTo>
                    <a:pt x="108" y="13165"/>
                  </a:lnTo>
                  <a:lnTo>
                    <a:pt x="0" y="12647"/>
                  </a:lnTo>
                  <a:lnTo>
                    <a:pt x="88" y="12205"/>
                  </a:lnTo>
                  <a:lnTo>
                    <a:pt x="359" y="12028"/>
                  </a:lnTo>
                  <a:lnTo>
                    <a:pt x="481" y="11402"/>
                  </a:lnTo>
                  <a:lnTo>
                    <a:pt x="397" y="10802"/>
                  </a:lnTo>
                  <a:lnTo>
                    <a:pt x="596" y="10419"/>
                  </a:lnTo>
                  <a:lnTo>
                    <a:pt x="215" y="10309"/>
                  </a:lnTo>
                  <a:cubicBezTo>
                    <a:pt x="245" y="10230"/>
                    <a:pt x="270" y="10147"/>
                    <a:pt x="289" y="10062"/>
                  </a:cubicBezTo>
                  <a:cubicBezTo>
                    <a:pt x="310" y="9972"/>
                    <a:pt x="324" y="9879"/>
                    <a:pt x="332" y="9784"/>
                  </a:cubicBezTo>
                  <a:lnTo>
                    <a:pt x="198" y="9351"/>
                  </a:lnTo>
                  <a:lnTo>
                    <a:pt x="283" y="8958"/>
                  </a:lnTo>
                  <a:lnTo>
                    <a:pt x="511" y="8777"/>
                  </a:lnTo>
                  <a:lnTo>
                    <a:pt x="787" y="8320"/>
                  </a:lnTo>
                  <a:lnTo>
                    <a:pt x="823" y="7729"/>
                  </a:lnTo>
                  <a:lnTo>
                    <a:pt x="571" y="7287"/>
                  </a:lnTo>
                  <a:lnTo>
                    <a:pt x="1167" y="7125"/>
                  </a:lnTo>
                  <a:lnTo>
                    <a:pt x="1446" y="6914"/>
                  </a:lnTo>
                  <a:lnTo>
                    <a:pt x="1569" y="6683"/>
                  </a:lnTo>
                  <a:lnTo>
                    <a:pt x="1997" y="7140"/>
                  </a:lnTo>
                  <a:lnTo>
                    <a:pt x="2471" y="7289"/>
                  </a:lnTo>
                  <a:lnTo>
                    <a:pt x="2720" y="7633"/>
                  </a:lnTo>
                  <a:lnTo>
                    <a:pt x="3030" y="7591"/>
                  </a:lnTo>
                  <a:lnTo>
                    <a:pt x="3096" y="7308"/>
                  </a:lnTo>
                  <a:lnTo>
                    <a:pt x="3163" y="6547"/>
                  </a:lnTo>
                  <a:lnTo>
                    <a:pt x="2866" y="6073"/>
                  </a:lnTo>
                  <a:lnTo>
                    <a:pt x="2763" y="5784"/>
                  </a:lnTo>
                  <a:lnTo>
                    <a:pt x="2914" y="5312"/>
                  </a:lnTo>
                  <a:lnTo>
                    <a:pt x="3363" y="5252"/>
                  </a:lnTo>
                  <a:lnTo>
                    <a:pt x="3714" y="5105"/>
                  </a:lnTo>
                  <a:lnTo>
                    <a:pt x="3828" y="4830"/>
                  </a:lnTo>
                  <a:lnTo>
                    <a:pt x="3689" y="4507"/>
                  </a:lnTo>
                  <a:lnTo>
                    <a:pt x="3588" y="3890"/>
                  </a:lnTo>
                  <a:lnTo>
                    <a:pt x="3366" y="3672"/>
                  </a:lnTo>
                  <a:lnTo>
                    <a:pt x="3182" y="3366"/>
                  </a:lnTo>
                  <a:lnTo>
                    <a:pt x="2946" y="3130"/>
                  </a:lnTo>
                  <a:lnTo>
                    <a:pt x="2797" y="2917"/>
                  </a:lnTo>
                  <a:lnTo>
                    <a:pt x="2773" y="2314"/>
                  </a:lnTo>
                  <a:lnTo>
                    <a:pt x="2970" y="1525"/>
                  </a:lnTo>
                  <a:lnTo>
                    <a:pt x="2753" y="1400"/>
                  </a:lnTo>
                  <a:lnTo>
                    <a:pt x="2527" y="1581"/>
                  </a:lnTo>
                  <a:lnTo>
                    <a:pt x="2514" y="1036"/>
                  </a:lnTo>
                  <a:lnTo>
                    <a:pt x="2921" y="753"/>
                  </a:lnTo>
                  <a:lnTo>
                    <a:pt x="3240" y="528"/>
                  </a:lnTo>
                  <a:lnTo>
                    <a:pt x="4073" y="591"/>
                  </a:lnTo>
                  <a:lnTo>
                    <a:pt x="4825" y="392"/>
                  </a:lnTo>
                  <a:lnTo>
                    <a:pt x="5374" y="336"/>
                  </a:lnTo>
                  <a:lnTo>
                    <a:pt x="5957" y="175"/>
                  </a:lnTo>
                  <a:lnTo>
                    <a:pt x="6285" y="0"/>
                  </a:lnTo>
                  <a:lnTo>
                    <a:pt x="7167" y="116"/>
                  </a:lnTo>
                  <a:lnTo>
                    <a:pt x="7285" y="556"/>
                  </a:lnTo>
                  <a:lnTo>
                    <a:pt x="7265" y="1028"/>
                  </a:lnTo>
                  <a:lnTo>
                    <a:pt x="7787" y="1058"/>
                  </a:lnTo>
                  <a:lnTo>
                    <a:pt x="8217" y="1210"/>
                  </a:lnTo>
                  <a:lnTo>
                    <a:pt x="8080" y="1567"/>
                  </a:lnTo>
                  <a:lnTo>
                    <a:pt x="8442" y="1702"/>
                  </a:lnTo>
                  <a:lnTo>
                    <a:pt x="8825" y="1628"/>
                  </a:lnTo>
                  <a:lnTo>
                    <a:pt x="9027" y="1983"/>
                  </a:lnTo>
                  <a:lnTo>
                    <a:pt x="9067" y="2596"/>
                  </a:lnTo>
                  <a:lnTo>
                    <a:pt x="9287" y="2952"/>
                  </a:lnTo>
                  <a:lnTo>
                    <a:pt x="9794" y="2853"/>
                  </a:lnTo>
                  <a:lnTo>
                    <a:pt x="10112" y="3002"/>
                  </a:lnTo>
                  <a:lnTo>
                    <a:pt x="10441" y="3293"/>
                  </a:lnTo>
                  <a:lnTo>
                    <a:pt x="10879" y="3123"/>
                  </a:lnTo>
                  <a:lnTo>
                    <a:pt x="11313" y="3636"/>
                  </a:lnTo>
                  <a:lnTo>
                    <a:pt x="11609" y="3905"/>
                  </a:lnTo>
                  <a:lnTo>
                    <a:pt x="11924" y="3559"/>
                  </a:lnTo>
                  <a:lnTo>
                    <a:pt x="12206" y="3703"/>
                  </a:lnTo>
                  <a:lnTo>
                    <a:pt x="12390" y="3262"/>
                  </a:lnTo>
                  <a:lnTo>
                    <a:pt x="12614" y="2825"/>
                  </a:lnTo>
                  <a:lnTo>
                    <a:pt x="12982" y="2878"/>
                  </a:lnTo>
                  <a:lnTo>
                    <a:pt x="12945" y="2125"/>
                  </a:lnTo>
                  <a:lnTo>
                    <a:pt x="12924" y="1592"/>
                  </a:lnTo>
                  <a:lnTo>
                    <a:pt x="13039" y="1184"/>
                  </a:lnTo>
                  <a:lnTo>
                    <a:pt x="13683" y="1413"/>
                  </a:lnTo>
                  <a:lnTo>
                    <a:pt x="14008" y="1757"/>
                  </a:lnTo>
                  <a:lnTo>
                    <a:pt x="14422" y="2384"/>
                  </a:lnTo>
                  <a:lnTo>
                    <a:pt x="14711" y="2593"/>
                  </a:lnTo>
                  <a:lnTo>
                    <a:pt x="14948" y="2257"/>
                  </a:lnTo>
                  <a:lnTo>
                    <a:pt x="15001" y="2007"/>
                  </a:lnTo>
                  <a:lnTo>
                    <a:pt x="15350" y="2286"/>
                  </a:lnTo>
                  <a:lnTo>
                    <a:pt x="15705" y="1939"/>
                  </a:lnTo>
                  <a:lnTo>
                    <a:pt x="16380" y="2881"/>
                  </a:lnTo>
                  <a:lnTo>
                    <a:pt x="16833" y="3556"/>
                  </a:lnTo>
                  <a:lnTo>
                    <a:pt x="17598" y="4315"/>
                  </a:lnTo>
                  <a:lnTo>
                    <a:pt x="17504" y="3705"/>
                  </a:lnTo>
                  <a:lnTo>
                    <a:pt x="17960" y="4378"/>
                  </a:lnTo>
                  <a:lnTo>
                    <a:pt x="18428" y="4590"/>
                  </a:lnTo>
                  <a:lnTo>
                    <a:pt x="18714" y="5070"/>
                  </a:lnTo>
                  <a:lnTo>
                    <a:pt x="19002" y="5777"/>
                  </a:lnTo>
                  <a:lnTo>
                    <a:pt x="19408" y="5691"/>
                  </a:lnTo>
                  <a:lnTo>
                    <a:pt x="19933" y="6316"/>
                  </a:lnTo>
                  <a:lnTo>
                    <a:pt x="20067" y="6104"/>
                  </a:lnTo>
                  <a:lnTo>
                    <a:pt x="20503" y="6649"/>
                  </a:lnTo>
                  <a:lnTo>
                    <a:pt x="20554" y="7275"/>
                  </a:lnTo>
                  <a:lnTo>
                    <a:pt x="21014" y="7708"/>
                  </a:lnTo>
                  <a:lnTo>
                    <a:pt x="21165" y="8117"/>
                  </a:lnTo>
                  <a:lnTo>
                    <a:pt x="20947" y="8315"/>
                  </a:lnTo>
                  <a:lnTo>
                    <a:pt x="20993" y="8904"/>
                  </a:lnTo>
                  <a:lnTo>
                    <a:pt x="21285" y="9431"/>
                  </a:lnTo>
                  <a:lnTo>
                    <a:pt x="21294" y="9886"/>
                  </a:lnTo>
                  <a:lnTo>
                    <a:pt x="21358" y="10327"/>
                  </a:lnTo>
                  <a:lnTo>
                    <a:pt x="21600" y="10649"/>
                  </a:lnTo>
                  <a:lnTo>
                    <a:pt x="21588" y="11502"/>
                  </a:lnTo>
                  <a:lnTo>
                    <a:pt x="21186" y="11515"/>
                  </a:lnTo>
                  <a:lnTo>
                    <a:pt x="21121" y="12196"/>
                  </a:lnTo>
                  <a:lnTo>
                    <a:pt x="20863" y="12271"/>
                  </a:lnTo>
                  <a:lnTo>
                    <a:pt x="20696" y="12558"/>
                  </a:lnTo>
                  <a:lnTo>
                    <a:pt x="20407" y="12474"/>
                  </a:lnTo>
                  <a:lnTo>
                    <a:pt x="20497" y="13231"/>
                  </a:lnTo>
                  <a:lnTo>
                    <a:pt x="20236" y="13637"/>
                  </a:lnTo>
                  <a:lnTo>
                    <a:pt x="19943" y="14033"/>
                  </a:lnTo>
                  <a:lnTo>
                    <a:pt x="19842" y="14620"/>
                  </a:lnTo>
                  <a:lnTo>
                    <a:pt x="20220" y="15329"/>
                  </a:lnTo>
                  <a:lnTo>
                    <a:pt x="19923" y="15693"/>
                  </a:lnTo>
                  <a:lnTo>
                    <a:pt x="19696" y="16011"/>
                  </a:lnTo>
                  <a:lnTo>
                    <a:pt x="19275" y="15996"/>
                  </a:lnTo>
                  <a:lnTo>
                    <a:pt x="18961" y="15705"/>
                  </a:lnTo>
                  <a:lnTo>
                    <a:pt x="18566" y="15434"/>
                  </a:lnTo>
                  <a:lnTo>
                    <a:pt x="18101" y="15115"/>
                  </a:lnTo>
                  <a:lnTo>
                    <a:pt x="17876" y="15432"/>
                  </a:lnTo>
                  <a:lnTo>
                    <a:pt x="17824" y="15911"/>
                  </a:lnTo>
                  <a:lnTo>
                    <a:pt x="18120" y="16452"/>
                  </a:lnTo>
                  <a:lnTo>
                    <a:pt x="18530" y="16823"/>
                  </a:lnTo>
                  <a:lnTo>
                    <a:pt x="18365" y="17238"/>
                  </a:lnTo>
                  <a:lnTo>
                    <a:pt x="18873" y="17192"/>
                  </a:lnTo>
                  <a:lnTo>
                    <a:pt x="19168" y="17421"/>
                  </a:lnTo>
                  <a:lnTo>
                    <a:pt x="19303" y="17842"/>
                  </a:lnTo>
                  <a:cubicBezTo>
                    <a:pt x="19167" y="17911"/>
                    <a:pt x="19072" y="18077"/>
                    <a:pt x="19056" y="18272"/>
                  </a:cubicBezTo>
                  <a:cubicBezTo>
                    <a:pt x="19046" y="18392"/>
                    <a:pt x="19068" y="18512"/>
                    <a:pt x="19118" y="18611"/>
                  </a:cubicBezTo>
                  <a:lnTo>
                    <a:pt x="18263" y="18304"/>
                  </a:lnTo>
                  <a:close/>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68" name="线条"/>
            <p:cNvSpPr/>
            <p:nvPr/>
          </p:nvSpPr>
          <p:spPr>
            <a:xfrm>
              <a:off x="4794119" y="3484412"/>
              <a:ext cx="980477" cy="77345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049" y="4338"/>
                  </a:lnTo>
                  <a:lnTo>
                    <a:pt x="486" y="5139"/>
                  </a:lnTo>
                  <a:lnTo>
                    <a:pt x="1218" y="6424"/>
                  </a:lnTo>
                  <a:lnTo>
                    <a:pt x="1913" y="6965"/>
                  </a:lnTo>
                  <a:lnTo>
                    <a:pt x="1745" y="8375"/>
                  </a:lnTo>
                  <a:lnTo>
                    <a:pt x="2314" y="8373"/>
                  </a:lnTo>
                  <a:cubicBezTo>
                    <a:pt x="2342" y="8290"/>
                    <a:pt x="2370" y="8206"/>
                    <a:pt x="2399" y="8123"/>
                  </a:cubicBezTo>
                  <a:cubicBezTo>
                    <a:pt x="2427" y="8039"/>
                    <a:pt x="2456" y="7956"/>
                    <a:pt x="2484" y="7873"/>
                  </a:cubicBezTo>
                  <a:lnTo>
                    <a:pt x="3011" y="7746"/>
                  </a:lnTo>
                  <a:lnTo>
                    <a:pt x="3391" y="8133"/>
                  </a:lnTo>
                  <a:lnTo>
                    <a:pt x="3761" y="7718"/>
                  </a:lnTo>
                  <a:lnTo>
                    <a:pt x="4505" y="7482"/>
                  </a:lnTo>
                  <a:lnTo>
                    <a:pt x="5454" y="7375"/>
                  </a:lnTo>
                  <a:lnTo>
                    <a:pt x="5893" y="8319"/>
                  </a:lnTo>
                  <a:lnTo>
                    <a:pt x="5499" y="9725"/>
                  </a:lnTo>
                  <a:lnTo>
                    <a:pt x="5209" y="10027"/>
                  </a:lnTo>
                  <a:lnTo>
                    <a:pt x="4979" y="10564"/>
                  </a:lnTo>
                  <a:lnTo>
                    <a:pt x="3987" y="11173"/>
                  </a:lnTo>
                  <a:lnTo>
                    <a:pt x="4846" y="11407"/>
                  </a:lnTo>
                  <a:lnTo>
                    <a:pt x="5274" y="12156"/>
                  </a:lnTo>
                  <a:lnTo>
                    <a:pt x="5716" y="12507"/>
                  </a:lnTo>
                  <a:lnTo>
                    <a:pt x="5808" y="13042"/>
                  </a:lnTo>
                  <a:lnTo>
                    <a:pt x="6182" y="13555"/>
                  </a:lnTo>
                  <a:lnTo>
                    <a:pt x="6790" y="13551"/>
                  </a:lnTo>
                  <a:lnTo>
                    <a:pt x="6634" y="14858"/>
                  </a:lnTo>
                  <a:lnTo>
                    <a:pt x="7040" y="15284"/>
                  </a:lnTo>
                  <a:lnTo>
                    <a:pt x="7460" y="15109"/>
                  </a:lnTo>
                  <a:lnTo>
                    <a:pt x="7677" y="15968"/>
                  </a:lnTo>
                  <a:lnTo>
                    <a:pt x="8444" y="16566"/>
                  </a:lnTo>
                  <a:lnTo>
                    <a:pt x="9114" y="15682"/>
                  </a:lnTo>
                  <a:lnTo>
                    <a:pt x="8889" y="14856"/>
                  </a:lnTo>
                  <a:lnTo>
                    <a:pt x="9944" y="14500"/>
                  </a:lnTo>
                  <a:lnTo>
                    <a:pt x="10681" y="14826"/>
                  </a:lnTo>
                  <a:lnTo>
                    <a:pt x="11306" y="15061"/>
                  </a:lnTo>
                  <a:lnTo>
                    <a:pt x="11870" y="14434"/>
                  </a:lnTo>
                  <a:lnTo>
                    <a:pt x="12805" y="14115"/>
                  </a:lnTo>
                  <a:lnTo>
                    <a:pt x="13544" y="13973"/>
                  </a:lnTo>
                  <a:lnTo>
                    <a:pt x="13649" y="14668"/>
                  </a:lnTo>
                  <a:lnTo>
                    <a:pt x="13696" y="15179"/>
                  </a:lnTo>
                  <a:lnTo>
                    <a:pt x="13774" y="15778"/>
                  </a:lnTo>
                  <a:lnTo>
                    <a:pt x="13570" y="16131"/>
                  </a:lnTo>
                  <a:lnTo>
                    <a:pt x="13185" y="16661"/>
                  </a:lnTo>
                  <a:lnTo>
                    <a:pt x="12835" y="17043"/>
                  </a:lnTo>
                  <a:lnTo>
                    <a:pt x="12426" y="17355"/>
                  </a:lnTo>
                  <a:lnTo>
                    <a:pt x="12059" y="17494"/>
                  </a:lnTo>
                  <a:lnTo>
                    <a:pt x="12045" y="18043"/>
                  </a:lnTo>
                  <a:lnTo>
                    <a:pt x="12228" y="18605"/>
                  </a:lnTo>
                  <a:lnTo>
                    <a:pt x="11897" y="18862"/>
                  </a:lnTo>
                  <a:lnTo>
                    <a:pt x="11811" y="19476"/>
                  </a:lnTo>
                  <a:lnTo>
                    <a:pt x="12256" y="19943"/>
                  </a:lnTo>
                  <a:lnTo>
                    <a:pt x="12591" y="20465"/>
                  </a:lnTo>
                  <a:lnTo>
                    <a:pt x="12982" y="20897"/>
                  </a:lnTo>
                  <a:lnTo>
                    <a:pt x="13558" y="21399"/>
                  </a:lnTo>
                  <a:lnTo>
                    <a:pt x="14040" y="21600"/>
                  </a:lnTo>
                  <a:lnTo>
                    <a:pt x="14363" y="21187"/>
                  </a:lnTo>
                  <a:lnTo>
                    <a:pt x="15282" y="21160"/>
                  </a:lnTo>
                  <a:lnTo>
                    <a:pt x="16196" y="20678"/>
                  </a:lnTo>
                  <a:lnTo>
                    <a:pt x="16962" y="20512"/>
                  </a:lnTo>
                  <a:lnTo>
                    <a:pt x="17408" y="19747"/>
                  </a:lnTo>
                  <a:lnTo>
                    <a:pt x="17315" y="19185"/>
                  </a:lnTo>
                  <a:lnTo>
                    <a:pt x="17444" y="18502"/>
                  </a:lnTo>
                  <a:lnTo>
                    <a:pt x="17375" y="17599"/>
                  </a:lnTo>
                  <a:lnTo>
                    <a:pt x="17462" y="16807"/>
                  </a:lnTo>
                  <a:lnTo>
                    <a:pt x="17885" y="15827"/>
                  </a:lnTo>
                  <a:lnTo>
                    <a:pt x="18135" y="15334"/>
                  </a:lnTo>
                  <a:lnTo>
                    <a:pt x="18580" y="15292"/>
                  </a:lnTo>
                  <a:lnTo>
                    <a:pt x="18635" y="14941"/>
                  </a:lnTo>
                  <a:lnTo>
                    <a:pt x="19582" y="14489"/>
                  </a:lnTo>
                  <a:lnTo>
                    <a:pt x="19738" y="15657"/>
                  </a:lnTo>
                  <a:lnTo>
                    <a:pt x="20099" y="16173"/>
                  </a:lnTo>
                  <a:lnTo>
                    <a:pt x="19495" y="17176"/>
                  </a:lnTo>
                  <a:lnTo>
                    <a:pt x="19207" y="18019"/>
                  </a:lnTo>
                  <a:lnTo>
                    <a:pt x="18961" y="18544"/>
                  </a:lnTo>
                  <a:lnTo>
                    <a:pt x="19396" y="19000"/>
                  </a:lnTo>
                  <a:lnTo>
                    <a:pt x="20070" y="19176"/>
                  </a:lnTo>
                  <a:lnTo>
                    <a:pt x="20545" y="19161"/>
                  </a:lnTo>
                  <a:lnTo>
                    <a:pt x="20998" y="19883"/>
                  </a:lnTo>
                  <a:lnTo>
                    <a:pt x="21600" y="20428"/>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69" name="线条"/>
            <p:cNvSpPr/>
            <p:nvPr/>
          </p:nvSpPr>
          <p:spPr>
            <a:xfrm>
              <a:off x="5441715" y="4244252"/>
              <a:ext cx="281204" cy="30705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335" y="723"/>
                  </a:lnTo>
                  <a:lnTo>
                    <a:pt x="867" y="2429"/>
                  </a:lnTo>
                  <a:lnTo>
                    <a:pt x="2334" y="2707"/>
                  </a:lnTo>
                  <a:lnTo>
                    <a:pt x="3688" y="4269"/>
                  </a:lnTo>
                  <a:lnTo>
                    <a:pt x="4976" y="4804"/>
                  </a:lnTo>
                  <a:lnTo>
                    <a:pt x="6305" y="6752"/>
                  </a:lnTo>
                  <a:lnTo>
                    <a:pt x="5202" y="7752"/>
                  </a:lnTo>
                  <a:lnTo>
                    <a:pt x="6050" y="9330"/>
                  </a:lnTo>
                  <a:lnTo>
                    <a:pt x="7217" y="12422"/>
                  </a:lnTo>
                  <a:lnTo>
                    <a:pt x="6144" y="14048"/>
                  </a:lnTo>
                  <a:lnTo>
                    <a:pt x="5416" y="15802"/>
                  </a:lnTo>
                  <a:lnTo>
                    <a:pt x="6926" y="17257"/>
                  </a:lnTo>
                  <a:lnTo>
                    <a:pt x="8057" y="16925"/>
                  </a:lnTo>
                  <a:lnTo>
                    <a:pt x="9074" y="18187"/>
                  </a:lnTo>
                  <a:lnTo>
                    <a:pt x="9988" y="19264"/>
                  </a:lnTo>
                  <a:cubicBezTo>
                    <a:pt x="10560" y="19401"/>
                    <a:pt x="11131" y="19542"/>
                    <a:pt x="11702" y="19685"/>
                  </a:cubicBezTo>
                  <a:cubicBezTo>
                    <a:pt x="12162" y="19801"/>
                    <a:pt x="12621" y="19919"/>
                    <a:pt x="13080" y="20039"/>
                  </a:cubicBezTo>
                  <a:lnTo>
                    <a:pt x="13644" y="21600"/>
                  </a:lnTo>
                  <a:cubicBezTo>
                    <a:pt x="13991" y="21567"/>
                    <a:pt x="14316" y="21433"/>
                    <a:pt x="14572" y="21216"/>
                  </a:cubicBezTo>
                  <a:cubicBezTo>
                    <a:pt x="15018" y="20839"/>
                    <a:pt x="15204" y="20268"/>
                    <a:pt x="15055" y="19728"/>
                  </a:cubicBezTo>
                  <a:lnTo>
                    <a:pt x="14729" y="18719"/>
                  </a:lnTo>
                  <a:lnTo>
                    <a:pt x="14647" y="17060"/>
                  </a:lnTo>
                  <a:lnTo>
                    <a:pt x="15498" y="17302"/>
                  </a:lnTo>
                  <a:cubicBezTo>
                    <a:pt x="15818" y="17571"/>
                    <a:pt x="16255" y="17689"/>
                    <a:pt x="16683" y="17623"/>
                  </a:cubicBezTo>
                  <a:cubicBezTo>
                    <a:pt x="17430" y="17507"/>
                    <a:pt x="17961" y="16896"/>
                    <a:pt x="17918" y="16204"/>
                  </a:cubicBezTo>
                  <a:lnTo>
                    <a:pt x="18228" y="15048"/>
                  </a:lnTo>
                  <a:lnTo>
                    <a:pt x="18188" y="13233"/>
                  </a:lnTo>
                  <a:lnTo>
                    <a:pt x="16490" y="12208"/>
                  </a:lnTo>
                  <a:lnTo>
                    <a:pt x="15218" y="11703"/>
                  </a:lnTo>
                  <a:lnTo>
                    <a:pt x="14699" y="9962"/>
                  </a:lnTo>
                  <a:lnTo>
                    <a:pt x="13625" y="8964"/>
                  </a:lnTo>
                  <a:lnTo>
                    <a:pt x="14812" y="7740"/>
                  </a:lnTo>
                  <a:lnTo>
                    <a:pt x="16245" y="7336"/>
                  </a:lnTo>
                  <a:lnTo>
                    <a:pt x="15765" y="6168"/>
                  </a:lnTo>
                  <a:lnTo>
                    <a:pt x="16282" y="4548"/>
                  </a:lnTo>
                  <a:lnTo>
                    <a:pt x="16961" y="4204"/>
                  </a:lnTo>
                  <a:lnTo>
                    <a:pt x="18335" y="4498"/>
                  </a:lnTo>
                  <a:lnTo>
                    <a:pt x="20054" y="4380"/>
                  </a:lnTo>
                  <a:lnTo>
                    <a:pt x="21600" y="5198"/>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70" name="线条"/>
            <p:cNvSpPr/>
            <p:nvPr/>
          </p:nvSpPr>
          <p:spPr>
            <a:xfrm>
              <a:off x="6041096" y="4645631"/>
              <a:ext cx="68348" cy="18259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75" y="2760"/>
                  </a:lnTo>
                  <a:lnTo>
                    <a:pt x="4214" y="5749"/>
                  </a:lnTo>
                  <a:lnTo>
                    <a:pt x="8995" y="7372"/>
                  </a:lnTo>
                  <a:lnTo>
                    <a:pt x="7841" y="12274"/>
                  </a:lnTo>
                  <a:lnTo>
                    <a:pt x="15859" y="13816"/>
                  </a:lnTo>
                  <a:lnTo>
                    <a:pt x="17186" y="15824"/>
                  </a:lnTo>
                  <a:lnTo>
                    <a:pt x="21600" y="17646"/>
                  </a:lnTo>
                  <a:lnTo>
                    <a:pt x="21380" y="21600"/>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71" name="线条"/>
            <p:cNvSpPr/>
            <p:nvPr/>
          </p:nvSpPr>
          <p:spPr>
            <a:xfrm>
              <a:off x="6661730" y="3944974"/>
              <a:ext cx="9015" cy="16560"/>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20495" y="3935"/>
                    <a:pt x="18204" y="7743"/>
                    <a:pt x="14820" y="11272"/>
                  </a:cubicBezTo>
                  <a:cubicBezTo>
                    <a:pt x="11076" y="15177"/>
                    <a:pt x="6053" y="18677"/>
                    <a:pt x="0" y="21600"/>
                  </a:cubicBezTo>
                </a:path>
              </a:pathLst>
            </a:custGeom>
            <a:solidFill>
              <a:schemeClr val="accent2">
                <a:lumMod val="40000"/>
                <a:lumOff val="60000"/>
              </a:schemeClr>
            </a:solidFill>
            <a:ln w="12700">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72" name="形状"/>
            <p:cNvSpPr/>
            <p:nvPr/>
          </p:nvSpPr>
          <p:spPr>
            <a:xfrm>
              <a:off x="6516313" y="3768653"/>
              <a:ext cx="202182" cy="218063"/>
            </a:xfrm>
            <a:custGeom>
              <a:avLst/>
              <a:gdLst/>
              <a:ahLst/>
              <a:cxnLst>
                <a:cxn ang="0">
                  <a:pos x="wd2" y="hd2"/>
                </a:cxn>
                <a:cxn ang="5400000">
                  <a:pos x="wd2" y="hd2"/>
                </a:cxn>
                <a:cxn ang="10800000">
                  <a:pos x="wd2" y="hd2"/>
                </a:cxn>
                <a:cxn ang="16200000">
                  <a:pos x="wd2" y="hd2"/>
                </a:cxn>
              </a:cxnLst>
              <a:rect l="0" t="0" r="r" b="b"/>
              <a:pathLst>
                <a:path w="21457" h="21600" extrusionOk="0">
                  <a:moveTo>
                    <a:pt x="21076" y="9819"/>
                  </a:moveTo>
                  <a:lnTo>
                    <a:pt x="19230" y="8857"/>
                  </a:lnTo>
                  <a:lnTo>
                    <a:pt x="19184" y="7637"/>
                  </a:lnTo>
                  <a:lnTo>
                    <a:pt x="19761" y="5922"/>
                  </a:lnTo>
                  <a:lnTo>
                    <a:pt x="21457" y="4825"/>
                  </a:lnTo>
                  <a:cubicBezTo>
                    <a:pt x="20580" y="4665"/>
                    <a:pt x="19720" y="4434"/>
                    <a:pt x="18886" y="4136"/>
                  </a:cubicBezTo>
                  <a:cubicBezTo>
                    <a:pt x="18423" y="3970"/>
                    <a:pt x="17966" y="3783"/>
                    <a:pt x="17480" y="3686"/>
                  </a:cubicBezTo>
                  <a:cubicBezTo>
                    <a:pt x="16786" y="3548"/>
                    <a:pt x="16064" y="3599"/>
                    <a:pt x="15400" y="3834"/>
                  </a:cubicBezTo>
                  <a:lnTo>
                    <a:pt x="11739" y="0"/>
                  </a:lnTo>
                  <a:lnTo>
                    <a:pt x="9468" y="1630"/>
                  </a:lnTo>
                  <a:cubicBezTo>
                    <a:pt x="10228" y="1956"/>
                    <a:pt x="10519" y="2825"/>
                    <a:pt x="10094" y="3497"/>
                  </a:cubicBezTo>
                  <a:cubicBezTo>
                    <a:pt x="9731" y="4070"/>
                    <a:pt x="8960" y="4290"/>
                    <a:pt x="8317" y="4003"/>
                  </a:cubicBezTo>
                  <a:lnTo>
                    <a:pt x="6549" y="5778"/>
                  </a:lnTo>
                  <a:lnTo>
                    <a:pt x="3867" y="6489"/>
                  </a:lnTo>
                  <a:cubicBezTo>
                    <a:pt x="3656" y="6952"/>
                    <a:pt x="3642" y="7472"/>
                    <a:pt x="3826" y="7944"/>
                  </a:cubicBezTo>
                  <a:cubicBezTo>
                    <a:pt x="4095" y="8634"/>
                    <a:pt x="4750" y="9125"/>
                    <a:pt x="5066" y="9796"/>
                  </a:cubicBezTo>
                  <a:cubicBezTo>
                    <a:pt x="5301" y="10294"/>
                    <a:pt x="5333" y="10854"/>
                    <a:pt x="5157" y="11373"/>
                  </a:cubicBezTo>
                  <a:cubicBezTo>
                    <a:pt x="4414" y="11572"/>
                    <a:pt x="3709" y="11877"/>
                    <a:pt x="3067" y="12277"/>
                  </a:cubicBezTo>
                  <a:cubicBezTo>
                    <a:pt x="2300" y="12755"/>
                    <a:pt x="1634" y="13362"/>
                    <a:pt x="1103" y="14066"/>
                  </a:cubicBezTo>
                  <a:cubicBezTo>
                    <a:pt x="492" y="13831"/>
                    <a:pt x="-143" y="14352"/>
                    <a:pt x="29" y="14947"/>
                  </a:cubicBezTo>
                  <a:cubicBezTo>
                    <a:pt x="158" y="15395"/>
                    <a:pt x="687" y="15544"/>
                    <a:pt x="1058" y="15806"/>
                  </a:cubicBezTo>
                  <a:cubicBezTo>
                    <a:pt x="1422" y="16062"/>
                    <a:pt x="1661" y="16443"/>
                    <a:pt x="1723" y="16865"/>
                  </a:cubicBezTo>
                  <a:lnTo>
                    <a:pt x="365" y="18459"/>
                  </a:lnTo>
                  <a:cubicBezTo>
                    <a:pt x="842" y="18985"/>
                    <a:pt x="1476" y="19367"/>
                    <a:pt x="2185" y="19559"/>
                  </a:cubicBezTo>
                  <a:cubicBezTo>
                    <a:pt x="2608" y="19673"/>
                    <a:pt x="3059" y="19720"/>
                    <a:pt x="3430" y="19943"/>
                  </a:cubicBezTo>
                  <a:cubicBezTo>
                    <a:pt x="3739" y="20129"/>
                    <a:pt x="3960" y="20419"/>
                    <a:pt x="4047" y="20752"/>
                  </a:cubicBezTo>
                  <a:cubicBezTo>
                    <a:pt x="4630" y="20128"/>
                    <a:pt x="5412" y="19693"/>
                    <a:pt x="6278" y="19512"/>
                  </a:cubicBezTo>
                  <a:cubicBezTo>
                    <a:pt x="7083" y="19344"/>
                    <a:pt x="7923" y="19403"/>
                    <a:pt x="8692" y="19682"/>
                  </a:cubicBezTo>
                  <a:lnTo>
                    <a:pt x="10453" y="21600"/>
                  </a:lnTo>
                  <a:cubicBezTo>
                    <a:pt x="10543" y="20819"/>
                    <a:pt x="10899" y="20086"/>
                    <a:pt x="11467" y="19507"/>
                  </a:cubicBezTo>
                  <a:cubicBezTo>
                    <a:pt x="11820" y="19148"/>
                    <a:pt x="12246" y="18858"/>
                    <a:pt x="12721" y="18655"/>
                  </a:cubicBezTo>
                  <a:cubicBezTo>
                    <a:pt x="13422" y="18283"/>
                    <a:pt x="14301" y="18378"/>
                    <a:pt x="14892" y="18889"/>
                  </a:cubicBezTo>
                  <a:cubicBezTo>
                    <a:pt x="15051" y="19027"/>
                    <a:pt x="15181" y="19192"/>
                    <a:pt x="15276" y="19374"/>
                  </a:cubicBezTo>
                  <a:lnTo>
                    <a:pt x="18214" y="12768"/>
                  </a:lnTo>
                  <a:lnTo>
                    <a:pt x="21076" y="9819"/>
                  </a:lnTo>
                  <a:close/>
                </a:path>
              </a:pathLst>
            </a:custGeom>
            <a:solidFill>
              <a:schemeClr val="accent2">
                <a:lumMod val="40000"/>
                <a:lumOff val="60000"/>
              </a:schemeClr>
            </a:solidFill>
            <a:ln w="9525">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73" name="形状"/>
            <p:cNvSpPr/>
            <p:nvPr/>
          </p:nvSpPr>
          <p:spPr>
            <a:xfrm>
              <a:off x="6647392" y="3867036"/>
              <a:ext cx="65568" cy="86034"/>
            </a:xfrm>
            <a:custGeom>
              <a:avLst/>
              <a:gdLst/>
              <a:ahLst/>
              <a:cxnLst>
                <a:cxn ang="0">
                  <a:pos x="wd2" y="hd2"/>
                </a:cxn>
                <a:cxn ang="5400000">
                  <a:pos x="wd2" y="hd2"/>
                </a:cxn>
                <a:cxn ang="10800000">
                  <a:pos x="wd2" y="hd2"/>
                </a:cxn>
                <a:cxn ang="16200000">
                  <a:pos x="wd2" y="hd2"/>
                </a:cxn>
              </a:cxnLst>
              <a:rect l="0" t="0" r="r" b="b"/>
              <a:pathLst>
                <a:path w="21158" h="21600" extrusionOk="0">
                  <a:moveTo>
                    <a:pt x="21158" y="0"/>
                  </a:moveTo>
                  <a:lnTo>
                    <a:pt x="13615" y="6904"/>
                  </a:lnTo>
                  <a:cubicBezTo>
                    <a:pt x="11814" y="7548"/>
                    <a:pt x="9840" y="7843"/>
                    <a:pt x="7860" y="7764"/>
                  </a:cubicBezTo>
                  <a:cubicBezTo>
                    <a:pt x="6456" y="7708"/>
                    <a:pt x="5074" y="7463"/>
                    <a:pt x="3776" y="7041"/>
                  </a:cubicBezTo>
                  <a:cubicBezTo>
                    <a:pt x="2179" y="7728"/>
                    <a:pt x="970" y="8855"/>
                    <a:pt x="389" y="10201"/>
                  </a:cubicBezTo>
                  <a:cubicBezTo>
                    <a:pt x="-442" y="12124"/>
                    <a:pt x="78" y="14244"/>
                    <a:pt x="1761" y="15793"/>
                  </a:cubicBezTo>
                  <a:cubicBezTo>
                    <a:pt x="3315" y="16366"/>
                    <a:pt x="4797" y="17050"/>
                    <a:pt x="6189" y="17835"/>
                  </a:cubicBezTo>
                  <a:cubicBezTo>
                    <a:pt x="8104" y="18915"/>
                    <a:pt x="9835" y="20180"/>
                    <a:pt x="11340" y="21600"/>
                  </a:cubicBezTo>
                  <a:lnTo>
                    <a:pt x="16800" y="19984"/>
                  </a:lnTo>
                  <a:cubicBezTo>
                    <a:pt x="17159" y="19047"/>
                    <a:pt x="17291" y="18066"/>
                    <a:pt x="17189" y="17092"/>
                  </a:cubicBezTo>
                  <a:cubicBezTo>
                    <a:pt x="17001" y="15288"/>
                    <a:pt x="16032" y="13587"/>
                    <a:pt x="14440" y="12268"/>
                  </a:cubicBezTo>
                  <a:cubicBezTo>
                    <a:pt x="13624" y="10849"/>
                    <a:pt x="13524" y="9242"/>
                    <a:pt x="14164" y="7770"/>
                  </a:cubicBezTo>
                  <a:cubicBezTo>
                    <a:pt x="14674" y="6597"/>
                    <a:pt x="15611" y="5594"/>
                    <a:pt x="16542" y="4622"/>
                  </a:cubicBezTo>
                  <a:cubicBezTo>
                    <a:pt x="18027" y="3070"/>
                    <a:pt x="19565" y="1529"/>
                    <a:pt x="21158" y="0"/>
                  </a:cubicBezTo>
                  <a:close/>
                </a:path>
              </a:pathLst>
            </a:custGeom>
            <a:solidFill>
              <a:schemeClr val="accent2">
                <a:lumMod val="40000"/>
                <a:lumOff val="60000"/>
              </a:schemeClr>
            </a:solidFill>
            <a:ln w="9525">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74" name="线条"/>
            <p:cNvSpPr/>
            <p:nvPr/>
          </p:nvSpPr>
          <p:spPr>
            <a:xfrm>
              <a:off x="6717144" y="3869679"/>
              <a:ext cx="82103" cy="124905"/>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1585" y="397"/>
                    <a:pt x="3074" y="943"/>
                    <a:pt x="4421" y="1620"/>
                  </a:cubicBezTo>
                  <a:cubicBezTo>
                    <a:pt x="6388" y="2607"/>
                    <a:pt x="8018" y="3855"/>
                    <a:pt x="9206" y="5282"/>
                  </a:cubicBezTo>
                  <a:cubicBezTo>
                    <a:pt x="7835" y="5183"/>
                    <a:pt x="6448" y="5322"/>
                    <a:pt x="5183" y="5685"/>
                  </a:cubicBezTo>
                  <a:cubicBezTo>
                    <a:pt x="3869" y="6061"/>
                    <a:pt x="2736" y="6664"/>
                    <a:pt x="1902" y="7430"/>
                  </a:cubicBezTo>
                  <a:cubicBezTo>
                    <a:pt x="2195" y="8618"/>
                    <a:pt x="2674" y="9782"/>
                    <a:pt x="3333" y="10905"/>
                  </a:cubicBezTo>
                  <a:cubicBezTo>
                    <a:pt x="4413" y="12747"/>
                    <a:pt x="5961" y="14455"/>
                    <a:pt x="7910" y="15956"/>
                  </a:cubicBezTo>
                  <a:lnTo>
                    <a:pt x="10573" y="14113"/>
                  </a:lnTo>
                  <a:cubicBezTo>
                    <a:pt x="11639" y="14299"/>
                    <a:pt x="12578" y="14715"/>
                    <a:pt x="13240" y="15295"/>
                  </a:cubicBezTo>
                  <a:cubicBezTo>
                    <a:pt x="14797" y="16658"/>
                    <a:pt x="14606" y="18564"/>
                    <a:pt x="12790" y="19781"/>
                  </a:cubicBezTo>
                  <a:cubicBezTo>
                    <a:pt x="14554" y="19511"/>
                    <a:pt x="16401" y="19593"/>
                    <a:pt x="18094" y="20017"/>
                  </a:cubicBezTo>
                  <a:cubicBezTo>
                    <a:pt x="19437" y="20354"/>
                    <a:pt x="20639" y="20897"/>
                    <a:pt x="21600" y="21600"/>
                  </a:cubicBezTo>
                </a:path>
              </a:pathLst>
            </a:custGeom>
            <a:solidFill>
              <a:schemeClr val="accent2">
                <a:lumMod val="40000"/>
                <a:lumOff val="60000"/>
              </a:schemeClr>
            </a:solidFill>
            <a:ln w="9525">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75" name="线条"/>
            <p:cNvSpPr/>
            <p:nvPr/>
          </p:nvSpPr>
          <p:spPr>
            <a:xfrm>
              <a:off x="6652484" y="3965410"/>
              <a:ext cx="89191" cy="128424"/>
            </a:xfrm>
            <a:custGeom>
              <a:avLst/>
              <a:gdLst/>
              <a:ahLst/>
              <a:cxnLst>
                <a:cxn ang="0">
                  <a:pos x="wd2" y="hd2"/>
                </a:cxn>
                <a:cxn ang="5400000">
                  <a:pos x="wd2" y="hd2"/>
                </a:cxn>
                <a:cxn ang="10800000">
                  <a:pos x="wd2" y="hd2"/>
                </a:cxn>
                <a:cxn ang="16200000">
                  <a:pos x="wd2" y="hd2"/>
                </a:cxn>
              </a:cxnLst>
              <a:rect l="0" t="0" r="r" b="b"/>
              <a:pathLst>
                <a:path w="21251" h="21600" extrusionOk="0">
                  <a:moveTo>
                    <a:pt x="2003" y="0"/>
                  </a:moveTo>
                  <a:cubicBezTo>
                    <a:pt x="2607" y="692"/>
                    <a:pt x="3055" y="1446"/>
                    <a:pt x="3331" y="2235"/>
                  </a:cubicBezTo>
                  <a:cubicBezTo>
                    <a:pt x="3537" y="2823"/>
                    <a:pt x="3645" y="3426"/>
                    <a:pt x="3653" y="4031"/>
                  </a:cubicBezTo>
                  <a:cubicBezTo>
                    <a:pt x="2773" y="4932"/>
                    <a:pt x="2386" y="6028"/>
                    <a:pt x="2566" y="7116"/>
                  </a:cubicBezTo>
                  <a:cubicBezTo>
                    <a:pt x="2740" y="8172"/>
                    <a:pt x="3437" y="9151"/>
                    <a:pt x="4535" y="9879"/>
                  </a:cubicBezTo>
                  <a:cubicBezTo>
                    <a:pt x="2393" y="10466"/>
                    <a:pt x="785" y="11747"/>
                    <a:pt x="219" y="13319"/>
                  </a:cubicBezTo>
                  <a:cubicBezTo>
                    <a:pt x="-349" y="14897"/>
                    <a:pt x="203" y="16571"/>
                    <a:pt x="1700" y="17810"/>
                  </a:cubicBezTo>
                  <a:cubicBezTo>
                    <a:pt x="3360" y="17922"/>
                    <a:pt x="4974" y="18257"/>
                    <a:pt x="6457" y="18795"/>
                  </a:cubicBezTo>
                  <a:cubicBezTo>
                    <a:pt x="7770" y="19273"/>
                    <a:pt x="8960" y="19903"/>
                    <a:pt x="9976" y="20659"/>
                  </a:cubicBezTo>
                  <a:cubicBezTo>
                    <a:pt x="10945" y="19997"/>
                    <a:pt x="12335" y="19742"/>
                    <a:pt x="13638" y="19986"/>
                  </a:cubicBezTo>
                  <a:cubicBezTo>
                    <a:pt x="14809" y="20206"/>
                    <a:pt x="15762" y="20805"/>
                    <a:pt x="16207" y="21600"/>
                  </a:cubicBezTo>
                  <a:cubicBezTo>
                    <a:pt x="16994" y="21094"/>
                    <a:pt x="17885" y="20675"/>
                    <a:pt x="18849" y="20358"/>
                  </a:cubicBezTo>
                  <a:cubicBezTo>
                    <a:pt x="19615" y="20105"/>
                    <a:pt x="20422" y="19919"/>
                    <a:pt x="21251" y="19803"/>
                  </a:cubicBezTo>
                </a:path>
              </a:pathLst>
            </a:custGeom>
            <a:solidFill>
              <a:schemeClr val="accent2">
                <a:lumMod val="40000"/>
                <a:lumOff val="60000"/>
              </a:schemeClr>
            </a:solidFill>
            <a:ln w="9525">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76" name="形状"/>
            <p:cNvSpPr/>
            <p:nvPr/>
          </p:nvSpPr>
          <p:spPr>
            <a:xfrm>
              <a:off x="6433709" y="6218723"/>
              <a:ext cx="13487" cy="22903"/>
            </a:xfrm>
            <a:custGeom>
              <a:avLst/>
              <a:gdLst/>
              <a:ahLst/>
              <a:cxnLst>
                <a:cxn ang="0">
                  <a:pos x="wd2" y="hd2"/>
                </a:cxn>
                <a:cxn ang="5400000">
                  <a:pos x="wd2" y="hd2"/>
                </a:cxn>
                <a:cxn ang="10800000">
                  <a:pos x="wd2" y="hd2"/>
                </a:cxn>
                <a:cxn ang="16200000">
                  <a:pos x="wd2" y="hd2"/>
                </a:cxn>
              </a:cxnLst>
              <a:rect l="0" t="0" r="r" b="b"/>
              <a:pathLst>
                <a:path w="20525" h="19965" extrusionOk="0">
                  <a:moveTo>
                    <a:pt x="1599" y="2571"/>
                  </a:moveTo>
                  <a:cubicBezTo>
                    <a:pt x="4660" y="-1635"/>
                    <a:pt x="15594" y="-385"/>
                    <a:pt x="15601" y="4172"/>
                  </a:cubicBezTo>
                  <a:cubicBezTo>
                    <a:pt x="15607" y="8123"/>
                    <a:pt x="14565" y="14267"/>
                    <a:pt x="19482" y="12189"/>
                  </a:cubicBezTo>
                  <a:cubicBezTo>
                    <a:pt x="21298" y="11422"/>
                    <a:pt x="20620" y="9783"/>
                    <a:pt x="18396" y="9564"/>
                  </a:cubicBezTo>
                  <a:cubicBezTo>
                    <a:pt x="18914" y="12659"/>
                    <a:pt x="16772" y="15704"/>
                    <a:pt x="12652" y="17728"/>
                  </a:cubicBezTo>
                  <a:cubicBezTo>
                    <a:pt x="9950" y="19056"/>
                    <a:pt x="6564" y="19841"/>
                    <a:pt x="3010" y="19965"/>
                  </a:cubicBezTo>
                  <a:cubicBezTo>
                    <a:pt x="1511" y="17542"/>
                    <a:pt x="562" y="15018"/>
                    <a:pt x="185" y="12456"/>
                  </a:cubicBezTo>
                  <a:cubicBezTo>
                    <a:pt x="-302" y="9139"/>
                    <a:pt x="176" y="5798"/>
                    <a:pt x="1599" y="2571"/>
                  </a:cubicBezTo>
                  <a:close/>
                </a:path>
              </a:pathLst>
            </a:custGeom>
            <a:solidFill>
              <a:schemeClr val="accent2">
                <a:lumMod val="40000"/>
                <a:lumOff val="60000"/>
              </a:scheme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77" name="线条"/>
            <p:cNvSpPr/>
            <p:nvPr/>
          </p:nvSpPr>
          <p:spPr>
            <a:xfrm>
              <a:off x="7049927" y="3020689"/>
              <a:ext cx="464022" cy="676234"/>
            </a:xfrm>
            <a:custGeom>
              <a:avLst/>
              <a:gdLst/>
              <a:ahLst/>
              <a:cxnLst>
                <a:cxn ang="0">
                  <a:pos x="wd2" y="hd2"/>
                </a:cxn>
                <a:cxn ang="5400000">
                  <a:pos x="wd2" y="hd2"/>
                </a:cxn>
                <a:cxn ang="10800000">
                  <a:pos x="wd2" y="hd2"/>
                </a:cxn>
                <a:cxn ang="16200000">
                  <a:pos x="wd2" y="hd2"/>
                </a:cxn>
              </a:cxnLst>
              <a:rect l="0" t="0" r="r" b="b"/>
              <a:pathLst>
                <a:path w="21600" h="21600" extrusionOk="0">
                  <a:moveTo>
                    <a:pt x="5643" y="0"/>
                  </a:moveTo>
                  <a:lnTo>
                    <a:pt x="4794" y="634"/>
                  </a:lnTo>
                  <a:lnTo>
                    <a:pt x="4218" y="1139"/>
                  </a:lnTo>
                  <a:lnTo>
                    <a:pt x="4686" y="2345"/>
                  </a:lnTo>
                  <a:lnTo>
                    <a:pt x="3233" y="1670"/>
                  </a:lnTo>
                  <a:lnTo>
                    <a:pt x="2267" y="1981"/>
                  </a:lnTo>
                  <a:lnTo>
                    <a:pt x="561" y="1177"/>
                  </a:lnTo>
                  <a:lnTo>
                    <a:pt x="0" y="2518"/>
                  </a:lnTo>
                  <a:lnTo>
                    <a:pt x="1238" y="2782"/>
                  </a:lnTo>
                  <a:lnTo>
                    <a:pt x="2422" y="4274"/>
                  </a:lnTo>
                  <a:lnTo>
                    <a:pt x="2353" y="5542"/>
                  </a:lnTo>
                  <a:lnTo>
                    <a:pt x="2533" y="6731"/>
                  </a:lnTo>
                  <a:lnTo>
                    <a:pt x="3785" y="8554"/>
                  </a:lnTo>
                  <a:lnTo>
                    <a:pt x="5240" y="8216"/>
                  </a:lnTo>
                  <a:lnTo>
                    <a:pt x="6636" y="7081"/>
                  </a:lnTo>
                  <a:lnTo>
                    <a:pt x="8059" y="8138"/>
                  </a:lnTo>
                  <a:lnTo>
                    <a:pt x="8594" y="9181"/>
                  </a:lnTo>
                  <a:lnTo>
                    <a:pt x="9520" y="10572"/>
                  </a:lnTo>
                  <a:lnTo>
                    <a:pt x="8874" y="11062"/>
                  </a:lnTo>
                  <a:lnTo>
                    <a:pt x="10594" y="11835"/>
                  </a:lnTo>
                  <a:lnTo>
                    <a:pt x="11076" y="11209"/>
                  </a:lnTo>
                  <a:lnTo>
                    <a:pt x="12252" y="11850"/>
                  </a:lnTo>
                  <a:lnTo>
                    <a:pt x="13752" y="12177"/>
                  </a:lnTo>
                  <a:lnTo>
                    <a:pt x="14116" y="13472"/>
                  </a:lnTo>
                  <a:cubicBezTo>
                    <a:pt x="14405" y="13235"/>
                    <a:pt x="14694" y="12998"/>
                    <a:pt x="14983" y="12761"/>
                  </a:cubicBezTo>
                  <a:cubicBezTo>
                    <a:pt x="15273" y="12524"/>
                    <a:pt x="15562" y="12287"/>
                    <a:pt x="15851" y="12050"/>
                  </a:cubicBezTo>
                  <a:lnTo>
                    <a:pt x="16318" y="13523"/>
                  </a:lnTo>
                  <a:lnTo>
                    <a:pt x="18591" y="15867"/>
                  </a:lnTo>
                  <a:lnTo>
                    <a:pt x="19670" y="16313"/>
                  </a:lnTo>
                  <a:lnTo>
                    <a:pt x="18845" y="16935"/>
                  </a:lnTo>
                  <a:lnTo>
                    <a:pt x="19094" y="17847"/>
                  </a:lnTo>
                  <a:lnTo>
                    <a:pt x="21536" y="20139"/>
                  </a:lnTo>
                  <a:lnTo>
                    <a:pt x="20937" y="21252"/>
                  </a:lnTo>
                  <a:lnTo>
                    <a:pt x="21600" y="21600"/>
                  </a:lnTo>
                </a:path>
              </a:pathLst>
            </a:custGeom>
            <a:solidFill>
              <a:schemeClr val="accent2">
                <a:lumMod val="40000"/>
                <a:lumOff val="60000"/>
              </a:schemeClr>
            </a:solidFill>
            <a:ln>
              <a:solidFill>
                <a:srgbClr val="FFFFFF"/>
              </a:solidFill>
              <a:round/>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78" name="线条"/>
            <p:cNvSpPr/>
            <p:nvPr/>
          </p:nvSpPr>
          <p:spPr>
            <a:xfrm>
              <a:off x="6911624" y="5050072"/>
              <a:ext cx="287990" cy="521691"/>
            </a:xfrm>
            <a:custGeom>
              <a:avLst/>
              <a:gdLst/>
              <a:ahLst/>
              <a:cxnLst>
                <a:cxn ang="0">
                  <a:pos x="wd2" y="hd2"/>
                </a:cxn>
                <a:cxn ang="5400000">
                  <a:pos x="wd2" y="hd2"/>
                </a:cxn>
                <a:cxn ang="10800000">
                  <a:pos x="wd2" y="hd2"/>
                </a:cxn>
                <a:cxn ang="16200000">
                  <a:pos x="wd2" y="hd2"/>
                </a:cxn>
              </a:cxnLst>
              <a:rect l="0" t="0" r="r" b="b"/>
              <a:pathLst>
                <a:path w="21600" h="21600" extrusionOk="0">
                  <a:moveTo>
                    <a:pt x="10731" y="0"/>
                  </a:moveTo>
                  <a:lnTo>
                    <a:pt x="10667" y="1096"/>
                  </a:lnTo>
                  <a:lnTo>
                    <a:pt x="9984" y="2239"/>
                  </a:lnTo>
                  <a:lnTo>
                    <a:pt x="9020" y="2587"/>
                  </a:lnTo>
                  <a:lnTo>
                    <a:pt x="8350" y="3160"/>
                  </a:lnTo>
                  <a:lnTo>
                    <a:pt x="9984" y="3567"/>
                  </a:lnTo>
                  <a:lnTo>
                    <a:pt x="9043" y="4240"/>
                  </a:lnTo>
                  <a:lnTo>
                    <a:pt x="8087" y="4497"/>
                  </a:lnTo>
                  <a:lnTo>
                    <a:pt x="6211" y="4351"/>
                  </a:lnTo>
                  <a:lnTo>
                    <a:pt x="5433" y="4933"/>
                  </a:lnTo>
                  <a:lnTo>
                    <a:pt x="5755" y="6528"/>
                  </a:lnTo>
                  <a:lnTo>
                    <a:pt x="4551" y="7851"/>
                  </a:lnTo>
                  <a:lnTo>
                    <a:pt x="1248" y="9811"/>
                  </a:lnTo>
                  <a:lnTo>
                    <a:pt x="463" y="10597"/>
                  </a:lnTo>
                  <a:lnTo>
                    <a:pt x="0" y="11440"/>
                  </a:lnTo>
                  <a:lnTo>
                    <a:pt x="1068" y="12263"/>
                  </a:lnTo>
                  <a:lnTo>
                    <a:pt x="2851" y="13094"/>
                  </a:lnTo>
                  <a:lnTo>
                    <a:pt x="4062" y="15010"/>
                  </a:lnTo>
                  <a:lnTo>
                    <a:pt x="3896" y="15719"/>
                  </a:lnTo>
                  <a:lnTo>
                    <a:pt x="5085" y="16180"/>
                  </a:lnTo>
                  <a:lnTo>
                    <a:pt x="6816" y="15846"/>
                  </a:lnTo>
                  <a:lnTo>
                    <a:pt x="7253" y="16504"/>
                  </a:lnTo>
                  <a:lnTo>
                    <a:pt x="6728" y="17198"/>
                  </a:lnTo>
                  <a:lnTo>
                    <a:pt x="7865" y="18371"/>
                  </a:lnTo>
                  <a:lnTo>
                    <a:pt x="8530" y="20229"/>
                  </a:lnTo>
                  <a:lnTo>
                    <a:pt x="10586" y="20148"/>
                  </a:lnTo>
                  <a:lnTo>
                    <a:pt x="11997" y="20476"/>
                  </a:lnTo>
                  <a:lnTo>
                    <a:pt x="12731" y="19608"/>
                  </a:lnTo>
                  <a:lnTo>
                    <a:pt x="13629" y="18699"/>
                  </a:lnTo>
                  <a:lnTo>
                    <a:pt x="15409" y="19652"/>
                  </a:lnTo>
                  <a:lnTo>
                    <a:pt x="16015" y="20559"/>
                  </a:lnTo>
                  <a:lnTo>
                    <a:pt x="18738" y="20428"/>
                  </a:lnTo>
                  <a:lnTo>
                    <a:pt x="21154" y="20208"/>
                  </a:lnTo>
                  <a:lnTo>
                    <a:pt x="21600" y="21600"/>
                  </a:lnTo>
                </a:path>
              </a:pathLst>
            </a:custGeom>
            <a:solidFill>
              <a:schemeClr val="accent2">
                <a:lumMod val="40000"/>
                <a:lumOff val="60000"/>
              </a:schemeClr>
            </a:solidFill>
            <a:ln>
              <a:solidFill>
                <a:srgbClr val="FFFFFF"/>
              </a:solidFill>
              <a:round/>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79" name="线条"/>
            <p:cNvSpPr/>
            <p:nvPr/>
          </p:nvSpPr>
          <p:spPr>
            <a:xfrm>
              <a:off x="6418554" y="5256546"/>
              <a:ext cx="263467" cy="591142"/>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0034" y="337"/>
                  </a:lnTo>
                  <a:lnTo>
                    <a:pt x="18406" y="51"/>
                  </a:lnTo>
                  <a:lnTo>
                    <a:pt x="16368" y="141"/>
                  </a:lnTo>
                  <a:lnTo>
                    <a:pt x="15193" y="752"/>
                  </a:lnTo>
                  <a:lnTo>
                    <a:pt x="12824" y="1081"/>
                  </a:lnTo>
                  <a:lnTo>
                    <a:pt x="11378" y="1615"/>
                  </a:lnTo>
                  <a:lnTo>
                    <a:pt x="9943" y="2414"/>
                  </a:lnTo>
                  <a:lnTo>
                    <a:pt x="6650" y="2762"/>
                  </a:lnTo>
                  <a:lnTo>
                    <a:pt x="4772" y="2629"/>
                  </a:lnTo>
                  <a:lnTo>
                    <a:pt x="3831" y="3299"/>
                  </a:lnTo>
                  <a:lnTo>
                    <a:pt x="1818" y="4425"/>
                  </a:lnTo>
                  <a:lnTo>
                    <a:pt x="4169" y="5472"/>
                  </a:lnTo>
                  <a:lnTo>
                    <a:pt x="4412" y="6448"/>
                  </a:lnTo>
                  <a:lnTo>
                    <a:pt x="6066" y="7299"/>
                  </a:lnTo>
                  <a:lnTo>
                    <a:pt x="3414" y="8418"/>
                  </a:lnTo>
                  <a:lnTo>
                    <a:pt x="3307" y="9104"/>
                  </a:lnTo>
                  <a:lnTo>
                    <a:pt x="967" y="9369"/>
                  </a:lnTo>
                  <a:lnTo>
                    <a:pt x="706" y="10425"/>
                  </a:lnTo>
                  <a:lnTo>
                    <a:pt x="0" y="11227"/>
                  </a:lnTo>
                  <a:lnTo>
                    <a:pt x="347" y="12545"/>
                  </a:lnTo>
                  <a:lnTo>
                    <a:pt x="2347" y="12288"/>
                  </a:lnTo>
                  <a:lnTo>
                    <a:pt x="1887" y="13327"/>
                  </a:lnTo>
                  <a:lnTo>
                    <a:pt x="2592" y="14380"/>
                  </a:lnTo>
                  <a:lnTo>
                    <a:pt x="2488" y="15563"/>
                  </a:lnTo>
                  <a:lnTo>
                    <a:pt x="4983" y="16114"/>
                  </a:lnTo>
                  <a:lnTo>
                    <a:pt x="4460" y="17106"/>
                  </a:lnTo>
                  <a:lnTo>
                    <a:pt x="4057" y="17819"/>
                  </a:lnTo>
                  <a:lnTo>
                    <a:pt x="6377" y="17849"/>
                  </a:lnTo>
                  <a:lnTo>
                    <a:pt x="4659" y="18618"/>
                  </a:lnTo>
                  <a:lnTo>
                    <a:pt x="3834" y="19988"/>
                  </a:lnTo>
                  <a:lnTo>
                    <a:pt x="3729" y="21600"/>
                  </a:lnTo>
                </a:path>
              </a:pathLst>
            </a:custGeom>
            <a:solidFill>
              <a:schemeClr val="accent2">
                <a:lumMod val="40000"/>
                <a:lumOff val="60000"/>
              </a:schemeClr>
            </a:solidFill>
            <a:ln>
              <a:solidFill>
                <a:srgbClr val="FFFFFF"/>
              </a:solidFill>
              <a:round/>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80" name="线条"/>
            <p:cNvSpPr/>
            <p:nvPr/>
          </p:nvSpPr>
          <p:spPr>
            <a:xfrm>
              <a:off x="4054113" y="3894943"/>
              <a:ext cx="1472431" cy="1001528"/>
            </a:xfrm>
            <a:custGeom>
              <a:avLst/>
              <a:gdLst/>
              <a:ahLst/>
              <a:cxnLst>
                <a:cxn ang="0">
                  <a:pos x="wd2" y="hd2"/>
                </a:cxn>
                <a:cxn ang="5400000">
                  <a:pos x="wd2" y="hd2"/>
                </a:cxn>
                <a:cxn ang="10800000">
                  <a:pos x="wd2" y="hd2"/>
                </a:cxn>
                <a:cxn ang="16200000">
                  <a:pos x="wd2" y="hd2"/>
                </a:cxn>
              </a:cxnLst>
              <a:rect l="0" t="0" r="r" b="b"/>
              <a:pathLst>
                <a:path w="21600" h="21600" extrusionOk="0">
                  <a:moveTo>
                    <a:pt x="0" y="787"/>
                  </a:moveTo>
                  <a:lnTo>
                    <a:pt x="307" y="552"/>
                  </a:lnTo>
                  <a:lnTo>
                    <a:pt x="1107" y="618"/>
                  </a:lnTo>
                  <a:lnTo>
                    <a:pt x="1830" y="409"/>
                  </a:lnTo>
                  <a:lnTo>
                    <a:pt x="2357" y="351"/>
                  </a:lnTo>
                  <a:lnTo>
                    <a:pt x="2917" y="183"/>
                  </a:lnTo>
                  <a:lnTo>
                    <a:pt x="3232" y="0"/>
                  </a:lnTo>
                  <a:lnTo>
                    <a:pt x="4080" y="122"/>
                  </a:lnTo>
                  <a:lnTo>
                    <a:pt x="4193" y="581"/>
                  </a:lnTo>
                  <a:lnTo>
                    <a:pt x="4173" y="1075"/>
                  </a:lnTo>
                  <a:lnTo>
                    <a:pt x="4675" y="1106"/>
                  </a:lnTo>
                  <a:lnTo>
                    <a:pt x="5089" y="1265"/>
                  </a:lnTo>
                  <a:lnTo>
                    <a:pt x="4956" y="1638"/>
                  </a:lnTo>
                  <a:lnTo>
                    <a:pt x="5305" y="1779"/>
                  </a:lnTo>
                  <a:lnTo>
                    <a:pt x="5672" y="1701"/>
                  </a:lnTo>
                  <a:lnTo>
                    <a:pt x="5866" y="2073"/>
                  </a:lnTo>
                  <a:lnTo>
                    <a:pt x="5905" y="2714"/>
                  </a:lnTo>
                  <a:lnTo>
                    <a:pt x="6116" y="3085"/>
                  </a:lnTo>
                  <a:lnTo>
                    <a:pt x="6603" y="2982"/>
                  </a:lnTo>
                  <a:lnTo>
                    <a:pt x="6909" y="3138"/>
                  </a:lnTo>
                  <a:lnTo>
                    <a:pt x="7224" y="3442"/>
                  </a:lnTo>
                  <a:lnTo>
                    <a:pt x="7645" y="3264"/>
                  </a:lnTo>
                  <a:lnTo>
                    <a:pt x="8062" y="3801"/>
                  </a:lnTo>
                  <a:lnTo>
                    <a:pt x="8346" y="4082"/>
                  </a:lnTo>
                  <a:lnTo>
                    <a:pt x="8649" y="3720"/>
                  </a:lnTo>
                  <a:lnTo>
                    <a:pt x="8920" y="3871"/>
                  </a:lnTo>
                  <a:lnTo>
                    <a:pt x="9097" y="3410"/>
                  </a:lnTo>
                  <a:lnTo>
                    <a:pt x="9312" y="2953"/>
                  </a:lnTo>
                  <a:lnTo>
                    <a:pt x="9666" y="3008"/>
                  </a:lnTo>
                  <a:lnTo>
                    <a:pt x="9630" y="2222"/>
                  </a:lnTo>
                  <a:lnTo>
                    <a:pt x="9610" y="1664"/>
                  </a:lnTo>
                  <a:lnTo>
                    <a:pt x="9721" y="1238"/>
                  </a:lnTo>
                  <a:lnTo>
                    <a:pt x="10339" y="1477"/>
                  </a:lnTo>
                  <a:lnTo>
                    <a:pt x="10651" y="1837"/>
                  </a:lnTo>
                  <a:lnTo>
                    <a:pt x="11049" y="2492"/>
                  </a:lnTo>
                  <a:lnTo>
                    <a:pt x="11326" y="2711"/>
                  </a:lnTo>
                  <a:lnTo>
                    <a:pt x="11555" y="2360"/>
                  </a:lnTo>
                  <a:lnTo>
                    <a:pt x="11605" y="2098"/>
                  </a:lnTo>
                  <a:lnTo>
                    <a:pt x="11941" y="2389"/>
                  </a:lnTo>
                  <a:lnTo>
                    <a:pt x="12282" y="2027"/>
                  </a:lnTo>
                  <a:lnTo>
                    <a:pt x="12930" y="3012"/>
                  </a:lnTo>
                  <a:lnTo>
                    <a:pt x="13365" y="3717"/>
                  </a:lnTo>
                  <a:lnTo>
                    <a:pt x="14100" y="4510"/>
                  </a:lnTo>
                  <a:lnTo>
                    <a:pt x="14009" y="3872"/>
                  </a:lnTo>
                  <a:lnTo>
                    <a:pt x="14448" y="4576"/>
                  </a:lnTo>
                  <a:lnTo>
                    <a:pt x="14897" y="4798"/>
                  </a:lnTo>
                  <a:lnTo>
                    <a:pt x="15173" y="5299"/>
                  </a:lnTo>
                  <a:lnTo>
                    <a:pt x="15449" y="6039"/>
                  </a:lnTo>
                  <a:lnTo>
                    <a:pt x="15839" y="5949"/>
                  </a:lnTo>
                  <a:lnTo>
                    <a:pt x="16343" y="6601"/>
                  </a:lnTo>
                  <a:lnTo>
                    <a:pt x="16472" y="6380"/>
                  </a:lnTo>
                  <a:lnTo>
                    <a:pt x="16891" y="6950"/>
                  </a:lnTo>
                  <a:lnTo>
                    <a:pt x="16939" y="7604"/>
                  </a:lnTo>
                  <a:lnTo>
                    <a:pt x="17382" y="8057"/>
                  </a:lnTo>
                  <a:lnTo>
                    <a:pt x="17527" y="8485"/>
                  </a:lnTo>
                  <a:lnTo>
                    <a:pt x="17317" y="8692"/>
                  </a:lnTo>
                  <a:lnTo>
                    <a:pt x="17362" y="9307"/>
                  </a:lnTo>
                  <a:lnTo>
                    <a:pt x="17642" y="9858"/>
                  </a:lnTo>
                  <a:lnTo>
                    <a:pt x="17651" y="10334"/>
                  </a:lnTo>
                  <a:lnTo>
                    <a:pt x="17712" y="10795"/>
                  </a:lnTo>
                  <a:lnTo>
                    <a:pt x="17945" y="11131"/>
                  </a:lnTo>
                  <a:lnTo>
                    <a:pt x="17933" y="12023"/>
                  </a:lnTo>
                  <a:lnTo>
                    <a:pt x="17547" y="12036"/>
                  </a:lnTo>
                  <a:lnTo>
                    <a:pt x="17484" y="12748"/>
                  </a:lnTo>
                  <a:lnTo>
                    <a:pt x="17237" y="12827"/>
                  </a:lnTo>
                  <a:lnTo>
                    <a:pt x="17076" y="13126"/>
                  </a:lnTo>
                  <a:lnTo>
                    <a:pt x="16799" y="13039"/>
                  </a:lnTo>
                  <a:lnTo>
                    <a:pt x="16885" y="13830"/>
                  </a:lnTo>
                  <a:lnTo>
                    <a:pt x="16634" y="14255"/>
                  </a:lnTo>
                  <a:lnTo>
                    <a:pt x="16353" y="14668"/>
                  </a:lnTo>
                  <a:lnTo>
                    <a:pt x="16256" y="15282"/>
                  </a:lnTo>
                  <a:lnTo>
                    <a:pt x="16619" y="16023"/>
                  </a:lnTo>
                  <a:lnTo>
                    <a:pt x="16334" y="16403"/>
                  </a:lnTo>
                  <a:lnTo>
                    <a:pt x="16116" y="16736"/>
                  </a:lnTo>
                  <a:lnTo>
                    <a:pt x="15711" y="16720"/>
                  </a:lnTo>
                  <a:lnTo>
                    <a:pt x="15409" y="16416"/>
                  </a:lnTo>
                  <a:lnTo>
                    <a:pt x="15030" y="16132"/>
                  </a:lnTo>
                  <a:lnTo>
                    <a:pt x="14583" y="15799"/>
                  </a:lnTo>
                  <a:lnTo>
                    <a:pt x="14367" y="16130"/>
                  </a:lnTo>
                  <a:lnTo>
                    <a:pt x="14318" y="16631"/>
                  </a:lnTo>
                  <a:lnTo>
                    <a:pt x="14602" y="17196"/>
                  </a:lnTo>
                  <a:lnTo>
                    <a:pt x="14996" y="17585"/>
                  </a:lnTo>
                  <a:lnTo>
                    <a:pt x="14837" y="18018"/>
                  </a:lnTo>
                  <a:lnTo>
                    <a:pt x="15325" y="17970"/>
                  </a:lnTo>
                  <a:lnTo>
                    <a:pt x="15608" y="18210"/>
                  </a:lnTo>
                  <a:lnTo>
                    <a:pt x="15738" y="18650"/>
                  </a:lnTo>
                  <a:lnTo>
                    <a:pt x="15525" y="19060"/>
                  </a:lnTo>
                  <a:cubicBezTo>
                    <a:pt x="15508" y="19213"/>
                    <a:pt x="15540" y="19358"/>
                    <a:pt x="15603" y="19465"/>
                  </a:cubicBezTo>
                  <a:cubicBezTo>
                    <a:pt x="15665" y="19573"/>
                    <a:pt x="15758" y="19642"/>
                    <a:pt x="15863" y="19642"/>
                  </a:cubicBezTo>
                  <a:cubicBezTo>
                    <a:pt x="15934" y="19642"/>
                    <a:pt x="16003" y="19606"/>
                    <a:pt x="16058" y="19540"/>
                  </a:cubicBezTo>
                  <a:lnTo>
                    <a:pt x="16414" y="19451"/>
                  </a:lnTo>
                  <a:lnTo>
                    <a:pt x="16444" y="18898"/>
                  </a:lnTo>
                  <a:lnTo>
                    <a:pt x="16870" y="18619"/>
                  </a:lnTo>
                  <a:lnTo>
                    <a:pt x="16722" y="17982"/>
                  </a:lnTo>
                  <a:lnTo>
                    <a:pt x="16555" y="17420"/>
                  </a:lnTo>
                  <a:lnTo>
                    <a:pt x="16904" y="17014"/>
                  </a:lnTo>
                  <a:lnTo>
                    <a:pt x="17174" y="16813"/>
                  </a:lnTo>
                  <a:lnTo>
                    <a:pt x="17676" y="16475"/>
                  </a:lnTo>
                  <a:lnTo>
                    <a:pt x="17987" y="17095"/>
                  </a:lnTo>
                  <a:lnTo>
                    <a:pt x="18007" y="17543"/>
                  </a:lnTo>
                  <a:lnTo>
                    <a:pt x="18058" y="18118"/>
                  </a:lnTo>
                  <a:lnTo>
                    <a:pt x="18538" y="18022"/>
                  </a:lnTo>
                  <a:lnTo>
                    <a:pt x="18827" y="18489"/>
                  </a:lnTo>
                  <a:lnTo>
                    <a:pt x="19381" y="18467"/>
                  </a:lnTo>
                  <a:lnTo>
                    <a:pt x="19628" y="19172"/>
                  </a:lnTo>
                  <a:lnTo>
                    <a:pt x="19855" y="19577"/>
                  </a:lnTo>
                  <a:lnTo>
                    <a:pt x="19807" y="20404"/>
                  </a:lnTo>
                  <a:lnTo>
                    <a:pt x="19585" y="20801"/>
                  </a:lnTo>
                  <a:lnTo>
                    <a:pt x="20100" y="21247"/>
                  </a:lnTo>
                  <a:lnTo>
                    <a:pt x="20861" y="21600"/>
                  </a:lnTo>
                  <a:lnTo>
                    <a:pt x="21513" y="21380"/>
                  </a:lnTo>
                  <a:lnTo>
                    <a:pt x="21426" y="21032"/>
                  </a:lnTo>
                  <a:lnTo>
                    <a:pt x="21600" y="20783"/>
                  </a:lnTo>
                </a:path>
              </a:pathLst>
            </a:custGeom>
            <a:solidFill>
              <a:schemeClr val="accent2">
                <a:lumMod val="40000"/>
                <a:lumOff val="60000"/>
              </a:schemeClr>
            </a:solidFill>
            <a:ln>
              <a:solidFill>
                <a:srgbClr val="FFFFFF"/>
              </a:solidFill>
              <a:round/>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81" name="线条"/>
            <p:cNvSpPr/>
            <p:nvPr/>
          </p:nvSpPr>
          <p:spPr>
            <a:xfrm>
              <a:off x="4793544" y="3480137"/>
              <a:ext cx="983230" cy="775624"/>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049" y="4338"/>
                  </a:lnTo>
                  <a:lnTo>
                    <a:pt x="486" y="5139"/>
                  </a:lnTo>
                  <a:lnTo>
                    <a:pt x="1218" y="6424"/>
                  </a:lnTo>
                  <a:lnTo>
                    <a:pt x="1913" y="6965"/>
                  </a:lnTo>
                  <a:lnTo>
                    <a:pt x="1745" y="8375"/>
                  </a:lnTo>
                  <a:lnTo>
                    <a:pt x="2314" y="8373"/>
                  </a:lnTo>
                  <a:cubicBezTo>
                    <a:pt x="2342" y="8290"/>
                    <a:pt x="2370" y="8206"/>
                    <a:pt x="2399" y="8123"/>
                  </a:cubicBezTo>
                  <a:cubicBezTo>
                    <a:pt x="2427" y="8039"/>
                    <a:pt x="2456" y="7956"/>
                    <a:pt x="2484" y="7873"/>
                  </a:cubicBezTo>
                  <a:lnTo>
                    <a:pt x="3011" y="7746"/>
                  </a:lnTo>
                  <a:lnTo>
                    <a:pt x="3391" y="8133"/>
                  </a:lnTo>
                  <a:lnTo>
                    <a:pt x="3761" y="7718"/>
                  </a:lnTo>
                  <a:lnTo>
                    <a:pt x="4505" y="7482"/>
                  </a:lnTo>
                  <a:lnTo>
                    <a:pt x="5454" y="7375"/>
                  </a:lnTo>
                  <a:lnTo>
                    <a:pt x="5893" y="8319"/>
                  </a:lnTo>
                  <a:lnTo>
                    <a:pt x="5499" y="9725"/>
                  </a:lnTo>
                  <a:lnTo>
                    <a:pt x="5209" y="10027"/>
                  </a:lnTo>
                  <a:lnTo>
                    <a:pt x="4979" y="10564"/>
                  </a:lnTo>
                  <a:lnTo>
                    <a:pt x="3987" y="11173"/>
                  </a:lnTo>
                  <a:lnTo>
                    <a:pt x="4846" y="11407"/>
                  </a:lnTo>
                  <a:lnTo>
                    <a:pt x="5274" y="12156"/>
                  </a:lnTo>
                  <a:lnTo>
                    <a:pt x="5716" y="12507"/>
                  </a:lnTo>
                  <a:lnTo>
                    <a:pt x="5808" y="13042"/>
                  </a:lnTo>
                  <a:lnTo>
                    <a:pt x="6182" y="13555"/>
                  </a:lnTo>
                  <a:lnTo>
                    <a:pt x="6790" y="13551"/>
                  </a:lnTo>
                  <a:lnTo>
                    <a:pt x="6634" y="14858"/>
                  </a:lnTo>
                  <a:lnTo>
                    <a:pt x="7040" y="15284"/>
                  </a:lnTo>
                  <a:lnTo>
                    <a:pt x="7460" y="15109"/>
                  </a:lnTo>
                  <a:lnTo>
                    <a:pt x="7677" y="15968"/>
                  </a:lnTo>
                  <a:lnTo>
                    <a:pt x="8444" y="16566"/>
                  </a:lnTo>
                  <a:lnTo>
                    <a:pt x="9114" y="15682"/>
                  </a:lnTo>
                  <a:lnTo>
                    <a:pt x="8889" y="14856"/>
                  </a:lnTo>
                  <a:lnTo>
                    <a:pt x="9944" y="14500"/>
                  </a:lnTo>
                  <a:lnTo>
                    <a:pt x="10681" y="14826"/>
                  </a:lnTo>
                  <a:lnTo>
                    <a:pt x="11306" y="15061"/>
                  </a:lnTo>
                  <a:lnTo>
                    <a:pt x="11870" y="14434"/>
                  </a:lnTo>
                  <a:lnTo>
                    <a:pt x="12805" y="14115"/>
                  </a:lnTo>
                  <a:lnTo>
                    <a:pt x="13544" y="13973"/>
                  </a:lnTo>
                  <a:lnTo>
                    <a:pt x="13649" y="14668"/>
                  </a:lnTo>
                  <a:lnTo>
                    <a:pt x="13696" y="15179"/>
                  </a:lnTo>
                  <a:lnTo>
                    <a:pt x="13774" y="15778"/>
                  </a:lnTo>
                  <a:lnTo>
                    <a:pt x="13570" y="16131"/>
                  </a:lnTo>
                  <a:lnTo>
                    <a:pt x="13185" y="16661"/>
                  </a:lnTo>
                  <a:lnTo>
                    <a:pt x="12835" y="17043"/>
                  </a:lnTo>
                  <a:lnTo>
                    <a:pt x="12426" y="17355"/>
                  </a:lnTo>
                  <a:lnTo>
                    <a:pt x="12059" y="17494"/>
                  </a:lnTo>
                  <a:lnTo>
                    <a:pt x="12045" y="18043"/>
                  </a:lnTo>
                  <a:lnTo>
                    <a:pt x="12228" y="18605"/>
                  </a:lnTo>
                  <a:lnTo>
                    <a:pt x="11897" y="18862"/>
                  </a:lnTo>
                  <a:lnTo>
                    <a:pt x="11811" y="19476"/>
                  </a:lnTo>
                  <a:lnTo>
                    <a:pt x="12256" y="19943"/>
                  </a:lnTo>
                  <a:lnTo>
                    <a:pt x="12591" y="20465"/>
                  </a:lnTo>
                  <a:lnTo>
                    <a:pt x="12982" y="20897"/>
                  </a:lnTo>
                  <a:lnTo>
                    <a:pt x="13558" y="21399"/>
                  </a:lnTo>
                  <a:lnTo>
                    <a:pt x="14040" y="21600"/>
                  </a:lnTo>
                  <a:lnTo>
                    <a:pt x="14363" y="21187"/>
                  </a:lnTo>
                  <a:lnTo>
                    <a:pt x="15282" y="21160"/>
                  </a:lnTo>
                  <a:lnTo>
                    <a:pt x="16196" y="20678"/>
                  </a:lnTo>
                  <a:lnTo>
                    <a:pt x="16962" y="20512"/>
                  </a:lnTo>
                  <a:lnTo>
                    <a:pt x="17408" y="19747"/>
                  </a:lnTo>
                  <a:lnTo>
                    <a:pt x="17315" y="19185"/>
                  </a:lnTo>
                  <a:lnTo>
                    <a:pt x="17444" y="18502"/>
                  </a:lnTo>
                  <a:lnTo>
                    <a:pt x="17375" y="17599"/>
                  </a:lnTo>
                  <a:lnTo>
                    <a:pt x="17462" y="16807"/>
                  </a:lnTo>
                  <a:lnTo>
                    <a:pt x="17885" y="15827"/>
                  </a:lnTo>
                  <a:lnTo>
                    <a:pt x="18135" y="15334"/>
                  </a:lnTo>
                  <a:lnTo>
                    <a:pt x="18580" y="15292"/>
                  </a:lnTo>
                  <a:lnTo>
                    <a:pt x="18635" y="14941"/>
                  </a:lnTo>
                  <a:lnTo>
                    <a:pt x="19582" y="14489"/>
                  </a:lnTo>
                  <a:lnTo>
                    <a:pt x="19738" y="15657"/>
                  </a:lnTo>
                  <a:lnTo>
                    <a:pt x="20099" y="16173"/>
                  </a:lnTo>
                  <a:lnTo>
                    <a:pt x="19495" y="17176"/>
                  </a:lnTo>
                  <a:lnTo>
                    <a:pt x="19207" y="18019"/>
                  </a:lnTo>
                  <a:lnTo>
                    <a:pt x="18961" y="18544"/>
                  </a:lnTo>
                  <a:lnTo>
                    <a:pt x="19396" y="19000"/>
                  </a:lnTo>
                  <a:lnTo>
                    <a:pt x="20070" y="19176"/>
                  </a:lnTo>
                  <a:lnTo>
                    <a:pt x="20545" y="19161"/>
                  </a:lnTo>
                  <a:lnTo>
                    <a:pt x="20998" y="19883"/>
                  </a:lnTo>
                  <a:lnTo>
                    <a:pt x="21600" y="20428"/>
                  </a:lnTo>
                </a:path>
              </a:pathLst>
            </a:custGeom>
            <a:solidFill>
              <a:schemeClr val="accent2">
                <a:lumMod val="40000"/>
                <a:lumOff val="60000"/>
              </a:schemeClr>
            </a:solidFill>
            <a:ln>
              <a:solidFill>
                <a:srgbClr val="FFFFFF"/>
              </a:solidFill>
              <a:round/>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82" name="线条"/>
            <p:cNvSpPr/>
            <p:nvPr/>
          </p:nvSpPr>
          <p:spPr>
            <a:xfrm>
              <a:off x="6044022" y="4644616"/>
              <a:ext cx="68540" cy="18310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475" y="2760"/>
                  </a:lnTo>
                  <a:lnTo>
                    <a:pt x="4214" y="5749"/>
                  </a:lnTo>
                  <a:lnTo>
                    <a:pt x="8995" y="7372"/>
                  </a:lnTo>
                  <a:lnTo>
                    <a:pt x="7841" y="12274"/>
                  </a:lnTo>
                  <a:lnTo>
                    <a:pt x="15859" y="13816"/>
                  </a:lnTo>
                  <a:lnTo>
                    <a:pt x="17186" y="15824"/>
                  </a:lnTo>
                  <a:lnTo>
                    <a:pt x="21600" y="17646"/>
                  </a:lnTo>
                  <a:lnTo>
                    <a:pt x="21380" y="21600"/>
                  </a:lnTo>
                </a:path>
              </a:pathLst>
            </a:custGeom>
            <a:solidFill>
              <a:schemeClr val="accent2">
                <a:lumMod val="40000"/>
                <a:lumOff val="60000"/>
              </a:schemeClr>
            </a:solidFill>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583" name="Oval 582"/>
            <p:cNvSpPr>
              <a:spLocks noChangeArrowheads="1"/>
            </p:cNvSpPr>
            <p:nvPr/>
          </p:nvSpPr>
          <p:spPr bwMode="auto">
            <a:xfrm rot="10800000" flipV="1">
              <a:off x="7435567" y="2700845"/>
              <a:ext cx="250856" cy="238374"/>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1</a:t>
              </a:r>
              <a:endParaRPr lang="en-GB" altLang="zh-CN" sz="1400" b="1" dirty="0">
                <a:latin typeface="黑体" pitchFamily="2" charset="-122"/>
                <a:ea typeface="黑体" pitchFamily="2" charset="-122"/>
              </a:endParaRPr>
            </a:p>
          </p:txBody>
        </p:sp>
        <p:sp>
          <p:nvSpPr>
            <p:cNvPr id="584" name="Text Box 57"/>
            <p:cNvSpPr txBox="1">
              <a:spLocks noChangeArrowheads="1"/>
            </p:cNvSpPr>
            <p:nvPr/>
          </p:nvSpPr>
          <p:spPr bwMode="auto">
            <a:xfrm>
              <a:off x="6561981" y="6251223"/>
              <a:ext cx="1398996" cy="329059"/>
            </a:xfrm>
            <a:prstGeom prst="rect">
              <a:avLst/>
            </a:prstGeom>
            <a:noFill/>
            <a:ln w="9525">
              <a:noFill/>
              <a:miter lim="800000"/>
              <a:headEnd/>
              <a:tailEnd/>
            </a:ln>
          </p:spPr>
          <p:txBody>
            <a:bodyPr wrap="square" lIns="91418" tIns="45709" rIns="91418" bIns="45709">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mj-lt"/>
                  <a:ea typeface="宋体" panose="02010600030101010101" pitchFamily="2" charset="-122"/>
                </a:rPr>
                <a:t>Shenzhen**</a:t>
              </a:r>
              <a:endParaRPr lang="en-GB" altLang="zh-CN" sz="1400" b="1" dirty="0">
                <a:latin typeface="+mj-lt"/>
                <a:ea typeface="宋体" panose="02010600030101010101" pitchFamily="2" charset="-122"/>
              </a:endParaRPr>
            </a:p>
          </p:txBody>
        </p:sp>
        <p:sp>
          <p:nvSpPr>
            <p:cNvPr id="585" name="Text Box 50"/>
            <p:cNvSpPr txBox="1">
              <a:spLocks noChangeArrowheads="1"/>
            </p:cNvSpPr>
            <p:nvPr/>
          </p:nvSpPr>
          <p:spPr bwMode="auto">
            <a:xfrm>
              <a:off x="5528514" y="3574568"/>
              <a:ext cx="1015009" cy="307754"/>
            </a:xfrm>
            <a:prstGeom prst="rect">
              <a:avLst/>
            </a:prstGeom>
            <a:noFill/>
            <a:ln w="9525">
              <a:noFill/>
              <a:miter lim="800000"/>
              <a:headEnd/>
              <a:tailEnd/>
            </a:ln>
          </p:spPr>
          <p:txBody>
            <a:bodyPr wrap="square" lIns="91418" tIns="45709" rIns="91418" bIns="45709">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r>
                <a:rPr lang="en-GB" altLang="zh-CN" sz="1400" b="1" dirty="0" smtClean="0">
                  <a:latin typeface="+mj-lt"/>
                  <a:ea typeface="宋体" panose="02010600030101010101" pitchFamily="2" charset="-122"/>
                  <a:cs typeface="Arial Unicode MS" pitchFamily="34" charset="-122"/>
                </a:rPr>
                <a:t>Beijing</a:t>
              </a:r>
              <a:endParaRPr lang="en-GB" altLang="zh-CN" sz="1400" b="1" dirty="0">
                <a:latin typeface="+mj-lt"/>
                <a:ea typeface="宋体" panose="02010600030101010101" pitchFamily="2" charset="-122"/>
                <a:cs typeface="Arial Unicode MS" pitchFamily="34" charset="-122"/>
              </a:endParaRPr>
            </a:p>
          </p:txBody>
        </p:sp>
        <p:sp>
          <p:nvSpPr>
            <p:cNvPr id="586" name="Oval 585"/>
            <p:cNvSpPr>
              <a:spLocks noChangeArrowheads="1"/>
            </p:cNvSpPr>
            <p:nvPr/>
          </p:nvSpPr>
          <p:spPr bwMode="auto">
            <a:xfrm>
              <a:off x="6620875" y="5867545"/>
              <a:ext cx="216000" cy="216000"/>
            </a:xfrm>
            <a:prstGeom prst="ellipse">
              <a:avLst/>
            </a:prstGeom>
            <a:ln>
              <a:headEnd/>
              <a:tailEnd/>
            </a:ln>
          </p:spPr>
          <p:style>
            <a:lnRef idx="1">
              <a:schemeClr val="accent3"/>
            </a:lnRef>
            <a:fillRef idx="3">
              <a:schemeClr val="accent3"/>
            </a:fillRef>
            <a:effectRef idx="2">
              <a:schemeClr val="accent3"/>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2</a:t>
              </a:r>
              <a:endParaRPr lang="en-GB" altLang="zh-CN" sz="1400" b="1" dirty="0">
                <a:latin typeface="黑体" pitchFamily="2" charset="-122"/>
                <a:ea typeface="黑体" pitchFamily="2" charset="-122"/>
              </a:endParaRPr>
            </a:p>
          </p:txBody>
        </p:sp>
        <p:sp>
          <p:nvSpPr>
            <p:cNvPr id="587" name="Oval 586"/>
            <p:cNvSpPr>
              <a:spLocks noChangeArrowheads="1"/>
            </p:cNvSpPr>
            <p:nvPr/>
          </p:nvSpPr>
          <p:spPr bwMode="auto">
            <a:xfrm rot="10800000" flipV="1">
              <a:off x="7386769" y="3213383"/>
              <a:ext cx="250856" cy="206153"/>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2</a:t>
              </a:r>
              <a:endParaRPr lang="en-GB" altLang="zh-CN" sz="1400" b="1" dirty="0">
                <a:latin typeface="黑体" pitchFamily="2" charset="-122"/>
                <a:ea typeface="黑体" pitchFamily="2" charset="-122"/>
              </a:endParaRPr>
            </a:p>
          </p:txBody>
        </p:sp>
        <p:sp>
          <p:nvSpPr>
            <p:cNvPr id="588" name="Oval 587"/>
            <p:cNvSpPr>
              <a:spLocks noChangeArrowheads="1"/>
            </p:cNvSpPr>
            <p:nvPr/>
          </p:nvSpPr>
          <p:spPr bwMode="auto">
            <a:xfrm rot="10800000" flipV="1">
              <a:off x="6074750" y="5398817"/>
              <a:ext cx="250856" cy="238374"/>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1</a:t>
              </a:r>
              <a:endParaRPr lang="en-GB" altLang="zh-CN" sz="1400" b="1" dirty="0">
                <a:latin typeface="黑体" pitchFamily="2" charset="-122"/>
                <a:ea typeface="黑体" pitchFamily="2" charset="-122"/>
              </a:endParaRPr>
            </a:p>
          </p:txBody>
        </p:sp>
        <p:sp>
          <p:nvSpPr>
            <p:cNvPr id="589" name="Oval 588"/>
            <p:cNvSpPr>
              <a:spLocks noChangeArrowheads="1"/>
            </p:cNvSpPr>
            <p:nvPr/>
          </p:nvSpPr>
          <p:spPr bwMode="auto">
            <a:xfrm rot="10800000" flipV="1">
              <a:off x="6124112" y="4996417"/>
              <a:ext cx="250856" cy="238374"/>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1</a:t>
              </a:r>
              <a:endParaRPr lang="en-GB" altLang="zh-CN" sz="1400" b="1" dirty="0">
                <a:latin typeface="黑体" pitchFamily="2" charset="-122"/>
                <a:ea typeface="黑体" pitchFamily="2" charset="-122"/>
              </a:endParaRPr>
            </a:p>
          </p:txBody>
        </p:sp>
        <p:sp>
          <p:nvSpPr>
            <p:cNvPr id="590" name="Oval 589"/>
            <p:cNvSpPr>
              <a:spLocks noChangeArrowheads="1"/>
            </p:cNvSpPr>
            <p:nvPr/>
          </p:nvSpPr>
          <p:spPr bwMode="auto">
            <a:xfrm rot="10800000" flipV="1">
              <a:off x="5933750" y="6592099"/>
              <a:ext cx="250856" cy="238374"/>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1</a:t>
              </a:r>
              <a:endParaRPr lang="en-GB" altLang="zh-CN" sz="1400" b="1" dirty="0">
                <a:latin typeface="黑体" pitchFamily="2" charset="-122"/>
                <a:ea typeface="黑体" pitchFamily="2" charset="-122"/>
              </a:endParaRPr>
            </a:p>
          </p:txBody>
        </p:sp>
        <p:sp>
          <p:nvSpPr>
            <p:cNvPr id="591" name="Oval 590"/>
            <p:cNvSpPr>
              <a:spLocks noChangeArrowheads="1"/>
            </p:cNvSpPr>
            <p:nvPr/>
          </p:nvSpPr>
          <p:spPr bwMode="auto">
            <a:xfrm rot="10800000" flipV="1">
              <a:off x="5770718" y="4591445"/>
              <a:ext cx="250856" cy="238374"/>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1</a:t>
              </a:r>
              <a:endParaRPr lang="en-GB" altLang="zh-CN" sz="1400" b="1" dirty="0">
                <a:latin typeface="黑体" pitchFamily="2" charset="-122"/>
                <a:ea typeface="黑体" pitchFamily="2" charset="-122"/>
              </a:endParaRPr>
            </a:p>
          </p:txBody>
        </p:sp>
        <p:sp>
          <p:nvSpPr>
            <p:cNvPr id="592" name="Oval 591"/>
            <p:cNvSpPr>
              <a:spLocks noChangeArrowheads="1"/>
            </p:cNvSpPr>
            <p:nvPr/>
          </p:nvSpPr>
          <p:spPr bwMode="auto">
            <a:xfrm rot="10800000" flipV="1">
              <a:off x="6659450" y="4272962"/>
              <a:ext cx="250856" cy="238374"/>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2</a:t>
              </a:r>
              <a:endParaRPr lang="en-GB" altLang="zh-CN" sz="1400" b="1" dirty="0">
                <a:latin typeface="黑体" pitchFamily="2" charset="-122"/>
                <a:ea typeface="黑体" pitchFamily="2" charset="-122"/>
              </a:endParaRPr>
            </a:p>
          </p:txBody>
        </p:sp>
        <p:sp>
          <p:nvSpPr>
            <p:cNvPr id="593" name="Oval 592"/>
            <p:cNvSpPr>
              <a:spLocks noChangeArrowheads="1"/>
            </p:cNvSpPr>
            <p:nvPr/>
          </p:nvSpPr>
          <p:spPr bwMode="auto">
            <a:xfrm rot="10800000" flipV="1">
              <a:off x="6922486" y="4631595"/>
              <a:ext cx="180452" cy="171473"/>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8</a:t>
              </a:r>
              <a:endParaRPr lang="en-GB" altLang="zh-CN" sz="1400" b="1" dirty="0">
                <a:latin typeface="黑体" pitchFamily="2" charset="-122"/>
                <a:ea typeface="黑体" pitchFamily="2" charset="-122"/>
              </a:endParaRPr>
            </a:p>
          </p:txBody>
        </p:sp>
        <p:sp>
          <p:nvSpPr>
            <p:cNvPr id="594" name="Oval 593"/>
            <p:cNvSpPr>
              <a:spLocks noChangeArrowheads="1"/>
            </p:cNvSpPr>
            <p:nvPr/>
          </p:nvSpPr>
          <p:spPr bwMode="auto">
            <a:xfrm rot="10800000" flipV="1">
              <a:off x="5567055" y="5538716"/>
              <a:ext cx="250856" cy="238374"/>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1</a:t>
              </a:r>
              <a:endParaRPr lang="en-GB" altLang="zh-CN" sz="1400" b="1" dirty="0">
                <a:latin typeface="黑体" pitchFamily="2" charset="-122"/>
                <a:ea typeface="黑体" pitchFamily="2" charset="-122"/>
              </a:endParaRPr>
            </a:p>
          </p:txBody>
        </p:sp>
        <p:sp>
          <p:nvSpPr>
            <p:cNvPr id="595" name="Oval 594"/>
            <p:cNvSpPr>
              <a:spLocks noChangeArrowheads="1"/>
            </p:cNvSpPr>
            <p:nvPr/>
          </p:nvSpPr>
          <p:spPr bwMode="auto">
            <a:xfrm rot="10800000" flipV="1">
              <a:off x="6325890" y="4672455"/>
              <a:ext cx="250856" cy="238374"/>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2</a:t>
              </a:r>
              <a:endParaRPr lang="en-GB" altLang="zh-CN" sz="1400" b="1" dirty="0">
                <a:latin typeface="黑体" pitchFamily="2" charset="-122"/>
                <a:ea typeface="黑体" pitchFamily="2" charset="-122"/>
              </a:endParaRPr>
            </a:p>
          </p:txBody>
        </p:sp>
        <p:sp>
          <p:nvSpPr>
            <p:cNvPr id="596" name="Oval 595"/>
            <p:cNvSpPr>
              <a:spLocks noChangeArrowheads="1"/>
            </p:cNvSpPr>
            <p:nvPr/>
          </p:nvSpPr>
          <p:spPr bwMode="auto">
            <a:xfrm rot="10800000" flipV="1">
              <a:off x="6285010" y="5900289"/>
              <a:ext cx="250856" cy="238374"/>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2</a:t>
              </a:r>
              <a:endParaRPr lang="en-GB" altLang="zh-CN" sz="1400" b="1" dirty="0">
                <a:latin typeface="黑体" pitchFamily="2" charset="-122"/>
                <a:ea typeface="黑体" pitchFamily="2" charset="-122"/>
              </a:endParaRPr>
            </a:p>
          </p:txBody>
        </p:sp>
        <p:sp>
          <p:nvSpPr>
            <p:cNvPr id="597" name="Oval 596"/>
            <p:cNvSpPr>
              <a:spLocks noChangeArrowheads="1"/>
            </p:cNvSpPr>
            <p:nvPr/>
          </p:nvSpPr>
          <p:spPr bwMode="auto">
            <a:xfrm rot="10800000" flipV="1">
              <a:off x="6130295" y="4153775"/>
              <a:ext cx="250856" cy="238374"/>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1</a:t>
              </a:r>
              <a:endParaRPr lang="en-GB" altLang="zh-CN" sz="1400" b="1" dirty="0">
                <a:latin typeface="黑体" pitchFamily="2" charset="-122"/>
                <a:ea typeface="黑体" pitchFamily="2" charset="-122"/>
              </a:endParaRPr>
            </a:p>
          </p:txBody>
        </p:sp>
        <p:sp>
          <p:nvSpPr>
            <p:cNvPr id="598" name="Oval 597"/>
            <p:cNvSpPr>
              <a:spLocks noChangeArrowheads="1"/>
            </p:cNvSpPr>
            <p:nvPr/>
          </p:nvSpPr>
          <p:spPr bwMode="auto">
            <a:xfrm rot="10800000" flipV="1">
              <a:off x="7028137" y="5153948"/>
              <a:ext cx="193475" cy="183848"/>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6</a:t>
              </a:r>
              <a:endParaRPr lang="en-GB" altLang="zh-CN" sz="1400" b="1" dirty="0">
                <a:latin typeface="黑体" pitchFamily="2" charset="-122"/>
                <a:ea typeface="黑体" pitchFamily="2" charset="-122"/>
              </a:endParaRPr>
            </a:p>
          </p:txBody>
        </p:sp>
        <p:sp>
          <p:nvSpPr>
            <p:cNvPr id="599" name="Text Box 50"/>
            <p:cNvSpPr txBox="1">
              <a:spLocks noChangeArrowheads="1"/>
            </p:cNvSpPr>
            <p:nvPr/>
          </p:nvSpPr>
          <p:spPr bwMode="auto">
            <a:xfrm>
              <a:off x="7081180" y="4846194"/>
              <a:ext cx="1206677" cy="329059"/>
            </a:xfrm>
            <a:prstGeom prst="rect">
              <a:avLst/>
            </a:prstGeom>
            <a:noFill/>
            <a:ln w="9525">
              <a:noFill/>
              <a:miter lim="800000"/>
              <a:headEnd/>
              <a:tailEnd/>
            </a:ln>
          </p:spPr>
          <p:txBody>
            <a:bodyPr wrap="square" lIns="91418" tIns="45709" rIns="91418" bIns="45709">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r>
                <a:rPr lang="en-GB" altLang="zh-CN" sz="1400" b="1" dirty="0" smtClean="0">
                  <a:latin typeface="+mj-lt"/>
                  <a:ea typeface="宋体" panose="02010600030101010101" pitchFamily="2" charset="-122"/>
                  <a:cs typeface="Arial Unicode MS" pitchFamily="34" charset="-122"/>
                </a:rPr>
                <a:t>Shanghai</a:t>
              </a:r>
              <a:endParaRPr lang="en-GB" altLang="zh-CN" sz="1400" b="1" dirty="0">
                <a:latin typeface="+mj-lt"/>
                <a:ea typeface="宋体" panose="02010600030101010101" pitchFamily="2" charset="-122"/>
                <a:cs typeface="Arial Unicode MS" pitchFamily="34" charset="-122"/>
              </a:endParaRPr>
            </a:p>
          </p:txBody>
        </p:sp>
        <p:sp>
          <p:nvSpPr>
            <p:cNvPr id="600" name="Oval 599"/>
            <p:cNvSpPr>
              <a:spLocks noChangeArrowheads="1"/>
            </p:cNvSpPr>
            <p:nvPr/>
          </p:nvSpPr>
          <p:spPr bwMode="auto">
            <a:xfrm>
              <a:off x="6583247" y="5379039"/>
              <a:ext cx="216000" cy="216000"/>
            </a:xfrm>
            <a:prstGeom prst="ellipse">
              <a:avLst/>
            </a:prstGeom>
            <a:ln>
              <a:headEnd/>
              <a:tailEnd/>
            </a:ln>
          </p:spPr>
          <p:style>
            <a:lnRef idx="1">
              <a:schemeClr val="accent3"/>
            </a:lnRef>
            <a:fillRef idx="3">
              <a:schemeClr val="accent3"/>
            </a:fillRef>
            <a:effectRef idx="2">
              <a:schemeClr val="accent3"/>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1</a:t>
              </a:r>
              <a:endParaRPr lang="en-GB" altLang="zh-CN" sz="1400" b="1" dirty="0">
                <a:latin typeface="黑体" pitchFamily="2" charset="-122"/>
                <a:ea typeface="黑体" pitchFamily="2" charset="-122"/>
              </a:endParaRPr>
            </a:p>
          </p:txBody>
        </p:sp>
        <p:sp>
          <p:nvSpPr>
            <p:cNvPr id="601" name="Text Box 50"/>
            <p:cNvSpPr txBox="1">
              <a:spLocks noChangeArrowheads="1"/>
            </p:cNvSpPr>
            <p:nvPr/>
          </p:nvSpPr>
          <p:spPr bwMode="auto">
            <a:xfrm>
              <a:off x="6710042" y="3944767"/>
              <a:ext cx="1015009" cy="307754"/>
            </a:xfrm>
            <a:prstGeom prst="rect">
              <a:avLst/>
            </a:prstGeom>
            <a:noFill/>
            <a:ln w="9525">
              <a:noFill/>
              <a:miter lim="800000"/>
              <a:headEnd/>
              <a:tailEnd/>
            </a:ln>
          </p:spPr>
          <p:txBody>
            <a:bodyPr wrap="square" lIns="91418" tIns="45709" rIns="91418" bIns="45709">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0" hangingPunct="0"/>
              <a:r>
                <a:rPr lang="en-GB" altLang="zh-CN" sz="1400" b="1" dirty="0" smtClean="0">
                  <a:latin typeface="+mj-lt"/>
                  <a:ea typeface="宋体" panose="02010600030101010101" pitchFamily="2" charset="-122"/>
                  <a:cs typeface="Arial Unicode MS" pitchFamily="34" charset="-122"/>
                </a:rPr>
                <a:t>Tianjin</a:t>
              </a:r>
              <a:endParaRPr lang="en-GB" altLang="zh-CN" sz="1400" b="1" dirty="0">
                <a:latin typeface="+mj-lt"/>
                <a:ea typeface="宋体" panose="02010600030101010101" pitchFamily="2" charset="-122"/>
                <a:cs typeface="Arial Unicode MS" pitchFamily="34" charset="-122"/>
              </a:endParaRPr>
            </a:p>
          </p:txBody>
        </p:sp>
        <p:sp>
          <p:nvSpPr>
            <p:cNvPr id="602" name="Oval 601"/>
            <p:cNvSpPr>
              <a:spLocks noChangeArrowheads="1"/>
            </p:cNvSpPr>
            <p:nvPr/>
          </p:nvSpPr>
          <p:spPr bwMode="auto">
            <a:xfrm rot="10800000" flipV="1">
              <a:off x="6583368" y="3924020"/>
              <a:ext cx="250856" cy="238374"/>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1</a:t>
              </a:r>
              <a:endParaRPr lang="en-GB" altLang="zh-CN" sz="1400" b="1" dirty="0">
                <a:latin typeface="黑体" pitchFamily="2" charset="-122"/>
                <a:ea typeface="黑体" pitchFamily="2" charset="-122"/>
              </a:endParaRPr>
            </a:p>
          </p:txBody>
        </p:sp>
        <p:sp>
          <p:nvSpPr>
            <p:cNvPr id="603" name="Oval 602"/>
            <p:cNvSpPr>
              <a:spLocks noChangeArrowheads="1"/>
            </p:cNvSpPr>
            <p:nvPr/>
          </p:nvSpPr>
          <p:spPr bwMode="auto">
            <a:xfrm rot="10800000" flipV="1">
              <a:off x="6412813" y="3738549"/>
              <a:ext cx="250856" cy="238374"/>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3</a:t>
              </a:r>
              <a:endParaRPr lang="en-GB" altLang="zh-CN" sz="1400" b="1" dirty="0">
                <a:latin typeface="黑体" pitchFamily="2" charset="-122"/>
                <a:ea typeface="黑体" pitchFamily="2" charset="-122"/>
              </a:endParaRPr>
            </a:p>
          </p:txBody>
        </p:sp>
        <p:sp>
          <p:nvSpPr>
            <p:cNvPr id="604" name="Oval 603"/>
            <p:cNvSpPr>
              <a:spLocks noChangeArrowheads="1"/>
            </p:cNvSpPr>
            <p:nvPr/>
          </p:nvSpPr>
          <p:spPr bwMode="auto">
            <a:xfrm>
              <a:off x="6474763" y="3288863"/>
              <a:ext cx="216000" cy="216000"/>
            </a:xfrm>
            <a:prstGeom prst="ellipse">
              <a:avLst/>
            </a:prstGeom>
            <a:ln>
              <a:headEnd/>
              <a:tailEnd/>
            </a:ln>
          </p:spPr>
          <p:style>
            <a:lnRef idx="1">
              <a:schemeClr val="accent3"/>
            </a:lnRef>
            <a:fillRef idx="3">
              <a:schemeClr val="accent3"/>
            </a:fillRef>
            <a:effectRef idx="2">
              <a:schemeClr val="accent3"/>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4</a:t>
              </a:r>
              <a:endParaRPr lang="en-GB" altLang="zh-CN" sz="1400" b="1" dirty="0">
                <a:latin typeface="黑体" pitchFamily="2" charset="-122"/>
                <a:ea typeface="黑体" pitchFamily="2" charset="-122"/>
              </a:endParaRPr>
            </a:p>
          </p:txBody>
        </p:sp>
        <p:sp>
          <p:nvSpPr>
            <p:cNvPr id="605" name="Oval 604"/>
            <p:cNvSpPr>
              <a:spLocks noChangeArrowheads="1"/>
            </p:cNvSpPr>
            <p:nvPr/>
          </p:nvSpPr>
          <p:spPr bwMode="auto">
            <a:xfrm rot="10800000" flipV="1">
              <a:off x="6485263" y="6115176"/>
              <a:ext cx="250856" cy="238374"/>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2</a:t>
              </a:r>
              <a:endParaRPr lang="en-GB" altLang="zh-CN" sz="1400" b="1" dirty="0">
                <a:latin typeface="黑体" pitchFamily="2" charset="-122"/>
                <a:ea typeface="黑体" pitchFamily="2" charset="-122"/>
              </a:endParaRPr>
            </a:p>
          </p:txBody>
        </p:sp>
        <p:sp>
          <p:nvSpPr>
            <p:cNvPr id="606" name="Oval 605"/>
            <p:cNvSpPr>
              <a:spLocks noChangeArrowheads="1"/>
            </p:cNvSpPr>
            <p:nvPr/>
          </p:nvSpPr>
          <p:spPr bwMode="auto">
            <a:xfrm>
              <a:off x="6783487" y="6020165"/>
              <a:ext cx="216000" cy="216000"/>
            </a:xfrm>
            <a:prstGeom prst="ellipse">
              <a:avLst/>
            </a:prstGeom>
            <a:ln>
              <a:headEnd/>
              <a:tailEnd/>
            </a:ln>
          </p:spPr>
          <p:style>
            <a:lnRef idx="1">
              <a:schemeClr val="accent3"/>
            </a:lnRef>
            <a:fillRef idx="3">
              <a:schemeClr val="accent3"/>
            </a:fillRef>
            <a:effectRef idx="2">
              <a:schemeClr val="accent3"/>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3</a:t>
              </a:r>
              <a:endParaRPr lang="en-GB" altLang="zh-CN" sz="1400" b="1" dirty="0">
                <a:latin typeface="黑体" pitchFamily="2" charset="-122"/>
                <a:ea typeface="黑体" pitchFamily="2" charset="-122"/>
              </a:endParaRPr>
            </a:p>
          </p:txBody>
        </p:sp>
        <p:sp>
          <p:nvSpPr>
            <p:cNvPr id="607" name="Oval 606"/>
            <p:cNvSpPr>
              <a:spLocks noChangeArrowheads="1"/>
            </p:cNvSpPr>
            <p:nvPr/>
          </p:nvSpPr>
          <p:spPr bwMode="auto">
            <a:xfrm>
              <a:off x="7025695" y="4835957"/>
              <a:ext cx="160460" cy="160460"/>
            </a:xfrm>
            <a:prstGeom prst="ellipse">
              <a:avLst/>
            </a:prstGeom>
            <a:ln>
              <a:headEnd/>
              <a:tailEnd/>
            </a:ln>
          </p:spPr>
          <p:style>
            <a:lnRef idx="1">
              <a:schemeClr val="accent3"/>
            </a:lnRef>
            <a:fillRef idx="3">
              <a:schemeClr val="accent3"/>
            </a:fillRef>
            <a:effectRef idx="2">
              <a:schemeClr val="accent3"/>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2</a:t>
              </a:r>
              <a:endParaRPr lang="en-GB" altLang="zh-CN" sz="1400" b="1" dirty="0">
                <a:latin typeface="黑体" pitchFamily="2" charset="-122"/>
                <a:ea typeface="黑体" pitchFamily="2" charset="-122"/>
              </a:endParaRPr>
            </a:p>
          </p:txBody>
        </p:sp>
        <p:sp>
          <p:nvSpPr>
            <p:cNvPr id="608" name="Oval 607"/>
            <p:cNvSpPr>
              <a:spLocks noChangeArrowheads="1"/>
            </p:cNvSpPr>
            <p:nvPr/>
          </p:nvSpPr>
          <p:spPr bwMode="auto">
            <a:xfrm>
              <a:off x="6836354" y="3704980"/>
              <a:ext cx="216000" cy="216000"/>
            </a:xfrm>
            <a:prstGeom prst="ellipse">
              <a:avLst/>
            </a:prstGeom>
            <a:ln>
              <a:headEnd/>
              <a:tailEnd/>
            </a:ln>
          </p:spPr>
          <p:style>
            <a:lnRef idx="1">
              <a:schemeClr val="accent3"/>
            </a:lnRef>
            <a:fillRef idx="3">
              <a:schemeClr val="accent3"/>
            </a:fillRef>
            <a:effectRef idx="2">
              <a:schemeClr val="accent3"/>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1</a:t>
              </a:r>
              <a:endParaRPr lang="en-GB" altLang="zh-CN" sz="1400" b="1" dirty="0">
                <a:latin typeface="黑体" pitchFamily="2" charset="-122"/>
                <a:ea typeface="黑体" pitchFamily="2" charset="-122"/>
              </a:endParaRPr>
            </a:p>
          </p:txBody>
        </p:sp>
        <p:sp>
          <p:nvSpPr>
            <p:cNvPr id="609" name="Oval 608"/>
            <p:cNvSpPr>
              <a:spLocks noChangeArrowheads="1"/>
            </p:cNvSpPr>
            <p:nvPr/>
          </p:nvSpPr>
          <p:spPr bwMode="auto">
            <a:xfrm>
              <a:off x="7065681" y="5393614"/>
              <a:ext cx="160460" cy="160460"/>
            </a:xfrm>
            <a:prstGeom prst="ellipse">
              <a:avLst/>
            </a:prstGeom>
            <a:ln>
              <a:headEnd/>
              <a:tailEnd/>
            </a:ln>
          </p:spPr>
          <p:style>
            <a:lnRef idx="1">
              <a:schemeClr val="accent3"/>
            </a:lnRef>
            <a:fillRef idx="3">
              <a:schemeClr val="accent3"/>
            </a:fillRef>
            <a:effectRef idx="2">
              <a:schemeClr val="accent3"/>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5</a:t>
              </a:r>
              <a:endParaRPr lang="en-GB" altLang="zh-CN" sz="1400" b="1" dirty="0">
                <a:latin typeface="黑体" pitchFamily="2" charset="-122"/>
                <a:ea typeface="黑体" pitchFamily="2" charset="-122"/>
              </a:endParaRPr>
            </a:p>
          </p:txBody>
        </p:sp>
        <p:sp>
          <p:nvSpPr>
            <p:cNvPr id="610" name="Oval 609"/>
            <p:cNvSpPr>
              <a:spLocks noChangeArrowheads="1"/>
            </p:cNvSpPr>
            <p:nvPr/>
          </p:nvSpPr>
          <p:spPr bwMode="auto">
            <a:xfrm>
              <a:off x="5382151" y="5622982"/>
              <a:ext cx="216000" cy="216000"/>
            </a:xfrm>
            <a:prstGeom prst="ellipse">
              <a:avLst/>
            </a:prstGeom>
            <a:ln>
              <a:headEnd/>
              <a:tailEnd/>
            </a:ln>
          </p:spPr>
          <p:style>
            <a:lnRef idx="1">
              <a:schemeClr val="accent3"/>
            </a:lnRef>
            <a:fillRef idx="3">
              <a:schemeClr val="accent3"/>
            </a:fillRef>
            <a:effectRef idx="2">
              <a:schemeClr val="accent3"/>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3</a:t>
              </a:r>
              <a:endParaRPr lang="en-GB" altLang="zh-CN" sz="1400" b="1" dirty="0">
                <a:latin typeface="黑体" pitchFamily="2" charset="-122"/>
                <a:ea typeface="黑体" pitchFamily="2" charset="-122"/>
              </a:endParaRPr>
            </a:p>
          </p:txBody>
        </p:sp>
        <p:sp>
          <p:nvSpPr>
            <p:cNvPr id="611" name="Oval 610"/>
            <p:cNvSpPr>
              <a:spLocks noChangeArrowheads="1"/>
            </p:cNvSpPr>
            <p:nvPr/>
          </p:nvSpPr>
          <p:spPr bwMode="auto">
            <a:xfrm>
              <a:off x="6827937" y="5608672"/>
              <a:ext cx="216000" cy="216000"/>
            </a:xfrm>
            <a:prstGeom prst="ellipse">
              <a:avLst/>
            </a:prstGeom>
            <a:ln>
              <a:headEnd/>
              <a:tailEnd/>
            </a:ln>
          </p:spPr>
          <p:style>
            <a:lnRef idx="1">
              <a:schemeClr val="accent3"/>
            </a:lnRef>
            <a:fillRef idx="3">
              <a:schemeClr val="accent3"/>
            </a:fillRef>
            <a:effectRef idx="2">
              <a:schemeClr val="accent3"/>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1</a:t>
              </a:r>
              <a:endParaRPr lang="en-GB" altLang="zh-CN" sz="1400" b="1" dirty="0">
                <a:latin typeface="黑体" pitchFamily="2" charset="-122"/>
                <a:ea typeface="黑体" pitchFamily="2" charset="-122"/>
              </a:endParaRPr>
            </a:p>
          </p:txBody>
        </p:sp>
        <p:sp>
          <p:nvSpPr>
            <p:cNvPr id="612" name="Oval 611"/>
            <p:cNvSpPr>
              <a:spLocks noChangeArrowheads="1"/>
            </p:cNvSpPr>
            <p:nvPr/>
          </p:nvSpPr>
          <p:spPr bwMode="auto">
            <a:xfrm>
              <a:off x="6335780" y="6302689"/>
              <a:ext cx="216000" cy="216000"/>
            </a:xfrm>
            <a:prstGeom prst="ellipse">
              <a:avLst/>
            </a:prstGeom>
            <a:ln>
              <a:headEnd/>
              <a:tailEnd/>
            </a:ln>
          </p:spPr>
          <p:style>
            <a:lnRef idx="1">
              <a:schemeClr val="accent3"/>
            </a:lnRef>
            <a:fillRef idx="3">
              <a:schemeClr val="accent3"/>
            </a:fillRef>
            <a:effectRef idx="2">
              <a:schemeClr val="accent3"/>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1</a:t>
              </a:r>
              <a:endParaRPr lang="en-GB" altLang="zh-CN" sz="1400" b="1" dirty="0">
                <a:latin typeface="黑体" pitchFamily="2" charset="-122"/>
                <a:ea typeface="黑体" pitchFamily="2" charset="-122"/>
              </a:endParaRPr>
            </a:p>
          </p:txBody>
        </p:sp>
        <p:sp>
          <p:nvSpPr>
            <p:cNvPr id="613" name="Oval 612"/>
            <p:cNvSpPr>
              <a:spLocks noChangeArrowheads="1"/>
            </p:cNvSpPr>
            <p:nvPr/>
          </p:nvSpPr>
          <p:spPr bwMode="auto">
            <a:xfrm>
              <a:off x="6100562" y="6699861"/>
              <a:ext cx="216000" cy="216000"/>
            </a:xfrm>
            <a:prstGeom prst="ellipse">
              <a:avLst/>
            </a:prstGeom>
            <a:ln>
              <a:headEnd/>
              <a:tailEnd/>
            </a:ln>
          </p:spPr>
          <p:style>
            <a:lnRef idx="1">
              <a:schemeClr val="accent3"/>
            </a:lnRef>
            <a:fillRef idx="3">
              <a:schemeClr val="accent3"/>
            </a:fillRef>
            <a:effectRef idx="2">
              <a:schemeClr val="accent3"/>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1</a:t>
              </a:r>
              <a:endParaRPr lang="en-GB" altLang="zh-CN" sz="1400" b="1" dirty="0">
                <a:latin typeface="黑体" pitchFamily="2" charset="-122"/>
                <a:ea typeface="黑体" pitchFamily="2" charset="-122"/>
              </a:endParaRPr>
            </a:p>
          </p:txBody>
        </p:sp>
        <p:sp>
          <p:nvSpPr>
            <p:cNvPr id="614" name="Oval 613"/>
            <p:cNvSpPr>
              <a:spLocks noChangeArrowheads="1"/>
            </p:cNvSpPr>
            <p:nvPr/>
          </p:nvSpPr>
          <p:spPr bwMode="auto">
            <a:xfrm>
              <a:off x="4877372" y="5792143"/>
              <a:ext cx="216000" cy="216000"/>
            </a:xfrm>
            <a:prstGeom prst="ellipse">
              <a:avLst/>
            </a:prstGeom>
            <a:ln>
              <a:headEnd/>
              <a:tailEnd/>
            </a:ln>
          </p:spPr>
          <p:style>
            <a:lnRef idx="1">
              <a:schemeClr val="accent3"/>
            </a:lnRef>
            <a:fillRef idx="3">
              <a:schemeClr val="accent3"/>
            </a:fillRef>
            <a:effectRef idx="2">
              <a:schemeClr val="accent3"/>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1</a:t>
              </a:r>
              <a:endParaRPr lang="en-GB" altLang="zh-CN" sz="1400" b="1" dirty="0">
                <a:latin typeface="黑体" pitchFamily="2" charset="-122"/>
                <a:ea typeface="黑体" pitchFamily="2" charset="-122"/>
              </a:endParaRPr>
            </a:p>
          </p:txBody>
        </p:sp>
        <p:sp>
          <p:nvSpPr>
            <p:cNvPr id="615" name="Oval 614"/>
            <p:cNvSpPr>
              <a:spLocks noChangeArrowheads="1"/>
            </p:cNvSpPr>
            <p:nvPr/>
          </p:nvSpPr>
          <p:spPr bwMode="auto">
            <a:xfrm>
              <a:off x="6664874" y="4670135"/>
              <a:ext cx="216000" cy="216000"/>
            </a:xfrm>
            <a:prstGeom prst="ellipse">
              <a:avLst/>
            </a:prstGeom>
            <a:ln>
              <a:headEnd/>
              <a:tailEnd/>
            </a:ln>
          </p:spPr>
          <p:style>
            <a:lnRef idx="1">
              <a:schemeClr val="accent3"/>
            </a:lnRef>
            <a:fillRef idx="3">
              <a:schemeClr val="accent3"/>
            </a:fillRef>
            <a:effectRef idx="2">
              <a:schemeClr val="accent3"/>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1</a:t>
              </a:r>
              <a:endParaRPr lang="en-GB" altLang="zh-CN" sz="1400" b="1" dirty="0">
                <a:latin typeface="黑体" pitchFamily="2" charset="-122"/>
                <a:ea typeface="黑体" pitchFamily="2" charset="-122"/>
              </a:endParaRPr>
            </a:p>
          </p:txBody>
        </p:sp>
        <p:sp>
          <p:nvSpPr>
            <p:cNvPr id="616" name="Oval 615"/>
            <p:cNvSpPr>
              <a:spLocks noChangeArrowheads="1"/>
            </p:cNvSpPr>
            <p:nvPr/>
          </p:nvSpPr>
          <p:spPr bwMode="auto">
            <a:xfrm rot="10800000" flipV="1">
              <a:off x="5477837" y="5186731"/>
              <a:ext cx="250856" cy="238374"/>
            </a:xfrm>
            <a:prstGeom prst="ellipse">
              <a:avLst/>
            </a:prstGeom>
            <a:ln>
              <a:headEnd/>
              <a:tailEnd/>
            </a:ln>
          </p:spPr>
          <p:style>
            <a:lnRef idx="1">
              <a:schemeClr val="accent4"/>
            </a:lnRef>
            <a:fillRef idx="3">
              <a:schemeClr val="accent4"/>
            </a:fillRef>
            <a:effectRef idx="2">
              <a:schemeClr val="accent4"/>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1</a:t>
              </a:r>
              <a:endParaRPr lang="en-GB" altLang="zh-CN" sz="1400" b="1" dirty="0">
                <a:latin typeface="黑体" pitchFamily="2" charset="-122"/>
                <a:ea typeface="黑体" pitchFamily="2" charset="-122"/>
              </a:endParaRPr>
            </a:p>
          </p:txBody>
        </p:sp>
        <p:sp>
          <p:nvSpPr>
            <p:cNvPr id="617" name="Oval 83"/>
            <p:cNvSpPr>
              <a:spLocks noChangeArrowheads="1"/>
            </p:cNvSpPr>
            <p:nvPr/>
          </p:nvSpPr>
          <p:spPr bwMode="auto">
            <a:xfrm>
              <a:off x="7078132" y="3606656"/>
              <a:ext cx="216000" cy="216000"/>
            </a:xfrm>
            <a:prstGeom prst="ellipse">
              <a:avLst/>
            </a:prstGeom>
            <a:ln>
              <a:headEnd/>
              <a:tailEnd/>
            </a:ln>
          </p:spPr>
          <p:style>
            <a:lnRef idx="1">
              <a:schemeClr val="accent3"/>
            </a:lnRef>
            <a:fillRef idx="3">
              <a:schemeClr val="accent3"/>
            </a:fillRef>
            <a:effectRef idx="2">
              <a:schemeClr val="accent3"/>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1</a:t>
              </a:r>
              <a:endParaRPr lang="en-GB" altLang="zh-CN" sz="1400" b="1" dirty="0">
                <a:latin typeface="黑体" pitchFamily="2" charset="-122"/>
                <a:ea typeface="黑体" pitchFamily="2" charset="-122"/>
              </a:endParaRPr>
            </a:p>
          </p:txBody>
        </p:sp>
        <p:sp>
          <p:nvSpPr>
            <p:cNvPr id="618" name="线条"/>
            <p:cNvSpPr/>
            <p:nvPr/>
          </p:nvSpPr>
          <p:spPr>
            <a:xfrm>
              <a:off x="5861907" y="4196280"/>
              <a:ext cx="515226" cy="46514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890" y="775"/>
                  </a:lnTo>
                  <a:lnTo>
                    <a:pt x="2188" y="1380"/>
                  </a:lnTo>
                  <a:lnTo>
                    <a:pt x="2772" y="2734"/>
                  </a:lnTo>
                  <a:lnTo>
                    <a:pt x="3444" y="3296"/>
                  </a:lnTo>
                  <a:lnTo>
                    <a:pt x="4914" y="3200"/>
                  </a:lnTo>
                  <a:lnTo>
                    <a:pt x="5679" y="3615"/>
                  </a:lnTo>
                  <a:lnTo>
                    <a:pt x="5926" y="4684"/>
                  </a:lnTo>
                  <a:lnTo>
                    <a:pt x="7654" y="4639"/>
                  </a:lnTo>
                  <a:lnTo>
                    <a:pt x="7881" y="5561"/>
                  </a:lnTo>
                  <a:lnTo>
                    <a:pt x="7399" y="6759"/>
                  </a:lnTo>
                  <a:lnTo>
                    <a:pt x="7018" y="8229"/>
                  </a:lnTo>
                  <a:lnTo>
                    <a:pt x="8198" y="7990"/>
                  </a:lnTo>
                  <a:lnTo>
                    <a:pt x="8563" y="8985"/>
                  </a:lnTo>
                  <a:lnTo>
                    <a:pt x="8681" y="10041"/>
                  </a:lnTo>
                  <a:lnTo>
                    <a:pt x="9966" y="10835"/>
                  </a:lnTo>
                  <a:cubicBezTo>
                    <a:pt x="10100" y="10792"/>
                    <a:pt x="10234" y="10749"/>
                    <a:pt x="10368" y="10706"/>
                  </a:cubicBezTo>
                  <a:cubicBezTo>
                    <a:pt x="10502" y="10663"/>
                    <a:pt x="10636" y="10619"/>
                    <a:pt x="10769" y="10576"/>
                  </a:cubicBezTo>
                  <a:lnTo>
                    <a:pt x="11163" y="9205"/>
                  </a:lnTo>
                  <a:lnTo>
                    <a:pt x="12121" y="9417"/>
                  </a:lnTo>
                  <a:lnTo>
                    <a:pt x="12954" y="10598"/>
                  </a:lnTo>
                  <a:lnTo>
                    <a:pt x="12814" y="12159"/>
                  </a:lnTo>
                  <a:lnTo>
                    <a:pt x="12288" y="12286"/>
                  </a:lnTo>
                  <a:lnTo>
                    <a:pt x="11614" y="11605"/>
                  </a:lnTo>
                  <a:lnTo>
                    <a:pt x="9892" y="11743"/>
                  </a:lnTo>
                  <a:lnTo>
                    <a:pt x="10931" y="12721"/>
                  </a:lnTo>
                  <a:lnTo>
                    <a:pt x="10307" y="13907"/>
                  </a:lnTo>
                  <a:lnTo>
                    <a:pt x="9675" y="14854"/>
                  </a:lnTo>
                  <a:lnTo>
                    <a:pt x="9797" y="16013"/>
                  </a:lnTo>
                  <a:lnTo>
                    <a:pt x="10592" y="16703"/>
                  </a:lnTo>
                  <a:lnTo>
                    <a:pt x="11767" y="17321"/>
                  </a:lnTo>
                  <a:lnTo>
                    <a:pt x="12257" y="18192"/>
                  </a:lnTo>
                  <a:lnTo>
                    <a:pt x="11484" y="19106"/>
                  </a:lnTo>
                  <a:lnTo>
                    <a:pt x="12200" y="19863"/>
                  </a:lnTo>
                  <a:lnTo>
                    <a:pt x="13921" y="19106"/>
                  </a:lnTo>
                  <a:lnTo>
                    <a:pt x="14712" y="19900"/>
                  </a:lnTo>
                  <a:lnTo>
                    <a:pt x="16891" y="19447"/>
                  </a:lnTo>
                  <a:lnTo>
                    <a:pt x="17656" y="20543"/>
                  </a:lnTo>
                  <a:lnTo>
                    <a:pt x="18884" y="20790"/>
                  </a:lnTo>
                  <a:lnTo>
                    <a:pt x="19758" y="21600"/>
                  </a:lnTo>
                  <a:lnTo>
                    <a:pt x="20546" y="20881"/>
                  </a:lnTo>
                  <a:lnTo>
                    <a:pt x="20923" y="20132"/>
                  </a:lnTo>
                  <a:lnTo>
                    <a:pt x="21600" y="20044"/>
                  </a:lnTo>
                </a:path>
              </a:pathLst>
            </a:custGeom>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619" name="线条"/>
            <p:cNvSpPr/>
            <p:nvPr/>
          </p:nvSpPr>
          <p:spPr>
            <a:xfrm>
              <a:off x="5858569" y="4199849"/>
              <a:ext cx="516399" cy="4662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890" y="775"/>
                  </a:lnTo>
                  <a:lnTo>
                    <a:pt x="2188" y="1380"/>
                  </a:lnTo>
                  <a:lnTo>
                    <a:pt x="2772" y="2734"/>
                  </a:lnTo>
                  <a:lnTo>
                    <a:pt x="3444" y="3296"/>
                  </a:lnTo>
                  <a:lnTo>
                    <a:pt x="4914" y="3200"/>
                  </a:lnTo>
                  <a:lnTo>
                    <a:pt x="5679" y="3615"/>
                  </a:lnTo>
                  <a:lnTo>
                    <a:pt x="5926" y="4684"/>
                  </a:lnTo>
                  <a:lnTo>
                    <a:pt x="7654" y="4639"/>
                  </a:lnTo>
                  <a:lnTo>
                    <a:pt x="7881" y="5561"/>
                  </a:lnTo>
                  <a:lnTo>
                    <a:pt x="7399" y="6759"/>
                  </a:lnTo>
                  <a:lnTo>
                    <a:pt x="7018" y="8229"/>
                  </a:lnTo>
                  <a:lnTo>
                    <a:pt x="8198" y="7990"/>
                  </a:lnTo>
                  <a:lnTo>
                    <a:pt x="8563" y="8985"/>
                  </a:lnTo>
                  <a:lnTo>
                    <a:pt x="8681" y="10041"/>
                  </a:lnTo>
                  <a:lnTo>
                    <a:pt x="9966" y="10835"/>
                  </a:lnTo>
                  <a:cubicBezTo>
                    <a:pt x="10100" y="10792"/>
                    <a:pt x="10234" y="10749"/>
                    <a:pt x="10368" y="10706"/>
                  </a:cubicBezTo>
                  <a:cubicBezTo>
                    <a:pt x="10502" y="10663"/>
                    <a:pt x="10636" y="10619"/>
                    <a:pt x="10769" y="10576"/>
                  </a:cubicBezTo>
                  <a:lnTo>
                    <a:pt x="11163" y="9205"/>
                  </a:lnTo>
                  <a:lnTo>
                    <a:pt x="12121" y="9417"/>
                  </a:lnTo>
                  <a:lnTo>
                    <a:pt x="12954" y="10598"/>
                  </a:lnTo>
                  <a:lnTo>
                    <a:pt x="12814" y="12159"/>
                  </a:lnTo>
                  <a:lnTo>
                    <a:pt x="12288" y="12286"/>
                  </a:lnTo>
                  <a:lnTo>
                    <a:pt x="11614" y="11605"/>
                  </a:lnTo>
                  <a:lnTo>
                    <a:pt x="9892" y="11743"/>
                  </a:lnTo>
                  <a:lnTo>
                    <a:pt x="10931" y="12721"/>
                  </a:lnTo>
                  <a:lnTo>
                    <a:pt x="10307" y="13907"/>
                  </a:lnTo>
                  <a:lnTo>
                    <a:pt x="9675" y="14854"/>
                  </a:lnTo>
                  <a:lnTo>
                    <a:pt x="9797" y="16013"/>
                  </a:lnTo>
                  <a:lnTo>
                    <a:pt x="10592" y="16703"/>
                  </a:lnTo>
                  <a:lnTo>
                    <a:pt x="11767" y="17321"/>
                  </a:lnTo>
                  <a:lnTo>
                    <a:pt x="12257" y="18192"/>
                  </a:lnTo>
                  <a:lnTo>
                    <a:pt x="11484" y="19106"/>
                  </a:lnTo>
                  <a:lnTo>
                    <a:pt x="12200" y="19863"/>
                  </a:lnTo>
                  <a:lnTo>
                    <a:pt x="13921" y="19106"/>
                  </a:lnTo>
                  <a:lnTo>
                    <a:pt x="14712" y="19900"/>
                  </a:lnTo>
                  <a:lnTo>
                    <a:pt x="16891" y="19447"/>
                  </a:lnTo>
                  <a:lnTo>
                    <a:pt x="17656" y="20543"/>
                  </a:lnTo>
                  <a:lnTo>
                    <a:pt x="18884" y="20790"/>
                  </a:lnTo>
                  <a:lnTo>
                    <a:pt x="19758" y="21600"/>
                  </a:lnTo>
                  <a:lnTo>
                    <a:pt x="20546" y="20881"/>
                  </a:lnTo>
                  <a:lnTo>
                    <a:pt x="20923" y="20132"/>
                  </a:lnTo>
                  <a:lnTo>
                    <a:pt x="21600" y="20044"/>
                  </a:lnTo>
                </a:path>
              </a:pathLst>
            </a:custGeom>
            <a:ln>
              <a:solidFill>
                <a:srgbClr val="FFFFFF"/>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620" name="Oval 83"/>
            <p:cNvSpPr>
              <a:spLocks noChangeArrowheads="1"/>
            </p:cNvSpPr>
            <p:nvPr/>
          </p:nvSpPr>
          <p:spPr bwMode="auto">
            <a:xfrm>
              <a:off x="7666649" y="4747337"/>
              <a:ext cx="216000" cy="216000"/>
            </a:xfrm>
            <a:prstGeom prst="ellipse">
              <a:avLst/>
            </a:prstGeom>
            <a:ln>
              <a:headEnd/>
              <a:tailEnd/>
            </a:ln>
          </p:spPr>
          <p:style>
            <a:lnRef idx="1">
              <a:schemeClr val="accent3"/>
            </a:lnRef>
            <a:fillRef idx="3">
              <a:schemeClr val="accent3"/>
            </a:fillRef>
            <a:effectRef idx="2">
              <a:schemeClr val="accent3"/>
            </a:effectRef>
            <a:fontRef idx="minor">
              <a:schemeClr val="lt1"/>
            </a:fontRef>
          </p:style>
          <p:txBody>
            <a:bodyPr wrap="none" lIns="92075" tIns="46038" rIns="92075" bIns="46038"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GB" altLang="zh-CN" sz="1400" b="1" dirty="0" smtClean="0">
                  <a:latin typeface="黑体" pitchFamily="2" charset="-122"/>
                  <a:ea typeface="黑体" pitchFamily="2" charset="-122"/>
                </a:rPr>
                <a:t>1</a:t>
              </a:r>
              <a:endParaRPr lang="en-GB" altLang="zh-CN" sz="1400" b="1" dirty="0">
                <a:latin typeface="黑体" pitchFamily="2" charset="-122"/>
                <a:ea typeface="黑体" pitchFamily="2" charset="-122"/>
              </a:endParaRPr>
            </a:p>
          </p:txBody>
        </p:sp>
      </p:grpSp>
      <p:grpSp>
        <p:nvGrpSpPr>
          <p:cNvPr id="201" name="Group 200"/>
          <p:cNvGrpSpPr/>
          <p:nvPr>
            <p:custDataLst>
              <p:tags r:id="rId6"/>
            </p:custDataLst>
          </p:nvPr>
        </p:nvGrpSpPr>
        <p:grpSpPr>
          <a:xfrm>
            <a:off x="5283980" y="704088"/>
            <a:ext cx="4236835" cy="138499"/>
            <a:chOff x="5283980" y="704088"/>
            <a:chExt cx="4236835" cy="138499"/>
          </a:xfrm>
        </p:grpSpPr>
        <p:sp>
          <p:nvSpPr>
            <p:cNvPr id="202" name="745">
              <a:hlinkClick r:id="rId13" action="ppaction://hlinksldjump"/>
            </p:cNvPr>
            <p:cNvSpPr txBox="1"/>
            <p:nvPr>
              <p:custDataLst>
                <p:tags r:id="rId7"/>
              </p:custDataLst>
            </p:nvPr>
          </p:nvSpPr>
          <p:spPr>
            <a:xfrm>
              <a:off x="7868824" y="704088"/>
              <a:ext cx="1651991" cy="138499"/>
            </a:xfrm>
            <a:prstGeom prst="rect">
              <a:avLst/>
            </a:prstGeom>
            <a:noFill/>
            <a:ln>
              <a:noFill/>
            </a:ln>
          </p:spPr>
          <p:txBody>
            <a:bodyPr wrap="none" lIns="27432" tIns="0" rIns="27432" bIns="0" rtlCol="0">
              <a:spAutoFit/>
            </a:bodyPr>
            <a:lstStyle/>
            <a:p>
              <a:r>
                <a:rPr lang="en-US" sz="900" noProof="1" smtClean="0">
                  <a:solidFill>
                    <a:schemeClr val="tx2"/>
                  </a:solidFill>
                  <a:cs typeface="Arial" pitchFamily="34" charset="0"/>
                </a:rPr>
                <a:t>Part II  Indirect Equity Transfer </a:t>
              </a:r>
              <a:endParaRPr lang="en-GB" sz="900" noProof="1" smtClean="0">
                <a:solidFill>
                  <a:schemeClr val="tx2"/>
                </a:solidFill>
                <a:cs typeface="Arial" pitchFamily="34" charset="0"/>
              </a:endParaRPr>
            </a:p>
          </p:txBody>
        </p:sp>
        <p:cxnSp>
          <p:nvCxnSpPr>
            <p:cNvPr id="203" name="Divider1"/>
            <p:cNvCxnSpPr/>
            <p:nvPr>
              <p:custDataLst>
                <p:tags r:id="rId8"/>
              </p:custDataLst>
            </p:nvPr>
          </p:nvCxnSpPr>
          <p:spPr>
            <a:xfrm>
              <a:off x="7843424"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04" name="638">
              <a:hlinkClick r:id="rId14" action="ppaction://hlinksldjump"/>
            </p:cNvPr>
            <p:cNvSpPr txBox="1"/>
            <p:nvPr>
              <p:custDataLst>
                <p:tags r:id="rId9"/>
              </p:custDataLst>
            </p:nvPr>
          </p:nvSpPr>
          <p:spPr>
            <a:xfrm>
              <a:off x="5787725" y="704088"/>
              <a:ext cx="2030299" cy="138499"/>
            </a:xfrm>
            <a:prstGeom prst="rect">
              <a:avLst/>
            </a:prstGeom>
            <a:noFill/>
            <a:ln>
              <a:noFill/>
            </a:ln>
          </p:spPr>
          <p:txBody>
            <a:bodyPr wrap="none" lIns="27432" tIns="0" rIns="27432" bIns="0" rtlCol="0">
              <a:spAutoFit/>
            </a:bodyPr>
            <a:lstStyle/>
            <a:p>
              <a:r>
                <a:rPr lang="en-US" sz="900" noProof="1" smtClean="0">
                  <a:solidFill>
                    <a:schemeClr val="tx1"/>
                  </a:solidFill>
                  <a:latin typeface="+mn-lt"/>
                  <a:cs typeface="Arial" pitchFamily="34" charset="0"/>
                </a:rPr>
                <a:t>Part I  Brief Introduction to PRC GAAR</a:t>
              </a:r>
              <a:endParaRPr lang="en-GB" sz="900" noProof="1" smtClean="0">
                <a:solidFill>
                  <a:schemeClr val="tx1"/>
                </a:solidFill>
                <a:latin typeface="+mn-lt"/>
                <a:cs typeface="Arial" pitchFamily="34" charset="0"/>
              </a:endParaRPr>
            </a:p>
          </p:txBody>
        </p:sp>
        <p:cxnSp>
          <p:nvCxnSpPr>
            <p:cNvPr id="205" name="Divider2"/>
            <p:cNvCxnSpPr/>
            <p:nvPr>
              <p:custDataLst>
                <p:tags r:id="rId10"/>
              </p:custDataLst>
            </p:nvPr>
          </p:nvCxnSpPr>
          <p:spPr>
            <a:xfrm>
              <a:off x="5762325"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206" name="735">
              <a:hlinkClick r:id="rId15" action="ppaction://hlinksldjump"/>
            </p:cNvPr>
            <p:cNvSpPr txBox="1"/>
            <p:nvPr>
              <p:custDataLst>
                <p:tags r:id="rId11"/>
              </p:custDataLst>
            </p:nvPr>
          </p:nvSpPr>
          <p:spPr>
            <a:xfrm>
              <a:off x="5283980" y="704088"/>
              <a:ext cx="452945" cy="138499"/>
            </a:xfrm>
            <a:prstGeom prst="rect">
              <a:avLst/>
            </a:prstGeom>
            <a:noFill/>
            <a:ln>
              <a:noFill/>
            </a:ln>
          </p:spPr>
          <p:txBody>
            <a:bodyPr wrap="none" lIns="27432" tIns="0" rIns="27432" bIns="0" rtlCol="0">
              <a:spAutoFit/>
            </a:bodyPr>
            <a:lstStyle/>
            <a:p>
              <a:r>
                <a:rPr lang="en-GB" sz="900" noProof="1" smtClean="0">
                  <a:solidFill>
                    <a:schemeClr val="tx1"/>
                  </a:solidFill>
                  <a:latin typeface="+mn-lt"/>
                  <a:cs typeface="Arial" pitchFamily="34" charset="0"/>
                </a:rPr>
                <a:t>Agenda</a:t>
              </a:r>
              <a:endParaRPr lang="en-GB" sz="900" noProof="1" smtClean="0">
                <a:solidFill>
                  <a:schemeClr val="tx1"/>
                </a:solidFill>
                <a:latin typeface="+mn-lt"/>
                <a:cs typeface="Arial" pitchFamily="34" charset="0"/>
              </a:endParaRPr>
            </a:p>
          </p:txBody>
        </p:sp>
      </p:grpSp>
    </p:spTree>
    <p:custDataLst>
      <p:tags r:id="rId1"/>
    </p:custDataLst>
    <p:extLst>
      <p:ext uri="{BB962C8B-B14F-4D97-AF65-F5344CB8AC3E}">
        <p14:creationId xmlns:p14="http://schemas.microsoft.com/office/powerpoint/2010/main" val="2315569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id" hidden="1"/>
          <p:cNvGrpSpPr/>
          <p:nvPr>
            <p:custDataLst>
              <p:tags r:id="rId2"/>
            </p:custDataLst>
          </p:nvPr>
        </p:nvGrpSpPr>
        <p:grpSpPr>
          <a:xfrm>
            <a:off x="530352" y="612648"/>
            <a:ext cx="8997696" cy="6848856"/>
            <a:chOff x="530352" y="612648"/>
            <a:chExt cx="8997696" cy="6848856"/>
          </a:xfrm>
        </p:grpSpPr>
        <p:grpSp>
          <p:nvGrpSpPr>
            <p:cNvPr id="22" name="Group 21" hidden="1"/>
            <p:cNvGrpSpPr/>
            <p:nvPr userDrawn="1"/>
          </p:nvGrpSpPr>
          <p:grpSpPr>
            <a:xfrm>
              <a:off x="530352" y="7159752"/>
              <a:ext cx="8997696" cy="301752"/>
              <a:chOff x="530352" y="7159752"/>
              <a:chExt cx="8997696" cy="301752"/>
            </a:xfrm>
          </p:grpSpPr>
          <p:sp>
            <p:nvSpPr>
              <p:cNvPr id="69"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70"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71"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grpSp>
        <p:grpSp>
          <p:nvGrpSpPr>
            <p:cNvPr id="23" name="Group 22" hidden="1"/>
            <p:cNvGrpSpPr/>
            <p:nvPr userDrawn="1"/>
          </p:nvGrpSpPr>
          <p:grpSpPr>
            <a:xfrm>
              <a:off x="530352" y="1066800"/>
              <a:ext cx="8997696" cy="835152"/>
              <a:chOff x="530352" y="1066800"/>
              <a:chExt cx="8997696" cy="835152"/>
            </a:xfrm>
          </p:grpSpPr>
          <p:sp>
            <p:nvSpPr>
              <p:cNvPr id="67"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sp>
            <p:nvSpPr>
              <p:cNvPr id="68"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grpSp>
        <p:sp>
          <p:nvSpPr>
            <p:cNvPr id="24"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en-GB" sz="1400" dirty="0">
                <a:solidFill>
                  <a:schemeClr val="folHlink"/>
                </a:solidFill>
                <a:cs typeface="Arial" charset="0"/>
              </a:endParaRPr>
            </a:p>
          </p:txBody>
        </p:sp>
        <p:grpSp>
          <p:nvGrpSpPr>
            <p:cNvPr id="25" name="Group 600" hidden="1"/>
            <p:cNvGrpSpPr/>
            <p:nvPr userDrawn="1"/>
          </p:nvGrpSpPr>
          <p:grpSpPr>
            <a:xfrm>
              <a:off x="533400" y="6245352"/>
              <a:ext cx="8994648" cy="688848"/>
              <a:chOff x="533400" y="6013704"/>
              <a:chExt cx="8994648" cy="688848"/>
            </a:xfrm>
          </p:grpSpPr>
          <p:sp>
            <p:nvSpPr>
              <p:cNvPr id="61"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62"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63"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64"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65"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66"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26" name="Group 500" hidden="1"/>
            <p:cNvGrpSpPr/>
            <p:nvPr userDrawn="1"/>
          </p:nvGrpSpPr>
          <p:grpSpPr>
            <a:xfrm>
              <a:off x="533400" y="5407152"/>
              <a:ext cx="8994648" cy="688848"/>
              <a:chOff x="533400" y="5026152"/>
              <a:chExt cx="8994648" cy="688848"/>
            </a:xfrm>
          </p:grpSpPr>
          <p:sp>
            <p:nvSpPr>
              <p:cNvPr id="55"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56"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57"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58"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59"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60"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27" name="Group 400" hidden="1"/>
            <p:cNvGrpSpPr/>
            <p:nvPr userDrawn="1"/>
          </p:nvGrpSpPr>
          <p:grpSpPr>
            <a:xfrm>
              <a:off x="533400" y="4568952"/>
              <a:ext cx="8994648" cy="688848"/>
              <a:chOff x="533400" y="4038600"/>
              <a:chExt cx="8994648" cy="688848"/>
            </a:xfrm>
          </p:grpSpPr>
          <p:sp>
            <p:nvSpPr>
              <p:cNvPr id="49"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50"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51"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52"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53"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54"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28" name="Group 300" hidden="1"/>
            <p:cNvGrpSpPr/>
            <p:nvPr userDrawn="1"/>
          </p:nvGrpSpPr>
          <p:grpSpPr>
            <a:xfrm>
              <a:off x="533400" y="3730752"/>
              <a:ext cx="8994648" cy="688848"/>
              <a:chOff x="533400" y="3041904"/>
              <a:chExt cx="8994648" cy="688848"/>
            </a:xfrm>
          </p:grpSpPr>
          <p:sp>
            <p:nvSpPr>
              <p:cNvPr id="43"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4"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5"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6"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7"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8"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29" name="Group 200" hidden="1"/>
            <p:cNvGrpSpPr/>
            <p:nvPr userDrawn="1"/>
          </p:nvGrpSpPr>
          <p:grpSpPr>
            <a:xfrm>
              <a:off x="533400" y="2892552"/>
              <a:ext cx="8994648" cy="688848"/>
              <a:chOff x="533400" y="1066800"/>
              <a:chExt cx="8994648" cy="688848"/>
            </a:xfrm>
          </p:grpSpPr>
          <p:sp>
            <p:nvSpPr>
              <p:cNvPr id="37"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8"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9"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0"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1"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2"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30" name="Group 100" hidden="1"/>
            <p:cNvGrpSpPr/>
            <p:nvPr userDrawn="1"/>
          </p:nvGrpSpPr>
          <p:grpSpPr>
            <a:xfrm>
              <a:off x="533400" y="2054352"/>
              <a:ext cx="8994648" cy="688848"/>
              <a:chOff x="533400" y="2054352"/>
              <a:chExt cx="8994648" cy="688848"/>
            </a:xfrm>
          </p:grpSpPr>
          <p:sp>
            <p:nvSpPr>
              <p:cNvPr id="31"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2"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3"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4"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5"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6"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graphicFrame>
        <p:nvGraphicFramePr>
          <p:cNvPr id="2" name="Table 1"/>
          <p:cNvGraphicFramePr>
            <a:graphicFrameLocks noGrp="1"/>
          </p:cNvGraphicFramePr>
          <p:nvPr>
            <p:custDataLst>
              <p:tags r:id="rId3"/>
            </p:custDataLst>
            <p:extLst>
              <p:ext uri="{D42A27DB-BD31-4B8C-83A1-F6EECF244321}">
                <p14:modId xmlns:p14="http://schemas.microsoft.com/office/powerpoint/2010/main" val="4218865092"/>
              </p:ext>
            </p:extLst>
          </p:nvPr>
        </p:nvGraphicFramePr>
        <p:xfrm>
          <a:off x="3589200" y="1029600"/>
          <a:ext cx="5940923" cy="481584"/>
        </p:xfrm>
        <a:graphic>
          <a:graphicData uri="http://schemas.openxmlformats.org/drawingml/2006/table">
            <a:tbl>
              <a:tblPr>
                <a:tableStyleId>{2D5ABB26-0587-4C30-8999-92F81FD0307C}</a:tableStyleId>
              </a:tblPr>
              <a:tblGrid>
                <a:gridCol w="4672636">
                  <a:extLst>
                    <a:ext uri="{9D8B030D-6E8A-4147-A177-3AD203B41FA5}">
                      <a16:colId xmlns:a16="http://schemas.microsoft.com/office/drawing/2014/main" val="20000"/>
                    </a:ext>
                  </a:extLst>
                </a:gridCol>
                <a:gridCol w="1268287">
                  <a:extLst>
                    <a:ext uri="{9D8B030D-6E8A-4147-A177-3AD203B41FA5}">
                      <a16:colId xmlns:a16="http://schemas.microsoft.com/office/drawing/2014/main" val="20001"/>
                    </a:ext>
                  </a:extLst>
                </a:gridCol>
              </a:tblGrid>
              <a:tr h="182880">
                <a:tc>
                  <a:txBody>
                    <a:bodyPr/>
                    <a:lstStyle/>
                    <a:p>
                      <a:pPr marL="548640" marR="0" lvl="0" indent="-548640" algn="l" defTabSz="548640" rtl="0" eaLnBrk="1" fontAlgn="base" latinLnBrk="0" hangingPunct="1">
                        <a:lnSpc>
                          <a:spcPct val="100000"/>
                        </a:lnSpc>
                        <a:spcBef>
                          <a:spcPct val="0"/>
                        </a:spcBef>
                        <a:spcAft>
                          <a:spcPct val="0"/>
                        </a:spcAft>
                        <a:buClrTx/>
                        <a:buSzTx/>
                        <a:buFontTx/>
                        <a:buNone/>
                        <a:tabLst>
                          <a:tab pos="548640" algn="l"/>
                        </a:tabLst>
                      </a:pPr>
                      <a:r>
                        <a:rPr kumimoji="0" lang="en-US" sz="1100" b="1" i="0" u="none" strike="noStrike" kern="1200" cap="none" normalizeH="0" baseline="0" noProof="1" smtClean="0">
                          <a:ln>
                            <a:noFill/>
                          </a:ln>
                          <a:solidFill>
                            <a:srgbClr val="821A1A"/>
                          </a:solidFill>
                          <a:effectLst/>
                          <a:latin typeface="Georgia" pitchFamily="18" charset="0"/>
                          <a:ea typeface="+mn-ea"/>
                          <a:cs typeface="+mn-cs"/>
                        </a:rPr>
                        <a:t>Part I  Brief Introduction to PRC GAAR</a:t>
                      </a:r>
                      <a:endParaRPr kumimoji="0" lang="en-GB" sz="1100" b="1" i="0" u="none" strike="noStrike" kern="1200" cap="none" normalizeH="0" baseline="0" noProof="1">
                        <a:ln>
                          <a:noFill/>
                        </a:ln>
                        <a:solidFill>
                          <a:srgbClr val="821A1A"/>
                        </a:solidFill>
                        <a:effectLst/>
                        <a:latin typeface="Georgia" pitchFamily="18" charset="0"/>
                        <a:ea typeface="+mn-ea"/>
                        <a:cs typeface="+mn-cs"/>
                      </a:endParaRPr>
                    </a:p>
                  </a:txBody>
                  <a:tcPr marL="0" marR="0" marT="36576" marB="36576" horzOverflow="overflow">
                    <a:lnL>
                      <a:noFill/>
                    </a:lnL>
                    <a:lnR>
                      <a:noFill/>
                    </a:lnR>
                    <a:lnT w="12700" cap="sq" cmpd="sng" algn="ctr">
                      <a:solidFill>
                        <a:schemeClr val="tx1">
                          <a:alpha val="0"/>
                        </a:schemeClr>
                      </a:solidFill>
                      <a:prstDash val="dot"/>
                      <a:round/>
                      <a:headEnd type="none" w="med" len="med"/>
                      <a:tailEnd type="none" w="med" len="med"/>
                    </a:lnT>
                    <a:lnB w="12700" cap="sq"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FFFFFF">
                        <a:alpha val="0"/>
                      </a:srgbClr>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noProof="1" smtClean="0">
                          <a:ln>
                            <a:noFill/>
                          </a:ln>
                          <a:solidFill>
                            <a:srgbClr val="821A1A"/>
                          </a:solidFill>
                          <a:effectLst/>
                          <a:latin typeface="Georgia" pitchFamily="18" charset="0"/>
                        </a:rPr>
                        <a:t>3</a:t>
                      </a:r>
                      <a:endParaRPr kumimoji="0" lang="en-GB" sz="1100" b="1" i="0" u="none" strike="noStrike" cap="none" normalizeH="0" baseline="0" noProof="1">
                        <a:ln>
                          <a:noFill/>
                        </a:ln>
                        <a:solidFill>
                          <a:srgbClr val="821A1A"/>
                        </a:solidFill>
                        <a:effectLst/>
                        <a:latin typeface="Georgia" pitchFamily="18" charset="0"/>
                      </a:endParaRPr>
                    </a:p>
                  </a:txBody>
                  <a:tcPr marL="0" marR="0" marT="36576" marB="36576" horzOverflow="overflow">
                    <a:lnL>
                      <a:noFill/>
                    </a:lnL>
                    <a:lnR>
                      <a:noFill/>
                    </a:lnR>
                    <a:lnT w="12700" cap="sq" cmpd="sng" algn="ctr">
                      <a:solidFill>
                        <a:schemeClr val="tx1">
                          <a:alpha val="0"/>
                        </a:schemeClr>
                      </a:solidFill>
                      <a:prstDash val="dot"/>
                      <a:round/>
                      <a:headEnd type="none" w="med" len="med"/>
                      <a:tailEnd type="none" w="med" len="med"/>
                    </a:lnT>
                    <a:lnB w="12700" cap="sq" cmpd="sng" algn="ctr">
                      <a:solidFill>
                        <a:schemeClr val="tx1"/>
                      </a:solidFill>
                      <a:prstDash val="dot"/>
                      <a:round/>
                      <a:headEnd type="none" w="med" len="med"/>
                      <a:tailEnd type="none" w="med" len="med"/>
                    </a:lnB>
                    <a:lnTlToBr w="12700" cmpd="sng">
                      <a:noFill/>
                      <a:prstDash val="solid"/>
                    </a:lnTlToBr>
                    <a:lnBlToTr w="12700" cmpd="sng">
                      <a:noFill/>
                      <a:prstDash val="solid"/>
                    </a:lnBlToTr>
                    <a:solidFill>
                      <a:srgbClr val="FFFFFF">
                        <a:alpha val="0"/>
                      </a:srgbClr>
                    </a:solidFill>
                  </a:tcPr>
                </a:tc>
                <a:extLst>
                  <a:ext uri="{0D108BD9-81ED-4DB2-BD59-A6C34878D82A}">
                    <a16:rowId xmlns:a16="http://schemas.microsoft.com/office/drawing/2014/main" val="3621650427"/>
                  </a:ext>
                </a:extLst>
              </a:tr>
              <a:tr h="182880">
                <a:tc>
                  <a:txBody>
                    <a:bodyPr/>
                    <a:lstStyle/>
                    <a:p>
                      <a:pPr marL="548640" marR="0" lvl="0" indent="-548640" algn="l" defTabSz="548640" rtl="0" eaLnBrk="1" fontAlgn="base" latinLnBrk="0" hangingPunct="1">
                        <a:lnSpc>
                          <a:spcPct val="100000"/>
                        </a:lnSpc>
                        <a:spcBef>
                          <a:spcPct val="0"/>
                        </a:spcBef>
                        <a:spcAft>
                          <a:spcPct val="0"/>
                        </a:spcAft>
                        <a:buClrTx/>
                        <a:buSzTx/>
                        <a:buFontTx/>
                        <a:buNone/>
                        <a:tabLst>
                          <a:tab pos="548640" algn="l"/>
                        </a:tabLst>
                      </a:pPr>
                      <a:r>
                        <a:rPr kumimoji="0" lang="en-US" sz="1100" b="1" i="0" u="none" strike="noStrike" kern="1200" cap="none" normalizeH="0" baseline="0" noProof="1" smtClean="0">
                          <a:ln>
                            <a:noFill/>
                          </a:ln>
                          <a:solidFill>
                            <a:srgbClr val="821A1A"/>
                          </a:solidFill>
                          <a:effectLst/>
                          <a:latin typeface="Georgia" pitchFamily="18" charset="0"/>
                          <a:ea typeface="+mn-ea"/>
                          <a:cs typeface="+mn-cs"/>
                        </a:rPr>
                        <a:t>Part II  Indirect Equity Transfer </a:t>
                      </a:r>
                      <a:endParaRPr kumimoji="0" lang="en-GB" sz="1100" b="1" i="0" u="none" strike="noStrike" kern="1200" cap="none" normalizeH="0" baseline="0" noProof="1">
                        <a:ln>
                          <a:noFill/>
                        </a:ln>
                        <a:solidFill>
                          <a:srgbClr val="821A1A"/>
                        </a:solidFill>
                        <a:effectLst/>
                        <a:latin typeface="Georgia" pitchFamily="18" charset="0"/>
                        <a:ea typeface="+mn-ea"/>
                        <a:cs typeface="+mn-cs"/>
                      </a:endParaRPr>
                    </a:p>
                  </a:txBody>
                  <a:tcPr marL="0" marR="0" marT="36576" marB="36576" horzOverflow="overflow">
                    <a:lnL>
                      <a:noFill/>
                    </a:lnL>
                    <a:lnR>
                      <a:noFill/>
                    </a:lnR>
                    <a:lnT w="12700" cap="sq" cmpd="sng" algn="ctr">
                      <a:solidFill>
                        <a:schemeClr val="tx1"/>
                      </a:solidFill>
                      <a:prstDash val="dot"/>
                      <a:round/>
                      <a:headEnd type="none" w="med" len="med"/>
                      <a:tailEnd type="none" w="med" len="med"/>
                    </a:lnT>
                    <a:lnB>
                      <a:noFill/>
                    </a:lnB>
                    <a:lnTlToBr w="12700" cmpd="sng">
                      <a:noFill/>
                      <a:prstDash val="solid"/>
                    </a:lnTlToBr>
                    <a:lnBlToTr w="12700" cmpd="sng">
                      <a:noFill/>
                      <a:prstDash val="solid"/>
                    </a:lnBlToTr>
                    <a:solidFill>
                      <a:srgbClr val="FFFFFF">
                        <a:alpha val="0"/>
                      </a:srgbClr>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GB" sz="1100" b="1" i="0" u="none" strike="noStrike" cap="none" normalizeH="0" baseline="0" noProof="1" smtClean="0">
                          <a:ln>
                            <a:noFill/>
                          </a:ln>
                          <a:solidFill>
                            <a:srgbClr val="821A1A"/>
                          </a:solidFill>
                          <a:effectLst/>
                          <a:latin typeface="Georgia" pitchFamily="18" charset="0"/>
                        </a:rPr>
                        <a:t>9</a:t>
                      </a:r>
                      <a:endParaRPr kumimoji="0" lang="en-GB" sz="1100" b="1" i="0" u="none" strike="noStrike" cap="none" normalizeH="0" baseline="0" noProof="1">
                        <a:ln>
                          <a:noFill/>
                        </a:ln>
                        <a:solidFill>
                          <a:srgbClr val="821A1A"/>
                        </a:solidFill>
                        <a:effectLst/>
                        <a:latin typeface="Georgia" pitchFamily="18" charset="0"/>
                      </a:endParaRPr>
                    </a:p>
                  </a:txBody>
                  <a:tcPr marL="0" marR="0" marT="36576" marB="36576" horzOverflow="overflow">
                    <a:lnL>
                      <a:noFill/>
                    </a:lnL>
                    <a:lnR>
                      <a:noFill/>
                    </a:lnR>
                    <a:lnT w="12700" cap="sq" cmpd="sng" algn="ctr">
                      <a:solidFill>
                        <a:schemeClr val="tx1"/>
                      </a:solidFill>
                      <a:prstDash val="dot"/>
                      <a:round/>
                      <a:headEnd type="none" w="med" len="med"/>
                      <a:tailEnd type="none" w="med" len="med"/>
                    </a:lnT>
                    <a:lnB>
                      <a:noFill/>
                    </a:lnB>
                    <a:lnTlToBr w="12700" cmpd="sng">
                      <a:noFill/>
                      <a:prstDash val="solid"/>
                    </a:lnTlToBr>
                    <a:lnBlToTr w="12700" cmpd="sng">
                      <a:noFill/>
                      <a:prstDash val="solid"/>
                    </a:lnBlToTr>
                    <a:solidFill>
                      <a:srgbClr val="FFFFFF">
                        <a:alpha val="0"/>
                      </a:srgbClr>
                    </a:solidFill>
                  </a:tcPr>
                </a:tc>
                <a:extLst>
                  <a:ext uri="{0D108BD9-81ED-4DB2-BD59-A6C34878D82A}">
                    <a16:rowId xmlns:a16="http://schemas.microsoft.com/office/drawing/2014/main" val="424643702"/>
                  </a:ext>
                </a:extLst>
              </a:tr>
            </a:tbl>
          </a:graphicData>
        </a:graphic>
      </p:graphicFrame>
      <p:sp>
        <p:nvSpPr>
          <p:cNvPr id="4" name="Rectangle 3"/>
          <p:cNvSpPr>
            <a:spLocks noGrp="1"/>
          </p:cNvSpPr>
          <p:nvPr>
            <p:custDataLst>
              <p:tags r:id="rId4"/>
            </p:custDataLst>
          </p:nvPr>
        </p:nvSpPr>
        <p:spPr>
          <a:xfrm>
            <a:off x="529200" y="1004399"/>
            <a:ext cx="2901600" cy="838800"/>
          </a:xfrm>
          <a:prstGeom prst="rect">
            <a:avLst/>
          </a:prstGeom>
        </p:spPr>
        <p:txBody>
          <a:bodyPr vert="horz" wrap="square" lIns="0" tIns="0" rIns="0" bIns="0" rtlCol="0">
            <a:noAutofit/>
          </a:bodyPr>
          <a:lstStyle>
            <a:lvl1pPr marL="0" marR="0" indent="0" algn="l" defTabSz="1019175" rtl="0" eaLnBrk="1" fontAlgn="base" latinLnBrk="0" hangingPunct="1">
              <a:lnSpc>
                <a:spcPct val="100000"/>
              </a:lnSpc>
              <a:spcBef>
                <a:spcPts val="0"/>
              </a:spcBef>
              <a:spcAft>
                <a:spcPts val="0"/>
              </a:spcAft>
              <a:buClr>
                <a:srgbClr val="000000"/>
              </a:buClr>
              <a:buSzTx/>
              <a:buFont typeface="Wingdings" pitchFamily="2" charset="2"/>
              <a:buNone/>
              <a:tabLst/>
              <a:defRPr sz="1100" kern="1200">
                <a:solidFill>
                  <a:schemeClr val="tx1"/>
                </a:solidFill>
                <a:latin typeface="Georgia" pitchFamily="18" charset="0"/>
                <a:ea typeface="+mn-ea"/>
                <a:cs typeface="+mn-cs"/>
              </a:defRPr>
            </a:lvl1pPr>
            <a:lvl2pPr marL="234950" marR="0" indent="-228600" algn="l" defTabSz="1019175" rtl="0" eaLnBrk="1" fontAlgn="base" latinLnBrk="0" hangingPunct="1">
              <a:lnSpc>
                <a:spcPct val="100000"/>
              </a:lnSpc>
              <a:spcBef>
                <a:spcPts val="0"/>
              </a:spcBef>
              <a:spcAft>
                <a:spcPts val="0"/>
              </a:spcAft>
              <a:buClr>
                <a:srgbClr val="000000"/>
              </a:buClr>
              <a:buSzTx/>
              <a:buFont typeface="Times New Roman" pitchFamily="18" charset="0"/>
              <a:buChar char="•"/>
              <a:tabLst/>
              <a:defRPr sz="1100" kern="1200">
                <a:solidFill>
                  <a:schemeClr val="tx1"/>
                </a:solidFill>
                <a:latin typeface="Georgia" pitchFamily="18" charset="0"/>
                <a:ea typeface="+mn-ea"/>
                <a:cs typeface="+mn-cs"/>
              </a:defRPr>
            </a:lvl2pPr>
            <a:lvl3pPr marL="475488" marR="0" indent="-227013" algn="l" defTabSz="1019175" rtl="0" eaLnBrk="1" fontAlgn="base" latinLnBrk="0" hangingPunct="1">
              <a:lnSpc>
                <a:spcPct val="100000"/>
              </a:lnSpc>
              <a:spcBef>
                <a:spcPts val="0"/>
              </a:spcBef>
              <a:spcAft>
                <a:spcPts val="0"/>
              </a:spcAft>
              <a:buClr>
                <a:srgbClr val="000000"/>
              </a:buClr>
              <a:buSzTx/>
              <a:buFont typeface="Arial" pitchFamily="34" charset="0"/>
              <a:buChar char="-"/>
              <a:tabLst/>
              <a:defRPr sz="1100" kern="1200">
                <a:solidFill>
                  <a:schemeClr val="tx1"/>
                </a:solidFill>
                <a:latin typeface="Georgia" pitchFamily="18" charset="0"/>
                <a:ea typeface="+mn-ea"/>
                <a:cs typeface="+mn-cs"/>
              </a:defRPr>
            </a:lvl3pPr>
            <a:lvl4pPr marL="685800" marR="0" indent="-237744" algn="l" defTabSz="1019175" rtl="0" eaLnBrk="1" fontAlgn="base" latinLnBrk="0" hangingPunct="1">
              <a:lnSpc>
                <a:spcPct val="100000"/>
              </a:lnSpc>
              <a:spcBef>
                <a:spcPts val="0"/>
              </a:spcBef>
              <a:spcAft>
                <a:spcPts val="0"/>
              </a:spcAft>
              <a:buClr>
                <a:srgbClr val="000000"/>
              </a:buClr>
              <a:buSzTx/>
              <a:buFont typeface="Georgia" pitchFamily="18" charset="0"/>
              <a:buChar char="◦"/>
              <a:tabLst/>
              <a:defRPr sz="1100" kern="1200">
                <a:solidFill>
                  <a:schemeClr val="tx1"/>
                </a:solidFill>
                <a:latin typeface="Georgia" pitchFamily="18" charset="0"/>
                <a:ea typeface="+mn-ea"/>
                <a:cs typeface="+mn-cs"/>
              </a:defRPr>
            </a:lvl4pPr>
            <a:lvl5pPr marL="914400" marR="0" indent="-228600" algn="l" defTabSz="1019175" rtl="0" eaLnBrk="1" fontAlgn="base" latinLnBrk="0" hangingPunct="1">
              <a:lnSpc>
                <a:spcPct val="100000"/>
              </a:lnSpc>
              <a:spcBef>
                <a:spcPts val="0"/>
              </a:spcBef>
              <a:spcAft>
                <a:spcPts val="0"/>
              </a:spcAft>
              <a:buClr>
                <a:srgbClr val="000000"/>
              </a:buClr>
              <a:buSzTx/>
              <a:buFont typeface="Georgia" pitchFamily="18" charset="0"/>
              <a:buChar char="›"/>
              <a:tabLst/>
              <a:defRPr sz="1100" kern="1200" baseline="0">
                <a:solidFill>
                  <a:schemeClr val="tx1"/>
                </a:solidFill>
                <a:latin typeface="Georgia" pitchFamily="18" charset="0"/>
                <a:ea typeface="+mn-ea"/>
                <a:cs typeface="+mn-cs"/>
              </a:defRPr>
            </a:lvl5pPr>
            <a:lvl6pPr marL="237744" indent="-237744" algn="l" defTabSz="1018824" rtl="0" eaLnBrk="1" latinLnBrk="0" hangingPunct="1">
              <a:lnSpc>
                <a:spcPct val="100000"/>
              </a:lnSpc>
              <a:spcBef>
                <a:spcPts val="0"/>
              </a:spcBef>
              <a:spcAft>
                <a:spcPts val="0"/>
              </a:spcAft>
              <a:buFont typeface="+mj-lt"/>
              <a:buAutoNum type="arabicPeriod"/>
              <a:defRPr lang="en-GB" sz="1100" kern="1200" baseline="0" noProof="0" dirty="0" smtClean="0">
                <a:solidFill>
                  <a:schemeClr val="tx1"/>
                </a:solidFill>
                <a:latin typeface="Georgia" pitchFamily="18" charset="0"/>
                <a:ea typeface="+mn-ea"/>
                <a:cs typeface="+mn-cs"/>
              </a:defRPr>
            </a:lvl6pPr>
            <a:lvl7pPr marL="475488" indent="-228600" algn="l" defTabSz="1018824" rtl="0" eaLnBrk="1" latinLnBrk="0" hangingPunct="1">
              <a:lnSpc>
                <a:spcPct val="100000"/>
              </a:lnSpc>
              <a:spcBef>
                <a:spcPts val="0"/>
              </a:spcBef>
              <a:spcAft>
                <a:spcPts val="0"/>
              </a:spcAft>
              <a:buFont typeface="+mj-lt"/>
              <a:buAutoNum type="alphaLcPeriod"/>
              <a:defRPr lang="en-GB" sz="1100" kern="1200" baseline="0" noProof="0" dirty="0" smtClean="0">
                <a:solidFill>
                  <a:schemeClr val="tx1"/>
                </a:solidFill>
                <a:latin typeface="Georgia" pitchFamily="18" charset="0"/>
                <a:ea typeface="+mn-ea"/>
                <a:cs typeface="+mn-cs"/>
              </a:defRPr>
            </a:lvl7pPr>
            <a:lvl8pPr marL="682625" indent="-228600" algn="l" defTabSz="1018824" rtl="0" eaLnBrk="1" latinLnBrk="0" hangingPunct="1">
              <a:lnSpc>
                <a:spcPct val="100000"/>
              </a:lnSpc>
              <a:spcBef>
                <a:spcPts val="0"/>
              </a:spcBef>
              <a:spcAft>
                <a:spcPts val="0"/>
              </a:spcAft>
              <a:buFont typeface="+mj-lt"/>
              <a:buAutoNum type="romanLcPeriod"/>
              <a:defRPr lang="en-GB" sz="1100" kern="1200" baseline="0" noProof="0" dirty="0" smtClean="0">
                <a:solidFill>
                  <a:schemeClr val="tx1"/>
                </a:solidFill>
                <a:latin typeface="Georgia" pitchFamily="18" charset="0"/>
                <a:ea typeface="+mn-ea"/>
                <a:cs typeface="+mn-cs"/>
              </a:defRPr>
            </a:lvl8pPr>
            <a:lvl9pPr marL="0" indent="0" algn="l" defTabSz="1018824" rtl="0" eaLnBrk="1" latinLnBrk="0" hangingPunct="1">
              <a:lnSpc>
                <a:spcPct val="100000"/>
              </a:lnSpc>
              <a:spcBef>
                <a:spcPts val="0"/>
              </a:spcBef>
              <a:spcAft>
                <a:spcPts val="600"/>
              </a:spcAft>
              <a:buFont typeface="Arial" pitchFamily="34" charset="0"/>
              <a:buNone/>
              <a:defRPr lang="en-GB" sz="1100" b="1" kern="1200" baseline="0" noProof="0" dirty="0" smtClean="0">
                <a:solidFill>
                  <a:schemeClr val="tx2"/>
                </a:solidFill>
                <a:latin typeface="Georgia" pitchFamily="18" charset="0"/>
                <a:ea typeface="+mn-ea"/>
                <a:cs typeface="+mn-cs"/>
              </a:defRPr>
            </a:lvl9pPr>
          </a:lstStyle>
          <a:p>
            <a:pPr lvl="0">
              <a:spcBef>
                <a:spcPct val="0"/>
              </a:spcBef>
              <a:defRPr/>
            </a:pPr>
            <a:r>
              <a:rPr lang="en-GB" altLang="zh-CN" sz="4000" b="1" i="1" dirty="0" smtClean="0">
                <a:solidFill>
                  <a:schemeClr val="tx2"/>
                </a:solidFill>
                <a:latin typeface="+mj-lt"/>
                <a:ea typeface="宋体" panose="02010600030101010101" pitchFamily="2" charset="-122"/>
              </a:rPr>
              <a:t>Agenda</a:t>
            </a:r>
            <a:endParaRPr lang="en-GB" altLang="zh-CN" sz="4000" b="1" i="1" dirty="0">
              <a:solidFill>
                <a:schemeClr val="tx2"/>
              </a:solidFill>
              <a:latin typeface="+mj-lt"/>
              <a:ea typeface="宋体" panose="02010600030101010101" pitchFamily="2" charset="-122"/>
            </a:endParaRPr>
          </a:p>
        </p:txBody>
      </p:sp>
      <p:sp>
        <p:nvSpPr>
          <p:cNvPr id="72" name="Page Number"/>
          <p:cNvSpPr txBox="1"/>
          <p:nvPr>
            <p:custDataLst>
              <p:tags r:id="rId5"/>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en-GB" sz="1100" noProof="1" smtClean="0">
                <a:latin typeface="+mj-lt"/>
              </a:rPr>
              <a:t>2</a:t>
            </a:r>
            <a:endParaRPr lang="en-GB" sz="1100" noProof="1" smtClean="0">
              <a:latin typeface="+mj-lt"/>
            </a:endParaRPr>
          </a:p>
        </p:txBody>
      </p:sp>
      <p:sp>
        <p:nvSpPr>
          <p:cNvPr id="73" name="Section Footer"/>
          <p:cNvSpPr txBox="1"/>
          <p:nvPr>
            <p:custDataLst>
              <p:tags r:id="rId6"/>
            </p:custDataLst>
          </p:nvPr>
        </p:nvSpPr>
        <p:spPr>
          <a:xfrm>
            <a:off x="530352" y="7140305"/>
            <a:ext cx="2898648" cy="169277"/>
          </a:xfrm>
          <a:prstGeom prst="rect">
            <a:avLst/>
          </a:prstGeom>
          <a:noFill/>
          <a:ln>
            <a:noFill/>
          </a:ln>
        </p:spPr>
        <p:txBody>
          <a:bodyPr wrap="square" lIns="0" tIns="0" rIns="0" bIns="0" rtlCol="0" anchor="b" anchorCtr="0">
            <a:spAutoFit/>
          </a:bodyPr>
          <a:lstStyle/>
          <a:p>
            <a:r>
              <a:rPr lang="en-GB" altLang="zh-CN" sz="1100" noProof="1" smtClean="0">
                <a:solidFill>
                  <a:schemeClr val="tx1"/>
                </a:solidFill>
                <a:latin typeface="+mj-lt"/>
                <a:ea typeface="宋体" panose="02010600030101010101" pitchFamily="2" charset="-122"/>
              </a:rPr>
              <a:t>Overview of PRC GAAR</a:t>
            </a:r>
            <a:endParaRPr lang="en-GB" sz="1100" noProof="1" smtClean="0">
              <a:solidFill>
                <a:schemeClr val="tx1"/>
              </a:solidFill>
              <a:latin typeface="+mj-lt"/>
              <a:ea typeface="宋体" panose="02010600030101010101" pitchFamily="2" charset="-122"/>
            </a:endParaRPr>
          </a:p>
        </p:txBody>
      </p:sp>
      <p:sp>
        <p:nvSpPr>
          <p:cNvPr id="108" name="TextBox 107">
            <a:hlinkClick r:id="rId22" action="ppaction://hlinksldjump"/>
          </p:cNvPr>
          <p:cNvSpPr txBox="1"/>
          <p:nvPr>
            <p:custDataLst>
              <p:tags r:id="rId7"/>
            </p:custDataLst>
          </p:nvPr>
        </p:nvSpPr>
        <p:spPr>
          <a:xfrm>
            <a:off x="3589200" y="1093100"/>
            <a:ext cx="5940923" cy="169277"/>
          </a:xfrm>
          <a:prstGeom prst="rect">
            <a:avLst/>
          </a:prstGeom>
          <a:noFill/>
          <a:ln>
            <a:noFill/>
          </a:ln>
          <a:extLst>
            <a:ext uri="{909E8E84-426E-40DD-AFC4-6F175D3DCCD1}">
              <a14:hiddenFill xmlns:a14="http://schemas.microsoft.com/office/drawing/2010/main">
                <a:solidFill>
                  <a:scrgbClr r="0" g="0" b="0">
                    <a:alpha val="0"/>
                  </a:scrgbClr>
                </a:solidFill>
              </a14:hiddenFill>
            </a:ext>
          </a:extLst>
        </p:spPr>
        <p:txBody>
          <a:bodyPr vert="horz" wrap="square" lIns="0" tIns="0" rIns="0" bIns="0" rtlCol="0">
            <a:spAutoFit/>
          </a:bodyPr>
          <a:lstStyle/>
          <a:p>
            <a:r>
              <a:rPr lang="en-GB" noProof="0" dirty="0" smtClean="0">
                <a:solidFill>
                  <a:schemeClr val="tx1"/>
                </a:solidFill>
                <a:latin typeface="Georgia" pitchFamily="18" charset="0"/>
                <a:cs typeface="Arial" pitchFamily="34" charset="0"/>
              </a:rPr>
              <a:t> </a:t>
            </a:r>
            <a:endParaRPr lang="en-GB" noProof="0" dirty="0" smtClean="0">
              <a:solidFill>
                <a:schemeClr val="tx1"/>
              </a:solidFill>
              <a:latin typeface="Georgia" pitchFamily="18" charset="0"/>
              <a:cs typeface="Arial" pitchFamily="34" charset="0"/>
            </a:endParaRPr>
          </a:p>
        </p:txBody>
      </p:sp>
      <p:sp>
        <p:nvSpPr>
          <p:cNvPr id="109" name="TextBox 108">
            <a:hlinkClick r:id="rId22" action="ppaction://hlinksldjump"/>
          </p:cNvPr>
          <p:cNvSpPr txBox="1"/>
          <p:nvPr>
            <p:custDataLst>
              <p:tags r:id="rId8"/>
            </p:custDataLst>
          </p:nvPr>
        </p:nvSpPr>
        <p:spPr>
          <a:xfrm>
            <a:off x="3589200" y="1093100"/>
            <a:ext cx="5940923" cy="169277"/>
          </a:xfrm>
          <a:prstGeom prst="rect">
            <a:avLst/>
          </a:prstGeom>
          <a:noFill/>
          <a:ln>
            <a:noFill/>
          </a:ln>
          <a:extLst>
            <a:ext uri="{909E8E84-426E-40DD-AFC4-6F175D3DCCD1}">
              <a14:hiddenFill xmlns:a14="http://schemas.microsoft.com/office/drawing/2010/main">
                <a:solidFill>
                  <a:scrgbClr r="0" g="0" b="0">
                    <a:alpha val="0"/>
                  </a:scrgbClr>
                </a:solidFill>
              </a14:hiddenFill>
            </a:ext>
          </a:extLst>
        </p:spPr>
        <p:txBody>
          <a:bodyPr vert="horz" wrap="square" lIns="0" tIns="0" rIns="0" bIns="0" rtlCol="0">
            <a:spAutoFit/>
          </a:bodyPr>
          <a:lstStyle/>
          <a:p>
            <a:r>
              <a:rPr lang="en-GB" noProof="0" dirty="0" smtClean="0">
                <a:solidFill>
                  <a:schemeClr val="tx1"/>
                </a:solidFill>
                <a:latin typeface="Georgia" pitchFamily="18" charset="0"/>
                <a:cs typeface="Arial" pitchFamily="34" charset="0"/>
              </a:rPr>
              <a:t> </a:t>
            </a:r>
            <a:endParaRPr lang="en-GB" noProof="0" dirty="0" smtClean="0">
              <a:solidFill>
                <a:schemeClr val="tx1"/>
              </a:solidFill>
              <a:latin typeface="Georgia" pitchFamily="18" charset="0"/>
              <a:cs typeface="Arial" pitchFamily="34" charset="0"/>
            </a:endParaRPr>
          </a:p>
        </p:txBody>
      </p:sp>
      <p:sp>
        <p:nvSpPr>
          <p:cNvPr id="110" name="TextBox 109">
            <a:hlinkClick r:id="rId23" action="ppaction://hlinksldjump"/>
          </p:cNvPr>
          <p:cNvSpPr txBox="1"/>
          <p:nvPr>
            <p:custDataLst>
              <p:tags r:id="rId9"/>
            </p:custDataLst>
          </p:nvPr>
        </p:nvSpPr>
        <p:spPr>
          <a:xfrm>
            <a:off x="3589200" y="1333892"/>
            <a:ext cx="5940923" cy="169277"/>
          </a:xfrm>
          <a:prstGeom prst="rect">
            <a:avLst/>
          </a:prstGeom>
          <a:noFill/>
          <a:ln>
            <a:noFill/>
          </a:ln>
          <a:extLst>
            <a:ext uri="{909E8E84-426E-40DD-AFC4-6F175D3DCCD1}">
              <a14:hiddenFill xmlns:a14="http://schemas.microsoft.com/office/drawing/2010/main">
                <a:solidFill>
                  <a:scrgbClr r="0" g="0" b="0">
                    <a:alpha val="0"/>
                  </a:scrgbClr>
                </a:solidFill>
              </a14:hiddenFill>
            </a:ext>
          </a:extLst>
        </p:spPr>
        <p:txBody>
          <a:bodyPr vert="horz" wrap="square" lIns="0" tIns="0" rIns="0" bIns="0" rtlCol="0">
            <a:spAutoFit/>
          </a:bodyPr>
          <a:lstStyle/>
          <a:p>
            <a:r>
              <a:rPr lang="en-GB" noProof="0" dirty="0" smtClean="0">
                <a:solidFill>
                  <a:schemeClr val="tx1"/>
                </a:solidFill>
                <a:latin typeface="Georgia" pitchFamily="18" charset="0"/>
                <a:cs typeface="Arial" pitchFamily="34" charset="0"/>
              </a:rPr>
              <a:t> </a:t>
            </a:r>
            <a:endParaRPr lang="en-GB" noProof="0" dirty="0" smtClean="0">
              <a:solidFill>
                <a:schemeClr val="tx1"/>
              </a:solidFill>
              <a:latin typeface="Georgia" pitchFamily="18" charset="0"/>
              <a:cs typeface="Arial" pitchFamily="34" charset="0"/>
            </a:endParaRPr>
          </a:p>
        </p:txBody>
      </p:sp>
      <p:sp>
        <p:nvSpPr>
          <p:cNvPr id="111" name="TextBox 110">
            <a:hlinkClick r:id="rId23" action="ppaction://hlinksldjump"/>
          </p:cNvPr>
          <p:cNvSpPr txBox="1"/>
          <p:nvPr>
            <p:custDataLst>
              <p:tags r:id="rId10"/>
            </p:custDataLst>
          </p:nvPr>
        </p:nvSpPr>
        <p:spPr>
          <a:xfrm>
            <a:off x="3589200" y="1333892"/>
            <a:ext cx="5940923" cy="169277"/>
          </a:xfrm>
          <a:prstGeom prst="rect">
            <a:avLst/>
          </a:prstGeom>
          <a:noFill/>
          <a:ln>
            <a:noFill/>
          </a:ln>
          <a:extLst>
            <a:ext uri="{909E8E84-426E-40DD-AFC4-6F175D3DCCD1}">
              <a14:hiddenFill xmlns:a14="http://schemas.microsoft.com/office/drawing/2010/main">
                <a:solidFill>
                  <a:scrgbClr r="0" g="0" b="0">
                    <a:alpha val="0"/>
                  </a:scrgbClr>
                </a:solidFill>
              </a14:hiddenFill>
            </a:ext>
          </a:extLst>
        </p:spPr>
        <p:txBody>
          <a:bodyPr vert="horz" wrap="square" lIns="0" tIns="0" rIns="0" bIns="0" rtlCol="0">
            <a:spAutoFit/>
          </a:bodyPr>
          <a:lstStyle/>
          <a:p>
            <a:r>
              <a:rPr lang="en-GB" noProof="0" dirty="0" smtClean="0">
                <a:solidFill>
                  <a:schemeClr val="tx1"/>
                </a:solidFill>
                <a:latin typeface="Georgia" pitchFamily="18" charset="0"/>
                <a:cs typeface="Arial" pitchFamily="34" charset="0"/>
              </a:rPr>
              <a:t> </a:t>
            </a:r>
            <a:endParaRPr lang="en-GB" noProof="0" dirty="0" smtClean="0">
              <a:solidFill>
                <a:schemeClr val="tx1"/>
              </a:solidFill>
              <a:latin typeface="Georgia" pitchFamily="18" charset="0"/>
              <a:cs typeface="Arial" pitchFamily="34" charset="0"/>
            </a:endParaRPr>
          </a:p>
        </p:txBody>
      </p:sp>
      <p:grpSp>
        <p:nvGrpSpPr>
          <p:cNvPr id="119" name="Group 118"/>
          <p:cNvGrpSpPr/>
          <p:nvPr>
            <p:custDataLst>
              <p:tags r:id="rId11"/>
            </p:custDataLst>
          </p:nvPr>
        </p:nvGrpSpPr>
        <p:grpSpPr>
          <a:xfrm>
            <a:off x="5283980" y="704088"/>
            <a:ext cx="4236835" cy="138499"/>
            <a:chOff x="5283980" y="704088"/>
            <a:chExt cx="4236835" cy="138499"/>
          </a:xfrm>
        </p:grpSpPr>
        <p:sp>
          <p:nvSpPr>
            <p:cNvPr id="112" name="745">
              <a:hlinkClick r:id="rId23" action="ppaction://hlinksldjump"/>
            </p:cNvPr>
            <p:cNvSpPr txBox="1"/>
            <p:nvPr>
              <p:custDataLst>
                <p:tags r:id="rId16"/>
              </p:custDataLst>
            </p:nvPr>
          </p:nvSpPr>
          <p:spPr>
            <a:xfrm>
              <a:off x="7868824" y="704088"/>
              <a:ext cx="1651991" cy="138499"/>
            </a:xfrm>
            <a:prstGeom prst="rect">
              <a:avLst/>
            </a:prstGeom>
            <a:noFill/>
            <a:ln>
              <a:noFill/>
            </a:ln>
          </p:spPr>
          <p:txBody>
            <a:bodyPr wrap="none" lIns="27432" tIns="0" rIns="27432" bIns="0" rtlCol="0">
              <a:spAutoFit/>
            </a:bodyPr>
            <a:lstStyle/>
            <a:p>
              <a:r>
                <a:rPr lang="en-GB" sz="900" noProof="1" smtClean="0">
                  <a:solidFill>
                    <a:schemeClr val="tx1"/>
                  </a:solidFill>
                  <a:latin typeface="+mn-lt"/>
                  <a:cs typeface="Arial" pitchFamily="34" charset="0"/>
                </a:rPr>
                <a:t>Part II  Indirect Equity Transfer </a:t>
              </a:r>
              <a:endParaRPr lang="en-GB" sz="900" noProof="1" smtClean="0">
                <a:solidFill>
                  <a:schemeClr val="tx1"/>
                </a:solidFill>
                <a:latin typeface="+mn-lt"/>
                <a:cs typeface="Arial" pitchFamily="34" charset="0"/>
              </a:endParaRPr>
            </a:p>
          </p:txBody>
        </p:sp>
        <p:cxnSp>
          <p:nvCxnSpPr>
            <p:cNvPr id="114" name="Divider1"/>
            <p:cNvCxnSpPr/>
            <p:nvPr>
              <p:custDataLst>
                <p:tags r:id="rId17"/>
              </p:custDataLst>
            </p:nvPr>
          </p:nvCxnSpPr>
          <p:spPr>
            <a:xfrm>
              <a:off x="7843424"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15" name="638">
              <a:hlinkClick r:id="rId22" action="ppaction://hlinksldjump"/>
            </p:cNvPr>
            <p:cNvSpPr txBox="1"/>
            <p:nvPr>
              <p:custDataLst>
                <p:tags r:id="rId18"/>
              </p:custDataLst>
            </p:nvPr>
          </p:nvSpPr>
          <p:spPr>
            <a:xfrm>
              <a:off x="5787725" y="704088"/>
              <a:ext cx="2030299" cy="138499"/>
            </a:xfrm>
            <a:prstGeom prst="rect">
              <a:avLst/>
            </a:prstGeom>
            <a:noFill/>
            <a:ln>
              <a:noFill/>
            </a:ln>
          </p:spPr>
          <p:txBody>
            <a:bodyPr wrap="none" lIns="27432" tIns="0" rIns="27432" bIns="0" rtlCol="0">
              <a:spAutoFit/>
            </a:bodyPr>
            <a:lstStyle/>
            <a:p>
              <a:r>
                <a:rPr lang="en-GB" sz="900" noProof="1" smtClean="0">
                  <a:solidFill>
                    <a:schemeClr val="tx1"/>
                  </a:solidFill>
                  <a:latin typeface="+mn-lt"/>
                  <a:cs typeface="Arial" pitchFamily="34" charset="0"/>
                </a:rPr>
                <a:t>Part I  Brief Introduction to PRC GAAR</a:t>
              </a:r>
              <a:endParaRPr lang="en-GB" sz="900" noProof="1" smtClean="0">
                <a:solidFill>
                  <a:schemeClr val="tx1"/>
                </a:solidFill>
                <a:latin typeface="+mn-lt"/>
                <a:cs typeface="Arial" pitchFamily="34" charset="0"/>
              </a:endParaRPr>
            </a:p>
          </p:txBody>
        </p:sp>
        <p:cxnSp>
          <p:nvCxnSpPr>
            <p:cNvPr id="117" name="Divider2"/>
            <p:cNvCxnSpPr/>
            <p:nvPr>
              <p:custDataLst>
                <p:tags r:id="rId19"/>
              </p:custDataLst>
            </p:nvPr>
          </p:nvCxnSpPr>
          <p:spPr>
            <a:xfrm>
              <a:off x="5762325"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18" name="735">
              <a:hlinkClick r:id="rId24" action="ppaction://hlinksldjump"/>
            </p:cNvPr>
            <p:cNvSpPr txBox="1"/>
            <p:nvPr>
              <p:custDataLst>
                <p:tags r:id="rId20"/>
              </p:custDataLst>
            </p:nvPr>
          </p:nvSpPr>
          <p:spPr>
            <a:xfrm>
              <a:off x="5283980" y="704088"/>
              <a:ext cx="452945" cy="138499"/>
            </a:xfrm>
            <a:prstGeom prst="rect">
              <a:avLst/>
            </a:prstGeom>
            <a:noFill/>
            <a:ln>
              <a:noFill/>
            </a:ln>
          </p:spPr>
          <p:txBody>
            <a:bodyPr wrap="none" lIns="27432" tIns="0" rIns="27432" bIns="0" rtlCol="0">
              <a:spAutoFit/>
            </a:bodyPr>
            <a:lstStyle/>
            <a:p>
              <a:r>
                <a:rPr lang="en-GB" sz="900" noProof="1" smtClean="0">
                  <a:solidFill>
                    <a:schemeClr val="tx2"/>
                  </a:solidFill>
                  <a:cs typeface="Arial" pitchFamily="34" charset="0"/>
                </a:rPr>
                <a:t>Agenda</a:t>
              </a:r>
              <a:endParaRPr lang="en-GB" sz="900" noProof="1" smtClean="0">
                <a:solidFill>
                  <a:schemeClr val="tx2"/>
                </a:solidFill>
                <a:cs typeface="Arial" pitchFamily="34" charset="0"/>
              </a:endParaRPr>
            </a:p>
          </p:txBody>
        </p:sp>
      </p:grpSp>
      <p:sp>
        <p:nvSpPr>
          <p:cNvPr id="121" name="TextBox 120">
            <a:hlinkClick r:id="rId22" action="ppaction://hlinksldjump"/>
          </p:cNvPr>
          <p:cNvSpPr txBox="1"/>
          <p:nvPr>
            <p:custDataLst>
              <p:tags r:id="rId12"/>
            </p:custDataLst>
          </p:nvPr>
        </p:nvSpPr>
        <p:spPr>
          <a:xfrm>
            <a:off x="3589200" y="1093100"/>
            <a:ext cx="5940923" cy="169277"/>
          </a:xfrm>
          <a:prstGeom prst="rect">
            <a:avLst/>
          </a:prstGeom>
          <a:solidFill>
            <a:scrgbClr r="0" g="0" b="0">
              <a:alpha val="0"/>
            </a:scrgbClr>
          </a:solidFill>
          <a:ln>
            <a:noFill/>
          </a:ln>
        </p:spPr>
        <p:txBody>
          <a:bodyPr vert="horz" wrap="square" lIns="0" tIns="0" rIns="0" bIns="0" rtlCol="0">
            <a:spAutoFit/>
          </a:bodyPr>
          <a:lstStyle/>
          <a:p>
            <a:r>
              <a:rPr lang="en-US" noProof="0" smtClean="0">
                <a:solidFill>
                  <a:schemeClr val="tx1"/>
                </a:solidFill>
                <a:latin typeface="Georgia" pitchFamily="18" charset="0"/>
                <a:cs typeface="Arial" pitchFamily="34" charset="0"/>
              </a:rPr>
              <a:t> </a:t>
            </a:r>
            <a:endParaRPr lang="en-US" noProof="0" dirty="0" smtClean="0">
              <a:solidFill>
                <a:schemeClr val="tx1"/>
              </a:solidFill>
              <a:latin typeface="Georgia" pitchFamily="18" charset="0"/>
              <a:cs typeface="Arial" pitchFamily="34" charset="0"/>
            </a:endParaRPr>
          </a:p>
        </p:txBody>
      </p:sp>
      <p:sp>
        <p:nvSpPr>
          <p:cNvPr id="122" name="TextBox 121">
            <a:hlinkClick r:id="rId22" action="ppaction://hlinksldjump"/>
          </p:cNvPr>
          <p:cNvSpPr txBox="1"/>
          <p:nvPr>
            <p:custDataLst>
              <p:tags r:id="rId13"/>
            </p:custDataLst>
          </p:nvPr>
        </p:nvSpPr>
        <p:spPr>
          <a:xfrm>
            <a:off x="3589200" y="1093100"/>
            <a:ext cx="5940923" cy="169277"/>
          </a:xfrm>
          <a:prstGeom prst="rect">
            <a:avLst/>
          </a:prstGeom>
          <a:solidFill>
            <a:scrgbClr r="0" g="0" b="0">
              <a:alpha val="0"/>
            </a:scrgbClr>
          </a:solidFill>
          <a:ln>
            <a:noFill/>
          </a:ln>
        </p:spPr>
        <p:txBody>
          <a:bodyPr vert="horz" wrap="square" lIns="0" tIns="0" rIns="0" bIns="0" rtlCol="0">
            <a:spAutoFit/>
          </a:bodyPr>
          <a:lstStyle/>
          <a:p>
            <a:r>
              <a:rPr lang="en-US" noProof="0" smtClean="0">
                <a:solidFill>
                  <a:schemeClr val="tx1"/>
                </a:solidFill>
                <a:latin typeface="Georgia" pitchFamily="18" charset="0"/>
                <a:cs typeface="Arial" pitchFamily="34" charset="0"/>
              </a:rPr>
              <a:t> </a:t>
            </a:r>
            <a:endParaRPr lang="en-US" noProof="0" dirty="0" smtClean="0">
              <a:solidFill>
                <a:schemeClr val="tx1"/>
              </a:solidFill>
              <a:latin typeface="Georgia" pitchFamily="18" charset="0"/>
              <a:cs typeface="Arial" pitchFamily="34" charset="0"/>
            </a:endParaRPr>
          </a:p>
        </p:txBody>
      </p:sp>
      <p:sp>
        <p:nvSpPr>
          <p:cNvPr id="123" name="TextBox 122">
            <a:hlinkClick r:id="rId23" action="ppaction://hlinksldjump"/>
          </p:cNvPr>
          <p:cNvSpPr txBox="1"/>
          <p:nvPr>
            <p:custDataLst>
              <p:tags r:id="rId14"/>
            </p:custDataLst>
          </p:nvPr>
        </p:nvSpPr>
        <p:spPr>
          <a:xfrm>
            <a:off x="3589200" y="1333892"/>
            <a:ext cx="5940923" cy="169277"/>
          </a:xfrm>
          <a:prstGeom prst="rect">
            <a:avLst/>
          </a:prstGeom>
          <a:solidFill>
            <a:scrgbClr r="0" g="0" b="0">
              <a:alpha val="0"/>
            </a:scrgbClr>
          </a:solidFill>
          <a:ln>
            <a:noFill/>
          </a:ln>
        </p:spPr>
        <p:txBody>
          <a:bodyPr vert="horz" wrap="square" lIns="0" tIns="0" rIns="0" bIns="0" rtlCol="0">
            <a:spAutoFit/>
          </a:bodyPr>
          <a:lstStyle/>
          <a:p>
            <a:r>
              <a:rPr lang="en-US" noProof="0" smtClean="0">
                <a:solidFill>
                  <a:schemeClr val="tx1"/>
                </a:solidFill>
                <a:latin typeface="Georgia" pitchFamily="18" charset="0"/>
                <a:cs typeface="Arial" pitchFamily="34" charset="0"/>
              </a:rPr>
              <a:t> </a:t>
            </a:r>
            <a:endParaRPr lang="en-US" noProof="0" dirty="0" smtClean="0">
              <a:solidFill>
                <a:schemeClr val="tx1"/>
              </a:solidFill>
              <a:latin typeface="Georgia" pitchFamily="18" charset="0"/>
              <a:cs typeface="Arial" pitchFamily="34" charset="0"/>
            </a:endParaRPr>
          </a:p>
        </p:txBody>
      </p:sp>
      <p:sp>
        <p:nvSpPr>
          <p:cNvPr id="124" name="TextBox 123">
            <a:hlinkClick r:id="rId23" action="ppaction://hlinksldjump"/>
          </p:cNvPr>
          <p:cNvSpPr txBox="1"/>
          <p:nvPr>
            <p:custDataLst>
              <p:tags r:id="rId15"/>
            </p:custDataLst>
          </p:nvPr>
        </p:nvSpPr>
        <p:spPr>
          <a:xfrm>
            <a:off x="3589200" y="1333892"/>
            <a:ext cx="5940923" cy="169277"/>
          </a:xfrm>
          <a:prstGeom prst="rect">
            <a:avLst/>
          </a:prstGeom>
          <a:solidFill>
            <a:scrgbClr r="0" g="0" b="0">
              <a:alpha val="0"/>
            </a:scrgbClr>
          </a:solidFill>
          <a:ln>
            <a:noFill/>
          </a:ln>
        </p:spPr>
        <p:txBody>
          <a:bodyPr vert="horz" wrap="square" lIns="0" tIns="0" rIns="0" bIns="0" rtlCol="0">
            <a:spAutoFit/>
          </a:bodyPr>
          <a:lstStyle/>
          <a:p>
            <a:r>
              <a:rPr lang="en-US" noProof="0" smtClean="0">
                <a:solidFill>
                  <a:schemeClr val="tx1"/>
                </a:solidFill>
                <a:latin typeface="Georgia" pitchFamily="18" charset="0"/>
                <a:cs typeface="Arial" pitchFamily="34" charset="0"/>
              </a:rPr>
              <a:t> </a:t>
            </a:r>
            <a:endParaRPr lang="en-US" noProof="0" dirty="0" smtClean="0">
              <a:solidFill>
                <a:schemeClr val="tx1"/>
              </a:solidFill>
              <a:latin typeface="Georgia" pitchFamily="18" charset="0"/>
              <a:cs typeface="Arial" pitchFamily="34" charset="0"/>
            </a:endParaRPr>
          </a:p>
        </p:txBody>
      </p:sp>
    </p:spTree>
    <p:custDataLst>
      <p:tags r:id="rId1"/>
    </p:custDataLst>
    <p:extLst>
      <p:ext uri="{BB962C8B-B14F-4D97-AF65-F5344CB8AC3E}">
        <p14:creationId xmlns:p14="http://schemas.microsoft.com/office/powerpoint/2010/main" val="19355065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en-GB"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sp>
        <p:nvSpPr>
          <p:cNvPr id="3" name="Title 2"/>
          <p:cNvSpPr>
            <a:spLocks noGrp="1"/>
          </p:cNvSpPr>
          <p:nvPr>
            <p:ph type="title"/>
          </p:nvPr>
        </p:nvSpPr>
        <p:spPr/>
        <p:txBody>
          <a:bodyPr/>
          <a:lstStyle/>
          <a:p>
            <a:r>
              <a:rPr lang="en-GB" altLang="zh-CN" kern="0" dirty="0">
                <a:latin typeface="Georgia" pitchFamily="18" charset="0"/>
                <a:ea typeface="宋体" pitchFamily="2" charset="-122"/>
              </a:rPr>
              <a:t>Overview of Reported Offshore Indirect Equity Transfer Cases </a:t>
            </a:r>
            <a:r>
              <a:rPr lang="en-GB" altLang="zh-CN" kern="0" dirty="0" smtClean="0">
                <a:latin typeface="Georgia" pitchFamily="18" charset="0"/>
                <a:ea typeface="宋体" pitchFamily="2" charset="-122"/>
              </a:rPr>
              <a:t>(Cont’d)</a:t>
            </a:r>
            <a:endParaRPr lang="en-GB" dirty="0"/>
          </a:p>
        </p:txBody>
      </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en-GB" sz="1100" noProof="1" smtClean="0">
                <a:latin typeface="+mj-lt"/>
              </a:rPr>
              <a:t>20</a:t>
            </a:r>
            <a:endParaRPr lang="en-GB" sz="1100" noProof="1" smtClean="0">
              <a:latin typeface="+mj-lt"/>
            </a:endParaRP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en-GB" sz="1100" noProof="1" smtClean="0">
                <a:solidFill>
                  <a:schemeClr val="tx1"/>
                </a:solidFill>
                <a:latin typeface="+mj-lt"/>
              </a:rPr>
              <a:t>Overview of PRC GAAR</a:t>
            </a: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en-GB" sz="900" noProof="1" smtClean="0">
                <a:solidFill>
                  <a:schemeClr val="tx1"/>
                </a:solidFill>
              </a:rPr>
              <a:t>-1 Part II  Indirect Equity Transfer </a:t>
            </a:r>
          </a:p>
        </p:txBody>
      </p:sp>
      <p:graphicFrame>
        <p:nvGraphicFramePr>
          <p:cNvPr id="58" name="Table 57"/>
          <p:cNvGraphicFramePr>
            <a:graphicFrameLocks noGrp="1"/>
          </p:cNvGraphicFramePr>
          <p:nvPr>
            <p:extLst>
              <p:ext uri="{D42A27DB-BD31-4B8C-83A1-F6EECF244321}">
                <p14:modId xmlns:p14="http://schemas.microsoft.com/office/powerpoint/2010/main" val="2236623183"/>
              </p:ext>
            </p:extLst>
          </p:nvPr>
        </p:nvGraphicFramePr>
        <p:xfrm>
          <a:off x="530351" y="2082292"/>
          <a:ext cx="8988553" cy="2998216"/>
        </p:xfrm>
        <a:graphic>
          <a:graphicData uri="http://schemas.openxmlformats.org/drawingml/2006/table">
            <a:tbl>
              <a:tblPr firstRow="1" bandRow="1">
                <a:tableStyleId>{21E4AEA4-8DFA-4A89-87EB-49C32662AFE0}</a:tableStyleId>
              </a:tblPr>
              <a:tblGrid>
                <a:gridCol w="6397258">
                  <a:extLst>
                    <a:ext uri="{9D8B030D-6E8A-4147-A177-3AD203B41FA5}">
                      <a16:colId xmlns:a16="http://schemas.microsoft.com/office/drawing/2014/main" val="20000"/>
                    </a:ext>
                  </a:extLst>
                </a:gridCol>
                <a:gridCol w="2591295">
                  <a:extLst>
                    <a:ext uri="{9D8B030D-6E8A-4147-A177-3AD203B41FA5}">
                      <a16:colId xmlns:a16="http://schemas.microsoft.com/office/drawing/2014/main" val="20001"/>
                    </a:ext>
                  </a:extLst>
                </a:gridCol>
              </a:tblGrid>
              <a:tr h="402336">
                <a:tc>
                  <a:txBody>
                    <a:bodyPr/>
                    <a:lstStyle/>
                    <a:p>
                      <a:r>
                        <a:rPr lang="en-US" altLang="zh-CN" sz="2000" kern="1200" dirty="0" smtClean="0">
                          <a:latin typeface="+mj-lt"/>
                          <a:cs typeface="Arial" pitchFamily="34" charset="0"/>
                        </a:rPr>
                        <a:t>Location</a:t>
                      </a:r>
                      <a:r>
                        <a:rPr lang="en-US" altLang="zh-CN" sz="2000" kern="1200" baseline="0" dirty="0" smtClean="0">
                          <a:latin typeface="+mj-lt"/>
                          <a:cs typeface="Arial" pitchFamily="34" charset="0"/>
                        </a:rPr>
                        <a:t> of the SPV being looked through*</a:t>
                      </a:r>
                      <a:endParaRPr lang="en-US" sz="2000" b="1" kern="1200" dirty="0">
                        <a:solidFill>
                          <a:schemeClr val="lt1"/>
                        </a:solidFill>
                        <a:latin typeface="+mj-lt"/>
                        <a:ea typeface="宋体" pitchFamily="2" charset="-122"/>
                        <a:cs typeface="Arial" pitchFamily="34" charset="0"/>
                      </a:endParaRPr>
                    </a:p>
                  </a:txBody>
                  <a:tcPr marL="100584" marR="100584" marT="50292" marB="50292"/>
                </a:tc>
                <a:tc>
                  <a:txBody>
                    <a:bodyPr/>
                    <a:lstStyle/>
                    <a:p>
                      <a:pPr algn="ctr"/>
                      <a:r>
                        <a:rPr lang="en-US" altLang="zh-CN" sz="2000" kern="1200" dirty="0" smtClean="0">
                          <a:latin typeface="+mj-lt"/>
                          <a:cs typeface="Arial" pitchFamily="34" charset="0"/>
                        </a:rPr>
                        <a:t>Number of cases</a:t>
                      </a:r>
                      <a:endParaRPr lang="en-US" sz="2000" b="1" kern="1200" dirty="0">
                        <a:solidFill>
                          <a:schemeClr val="lt1"/>
                        </a:solidFill>
                        <a:latin typeface="+mj-lt"/>
                        <a:ea typeface="宋体" pitchFamily="2" charset="-122"/>
                        <a:cs typeface="Arial" pitchFamily="34" charset="0"/>
                      </a:endParaRPr>
                    </a:p>
                  </a:txBody>
                  <a:tcPr marL="100584" marR="100584" marT="50292" marB="50292"/>
                </a:tc>
                <a:extLst>
                  <a:ext uri="{0D108BD9-81ED-4DB2-BD59-A6C34878D82A}">
                    <a16:rowId xmlns:a16="http://schemas.microsoft.com/office/drawing/2014/main" val="10000"/>
                  </a:ext>
                </a:extLst>
              </a:tr>
              <a:tr h="324104">
                <a:tc>
                  <a:txBody>
                    <a:bodyPr/>
                    <a:lstStyle/>
                    <a:p>
                      <a:pPr>
                        <a:lnSpc>
                          <a:spcPts val="1600"/>
                        </a:lnSpc>
                      </a:pPr>
                      <a:r>
                        <a:rPr lang="en-US" altLang="zh-CN" sz="1800" dirty="0" smtClean="0">
                          <a:latin typeface="+mj-lt"/>
                          <a:cs typeface="Arial" pitchFamily="34" charset="0"/>
                        </a:rPr>
                        <a:t>1. Hong Kong</a:t>
                      </a:r>
                      <a:endParaRPr lang="en-US" sz="1800" dirty="0">
                        <a:latin typeface="+mj-lt"/>
                        <a:ea typeface="宋体" pitchFamily="2" charset="-122"/>
                        <a:cs typeface="Arial" pitchFamily="34" charset="0"/>
                      </a:endParaRPr>
                    </a:p>
                  </a:txBody>
                  <a:tcPr marL="100584" marR="100584" marT="50292" marB="50292"/>
                </a:tc>
                <a:tc>
                  <a:txBody>
                    <a:bodyPr/>
                    <a:lstStyle/>
                    <a:p>
                      <a:pPr algn="ctr">
                        <a:lnSpc>
                          <a:spcPts val="1500"/>
                        </a:lnSpc>
                      </a:pPr>
                      <a:r>
                        <a:rPr lang="en-US" sz="2000" strike="noStrike" dirty="0" smtClean="0">
                          <a:solidFill>
                            <a:schemeClr val="tx1"/>
                          </a:solidFill>
                          <a:latin typeface="+mj-lt"/>
                          <a:ea typeface="黑体" pitchFamily="49" charset="-122"/>
                        </a:rPr>
                        <a:t>29</a:t>
                      </a:r>
                      <a:endParaRPr lang="en-US" sz="2000" strike="noStrike" dirty="0">
                        <a:solidFill>
                          <a:schemeClr val="tx1"/>
                        </a:solidFill>
                        <a:latin typeface="+mj-lt"/>
                        <a:ea typeface="黑体" pitchFamily="49" charset="-122"/>
                      </a:endParaRPr>
                    </a:p>
                  </a:txBody>
                  <a:tcPr marL="100584" marR="100584" marT="50292" marB="50292" anchor="ctr"/>
                </a:tc>
                <a:extLst>
                  <a:ext uri="{0D108BD9-81ED-4DB2-BD59-A6C34878D82A}">
                    <a16:rowId xmlns:a16="http://schemas.microsoft.com/office/drawing/2014/main" val="10001"/>
                  </a:ext>
                </a:extLst>
              </a:tr>
              <a:tr h="324104">
                <a:tc>
                  <a:txBody>
                    <a:bodyPr/>
                    <a:lstStyle/>
                    <a:p>
                      <a:pPr>
                        <a:lnSpc>
                          <a:spcPts val="1600"/>
                        </a:lnSpc>
                      </a:pPr>
                      <a:r>
                        <a:rPr lang="en-US" altLang="zh-CN" sz="1800" dirty="0" smtClean="0">
                          <a:latin typeface="+mj-lt"/>
                          <a:cs typeface="Arial" pitchFamily="34" charset="0"/>
                        </a:rPr>
                        <a:t>2.</a:t>
                      </a:r>
                      <a:r>
                        <a:rPr lang="en-US" altLang="zh-CN" sz="1800" baseline="0" dirty="0" smtClean="0">
                          <a:latin typeface="+mj-lt"/>
                          <a:cs typeface="Arial" pitchFamily="34" charset="0"/>
                        </a:rPr>
                        <a:t> BVI</a:t>
                      </a:r>
                      <a:endParaRPr lang="en-US" sz="1800" dirty="0">
                        <a:latin typeface="+mj-lt"/>
                        <a:ea typeface="宋体" pitchFamily="2" charset="-122"/>
                        <a:cs typeface="Arial" pitchFamily="34" charset="0"/>
                      </a:endParaRPr>
                    </a:p>
                  </a:txBody>
                  <a:tcPr marL="100584" marR="100584" marT="50292" marB="50292"/>
                </a:tc>
                <a:tc>
                  <a:txBody>
                    <a:bodyPr/>
                    <a:lstStyle/>
                    <a:p>
                      <a:pPr algn="ctr">
                        <a:lnSpc>
                          <a:spcPts val="1500"/>
                        </a:lnSpc>
                      </a:pPr>
                      <a:r>
                        <a:rPr lang="en-US" sz="2000" strike="noStrike" dirty="0" smtClean="0">
                          <a:solidFill>
                            <a:schemeClr val="tx1"/>
                          </a:solidFill>
                          <a:latin typeface="+mj-lt"/>
                          <a:ea typeface="黑体" pitchFamily="49" charset="-122"/>
                        </a:rPr>
                        <a:t>19</a:t>
                      </a:r>
                      <a:endParaRPr lang="en-US" sz="2000" strike="noStrike" dirty="0">
                        <a:solidFill>
                          <a:schemeClr val="tx1"/>
                        </a:solidFill>
                        <a:latin typeface="+mj-lt"/>
                        <a:ea typeface="黑体" pitchFamily="49" charset="-122"/>
                      </a:endParaRPr>
                    </a:p>
                  </a:txBody>
                  <a:tcPr marL="100584" marR="100584" marT="50292" marB="50292" anchor="ctr"/>
                </a:tc>
                <a:extLst>
                  <a:ext uri="{0D108BD9-81ED-4DB2-BD59-A6C34878D82A}">
                    <a16:rowId xmlns:a16="http://schemas.microsoft.com/office/drawing/2014/main" val="10002"/>
                  </a:ext>
                </a:extLst>
              </a:tr>
              <a:tr h="324104">
                <a:tc>
                  <a:txBody>
                    <a:bodyPr/>
                    <a:lstStyle/>
                    <a:p>
                      <a:pPr>
                        <a:lnSpc>
                          <a:spcPts val="1600"/>
                        </a:lnSpc>
                      </a:pPr>
                      <a:r>
                        <a:rPr lang="en-US" sz="1800" dirty="0" smtClean="0">
                          <a:latin typeface="+mj-lt"/>
                          <a:ea typeface="宋体" pitchFamily="2" charset="-122"/>
                          <a:cs typeface="Arial" pitchFamily="34" charset="0"/>
                        </a:rPr>
                        <a:t>3. </a:t>
                      </a:r>
                      <a:r>
                        <a:rPr lang="en-US" sz="1800" baseline="0" dirty="0" smtClean="0">
                          <a:latin typeface="+mj-lt"/>
                          <a:ea typeface="宋体" pitchFamily="2" charset="-122"/>
                          <a:cs typeface="Arial" pitchFamily="34" charset="0"/>
                        </a:rPr>
                        <a:t>Cayman</a:t>
                      </a:r>
                      <a:endParaRPr lang="en-US" sz="1800" dirty="0">
                        <a:latin typeface="+mj-lt"/>
                        <a:ea typeface="宋体" pitchFamily="2" charset="-122"/>
                        <a:cs typeface="Arial" pitchFamily="34" charset="0"/>
                      </a:endParaRPr>
                    </a:p>
                  </a:txBody>
                  <a:tcPr marL="100584" marR="100584" marT="50292" marB="50292"/>
                </a:tc>
                <a:tc>
                  <a:txBody>
                    <a:bodyPr/>
                    <a:lstStyle/>
                    <a:p>
                      <a:pPr algn="ctr">
                        <a:lnSpc>
                          <a:spcPts val="1500"/>
                        </a:lnSpc>
                      </a:pPr>
                      <a:r>
                        <a:rPr lang="en-US" sz="2000" dirty="0" smtClean="0">
                          <a:solidFill>
                            <a:schemeClr val="tx1"/>
                          </a:solidFill>
                          <a:latin typeface="+mj-lt"/>
                          <a:ea typeface="黑体" pitchFamily="49" charset="-122"/>
                        </a:rPr>
                        <a:t>13</a:t>
                      </a:r>
                      <a:endParaRPr lang="en-US" sz="2000" dirty="0">
                        <a:solidFill>
                          <a:schemeClr val="tx1"/>
                        </a:solidFill>
                        <a:latin typeface="+mj-lt"/>
                        <a:ea typeface="黑体" pitchFamily="49" charset="-122"/>
                      </a:endParaRPr>
                    </a:p>
                  </a:txBody>
                  <a:tcPr marL="100584" marR="100584" marT="50292" marB="50292" anchor="ctr"/>
                </a:tc>
                <a:extLst>
                  <a:ext uri="{0D108BD9-81ED-4DB2-BD59-A6C34878D82A}">
                    <a16:rowId xmlns:a16="http://schemas.microsoft.com/office/drawing/2014/main" val="10003"/>
                  </a:ext>
                </a:extLst>
              </a:tr>
              <a:tr h="324104">
                <a:tc>
                  <a:txBody>
                    <a:bodyPr/>
                    <a:lstStyle/>
                    <a:p>
                      <a:pPr marL="0" marR="0" indent="0" algn="l" defTabSz="914400" rtl="0" eaLnBrk="1" fontAlgn="auto" latinLnBrk="0" hangingPunct="1">
                        <a:lnSpc>
                          <a:spcPts val="1600"/>
                        </a:lnSpc>
                        <a:spcBef>
                          <a:spcPts val="0"/>
                        </a:spcBef>
                        <a:spcAft>
                          <a:spcPts val="0"/>
                        </a:spcAft>
                        <a:buClrTx/>
                        <a:buSzTx/>
                        <a:buFontTx/>
                        <a:buNone/>
                        <a:tabLst/>
                        <a:defRPr/>
                      </a:pPr>
                      <a:r>
                        <a:rPr lang="en-GB" sz="1800" b="0" i="0" kern="1200" dirty="0" smtClean="0">
                          <a:solidFill>
                            <a:schemeClr val="tx1"/>
                          </a:solidFill>
                          <a:effectLst/>
                          <a:latin typeface="+mj-lt"/>
                          <a:ea typeface="+mn-ea"/>
                          <a:cs typeface="+mn-cs"/>
                        </a:rPr>
                        <a:t>4. Sin</a:t>
                      </a:r>
                      <a:r>
                        <a:rPr lang="en-US" sz="1800" b="0" i="0" kern="1200" dirty="0" smtClean="0">
                          <a:solidFill>
                            <a:schemeClr val="tx1"/>
                          </a:solidFill>
                          <a:effectLst/>
                          <a:latin typeface="+mj-lt"/>
                          <a:ea typeface="+mn-ea"/>
                          <a:cs typeface="+mn-cs"/>
                        </a:rPr>
                        <a:t>g</a:t>
                      </a:r>
                      <a:r>
                        <a:rPr lang="en-GB" sz="1800" b="0" i="0" kern="1200" dirty="0" err="1" smtClean="0">
                          <a:solidFill>
                            <a:schemeClr val="tx1"/>
                          </a:solidFill>
                          <a:effectLst/>
                          <a:latin typeface="+mj-lt"/>
                          <a:ea typeface="+mn-ea"/>
                          <a:cs typeface="+mn-cs"/>
                        </a:rPr>
                        <a:t>apore</a:t>
                      </a:r>
                      <a:endParaRPr lang="en-GB" sz="1800" b="0" i="0" kern="1200" dirty="0" smtClean="0">
                        <a:solidFill>
                          <a:schemeClr val="tx1"/>
                        </a:solidFill>
                        <a:effectLst/>
                        <a:latin typeface="+mj-lt"/>
                        <a:ea typeface="+mn-ea"/>
                        <a:cs typeface="+mn-cs"/>
                      </a:endParaRPr>
                    </a:p>
                  </a:txBody>
                  <a:tcPr marL="100584" marR="100584" marT="50292" marB="50292"/>
                </a:tc>
                <a:tc>
                  <a:txBody>
                    <a:bodyPr/>
                    <a:lstStyle/>
                    <a:p>
                      <a:pPr algn="ctr">
                        <a:lnSpc>
                          <a:spcPts val="1500"/>
                        </a:lnSpc>
                      </a:pPr>
                      <a:r>
                        <a:rPr lang="en-US" sz="2000" dirty="0" smtClean="0">
                          <a:solidFill>
                            <a:schemeClr val="tx1"/>
                          </a:solidFill>
                          <a:latin typeface="+mj-lt"/>
                          <a:ea typeface="黑体" pitchFamily="49" charset="-122"/>
                        </a:rPr>
                        <a:t>2</a:t>
                      </a:r>
                      <a:endParaRPr lang="en-US" sz="2000" dirty="0">
                        <a:solidFill>
                          <a:schemeClr val="tx1"/>
                        </a:solidFill>
                        <a:latin typeface="+mj-lt"/>
                        <a:ea typeface="黑体" pitchFamily="49" charset="-122"/>
                      </a:endParaRPr>
                    </a:p>
                  </a:txBody>
                  <a:tcPr marL="100584" marR="100584" marT="50292" marB="50292" anchor="ctr"/>
                </a:tc>
                <a:extLst>
                  <a:ext uri="{0D108BD9-81ED-4DB2-BD59-A6C34878D82A}">
                    <a16:rowId xmlns:a16="http://schemas.microsoft.com/office/drawing/2014/main" val="10004"/>
                  </a:ext>
                </a:extLst>
              </a:tr>
              <a:tr h="324104">
                <a:tc>
                  <a:txBody>
                    <a:bodyPr/>
                    <a:lstStyle/>
                    <a:p>
                      <a:pPr>
                        <a:lnSpc>
                          <a:spcPts val="1600"/>
                        </a:lnSpc>
                      </a:pPr>
                      <a:r>
                        <a:rPr lang="en-US" sz="1800" dirty="0" smtClean="0">
                          <a:latin typeface="+mj-lt"/>
                          <a:cs typeface="Arial" pitchFamily="34" charset="0"/>
                        </a:rPr>
                        <a:t>5. </a:t>
                      </a:r>
                      <a:r>
                        <a:rPr lang="en-US" altLang="zh-CN" sz="1800" dirty="0" smtClean="0">
                          <a:latin typeface="+mj-lt"/>
                          <a:cs typeface="Arial" pitchFamily="34" charset="0"/>
                        </a:rPr>
                        <a:t>Mauritius</a:t>
                      </a:r>
                      <a:endParaRPr lang="en-US" sz="1800" dirty="0">
                        <a:latin typeface="+mj-lt"/>
                        <a:ea typeface="宋体" pitchFamily="2" charset="-122"/>
                        <a:cs typeface="Arial" pitchFamily="34" charset="0"/>
                      </a:endParaRPr>
                    </a:p>
                  </a:txBody>
                  <a:tcPr marL="100584" marR="100584" marT="50292" marB="50292"/>
                </a:tc>
                <a:tc>
                  <a:txBody>
                    <a:bodyPr/>
                    <a:lstStyle/>
                    <a:p>
                      <a:pPr algn="ctr">
                        <a:lnSpc>
                          <a:spcPts val="1500"/>
                        </a:lnSpc>
                      </a:pPr>
                      <a:r>
                        <a:rPr lang="en-US" sz="2000" dirty="0" smtClean="0">
                          <a:solidFill>
                            <a:schemeClr val="tx1"/>
                          </a:solidFill>
                          <a:latin typeface="+mj-lt"/>
                          <a:ea typeface="黑体" pitchFamily="49" charset="-122"/>
                        </a:rPr>
                        <a:t>1</a:t>
                      </a:r>
                      <a:endParaRPr lang="en-US" sz="2000" dirty="0">
                        <a:solidFill>
                          <a:schemeClr val="tx1"/>
                        </a:solidFill>
                        <a:latin typeface="+mj-lt"/>
                        <a:ea typeface="黑体" pitchFamily="49" charset="-122"/>
                      </a:endParaRPr>
                    </a:p>
                  </a:txBody>
                  <a:tcPr marL="100584" marR="100584" marT="50292" marB="50292" anchor="ctr"/>
                </a:tc>
                <a:extLst>
                  <a:ext uri="{0D108BD9-81ED-4DB2-BD59-A6C34878D82A}">
                    <a16:rowId xmlns:a16="http://schemas.microsoft.com/office/drawing/2014/main" val="10005"/>
                  </a:ext>
                </a:extLst>
              </a:tr>
              <a:tr h="324104">
                <a:tc>
                  <a:txBody>
                    <a:bodyPr/>
                    <a:lstStyle/>
                    <a:p>
                      <a:pPr marL="0" marR="0" indent="0" algn="l" defTabSz="914400" rtl="0" eaLnBrk="1" fontAlgn="auto" latinLnBrk="0" hangingPunct="1">
                        <a:lnSpc>
                          <a:spcPts val="1600"/>
                        </a:lnSpc>
                        <a:spcBef>
                          <a:spcPts val="0"/>
                        </a:spcBef>
                        <a:spcAft>
                          <a:spcPts val="0"/>
                        </a:spcAft>
                        <a:buClrTx/>
                        <a:buSzTx/>
                        <a:buFontTx/>
                        <a:buNone/>
                        <a:tabLst/>
                        <a:defRPr/>
                      </a:pPr>
                      <a:r>
                        <a:rPr lang="en-US" sz="1800" dirty="0" smtClean="0">
                          <a:solidFill>
                            <a:schemeClr val="tx1"/>
                          </a:solidFill>
                          <a:latin typeface="+mj-lt"/>
                          <a:ea typeface="宋体" pitchFamily="2" charset="-122"/>
                          <a:cs typeface="Arial" pitchFamily="34" charset="0"/>
                        </a:rPr>
                        <a:t>6.</a:t>
                      </a:r>
                      <a:r>
                        <a:rPr lang="en-US" sz="1800" baseline="0" dirty="0" smtClean="0">
                          <a:solidFill>
                            <a:schemeClr val="tx1"/>
                          </a:solidFill>
                          <a:latin typeface="+mj-lt"/>
                          <a:ea typeface="宋体" pitchFamily="2" charset="-122"/>
                          <a:cs typeface="Arial" pitchFamily="34" charset="0"/>
                        </a:rPr>
                        <a:t> </a:t>
                      </a:r>
                      <a:r>
                        <a:rPr lang="en-GB" sz="1800" b="0" i="0" u="none" strike="noStrike" kern="1200" dirty="0" smtClean="0">
                          <a:solidFill>
                            <a:schemeClr val="tx1"/>
                          </a:solidFill>
                          <a:effectLst/>
                          <a:latin typeface="+mj-lt"/>
                          <a:ea typeface="+mn-ea"/>
                          <a:cs typeface="+mn-cs"/>
                        </a:rPr>
                        <a:t>Delaware</a:t>
                      </a:r>
                      <a:r>
                        <a:rPr lang="en-US" sz="1800" b="0" i="0" u="none" strike="noStrike" kern="1200" dirty="0" smtClean="0">
                          <a:solidFill>
                            <a:schemeClr val="tx1"/>
                          </a:solidFill>
                          <a:effectLst/>
                          <a:latin typeface="+mj-lt"/>
                          <a:ea typeface="宋体" pitchFamily="2" charset="-122"/>
                          <a:cs typeface="Arial" pitchFamily="34" charset="0"/>
                        </a:rPr>
                        <a:t>,</a:t>
                      </a:r>
                      <a:r>
                        <a:rPr lang="en-US" sz="1800" b="0" i="0" u="none" strike="noStrike" kern="1200" baseline="0" dirty="0" smtClean="0">
                          <a:solidFill>
                            <a:schemeClr val="tx1"/>
                          </a:solidFill>
                          <a:effectLst/>
                          <a:latin typeface="+mj-lt"/>
                          <a:ea typeface="宋体" pitchFamily="2" charset="-122"/>
                          <a:cs typeface="Arial" pitchFamily="34" charset="0"/>
                        </a:rPr>
                        <a:t> USA</a:t>
                      </a:r>
                      <a:endParaRPr lang="en-GB" sz="1800" b="0" i="0" kern="1200" dirty="0" smtClean="0">
                        <a:solidFill>
                          <a:schemeClr val="tx1"/>
                        </a:solidFill>
                        <a:effectLst/>
                        <a:latin typeface="+mj-lt"/>
                        <a:ea typeface="+mn-ea"/>
                        <a:cs typeface="+mn-cs"/>
                      </a:endParaRPr>
                    </a:p>
                  </a:txBody>
                  <a:tcPr marL="100584" marR="100584" marT="50292" marB="50292"/>
                </a:tc>
                <a:tc>
                  <a:txBody>
                    <a:bodyPr/>
                    <a:lstStyle/>
                    <a:p>
                      <a:pPr algn="ctr">
                        <a:lnSpc>
                          <a:spcPts val="1500"/>
                        </a:lnSpc>
                      </a:pPr>
                      <a:r>
                        <a:rPr lang="en-US" sz="2000" dirty="0" smtClean="0">
                          <a:solidFill>
                            <a:schemeClr val="tx1"/>
                          </a:solidFill>
                          <a:latin typeface="+mj-lt"/>
                          <a:ea typeface="黑体" pitchFamily="49" charset="-122"/>
                        </a:rPr>
                        <a:t>1</a:t>
                      </a:r>
                      <a:endParaRPr lang="en-US" sz="2000" dirty="0">
                        <a:solidFill>
                          <a:schemeClr val="tx1"/>
                        </a:solidFill>
                        <a:latin typeface="+mj-lt"/>
                        <a:ea typeface="黑体" pitchFamily="49" charset="-122"/>
                      </a:endParaRPr>
                    </a:p>
                  </a:txBody>
                  <a:tcPr marL="100584" marR="100584" marT="50292" marB="50292" anchor="ctr"/>
                </a:tc>
                <a:extLst>
                  <a:ext uri="{0D108BD9-81ED-4DB2-BD59-A6C34878D82A}">
                    <a16:rowId xmlns:a16="http://schemas.microsoft.com/office/drawing/2014/main" val="10006"/>
                  </a:ext>
                </a:extLst>
              </a:tr>
              <a:tr h="324104">
                <a:tc>
                  <a:txBody>
                    <a:bodyPr/>
                    <a:lstStyle/>
                    <a:p>
                      <a:pPr marL="0" marR="0" indent="0" algn="l" defTabSz="914400" rtl="0" eaLnBrk="1" fontAlgn="auto" latinLnBrk="0" hangingPunct="1">
                        <a:lnSpc>
                          <a:spcPts val="1600"/>
                        </a:lnSpc>
                        <a:spcBef>
                          <a:spcPts val="0"/>
                        </a:spcBef>
                        <a:spcAft>
                          <a:spcPts val="0"/>
                        </a:spcAft>
                        <a:buClrTx/>
                        <a:buSzTx/>
                        <a:buFontTx/>
                        <a:buNone/>
                        <a:tabLst/>
                        <a:defRPr/>
                      </a:pPr>
                      <a:r>
                        <a:rPr lang="en-US" sz="1800" b="0" i="0" kern="1200" dirty="0" smtClean="0">
                          <a:solidFill>
                            <a:schemeClr val="tx1"/>
                          </a:solidFill>
                          <a:effectLst/>
                          <a:latin typeface="+mj-lt"/>
                          <a:ea typeface="+mn-ea"/>
                          <a:cs typeface="+mn-cs"/>
                        </a:rPr>
                        <a:t>7. UK</a:t>
                      </a:r>
                      <a:endParaRPr lang="en-GB" sz="1800" b="0" i="0" kern="1200" dirty="0" smtClean="0">
                        <a:solidFill>
                          <a:schemeClr val="tx1"/>
                        </a:solidFill>
                        <a:effectLst/>
                        <a:latin typeface="+mj-lt"/>
                        <a:ea typeface="+mn-ea"/>
                        <a:cs typeface="+mn-cs"/>
                      </a:endParaRPr>
                    </a:p>
                  </a:txBody>
                  <a:tcPr marL="100584" marR="100584" marT="50292" marB="50292"/>
                </a:tc>
                <a:tc>
                  <a:txBody>
                    <a:bodyPr/>
                    <a:lstStyle/>
                    <a:p>
                      <a:pPr algn="ctr">
                        <a:lnSpc>
                          <a:spcPts val="1500"/>
                        </a:lnSpc>
                      </a:pPr>
                      <a:r>
                        <a:rPr lang="en-US" sz="2000" dirty="0" smtClean="0">
                          <a:solidFill>
                            <a:schemeClr val="tx1"/>
                          </a:solidFill>
                          <a:latin typeface="+mj-lt"/>
                          <a:ea typeface="黑体" pitchFamily="49" charset="-122"/>
                        </a:rPr>
                        <a:t>1</a:t>
                      </a:r>
                      <a:endParaRPr lang="en-US" sz="2000" dirty="0">
                        <a:solidFill>
                          <a:schemeClr val="tx1"/>
                        </a:solidFill>
                        <a:latin typeface="+mj-lt"/>
                        <a:ea typeface="黑体" pitchFamily="49" charset="-122"/>
                      </a:endParaRPr>
                    </a:p>
                  </a:txBody>
                  <a:tcPr marL="100584" marR="100584" marT="50292" marB="50292" anchor="ctr"/>
                </a:tc>
                <a:extLst>
                  <a:ext uri="{0D108BD9-81ED-4DB2-BD59-A6C34878D82A}">
                    <a16:rowId xmlns:a16="http://schemas.microsoft.com/office/drawing/2014/main" val="10007"/>
                  </a:ext>
                </a:extLst>
              </a:tr>
              <a:tr h="324104">
                <a:tc>
                  <a:txBody>
                    <a:bodyPr/>
                    <a:lstStyle/>
                    <a:p>
                      <a:pPr marL="0" marR="0" indent="0" algn="l" defTabSz="914400" rtl="0" eaLnBrk="1" fontAlgn="auto" latinLnBrk="0" hangingPunct="1">
                        <a:lnSpc>
                          <a:spcPts val="1600"/>
                        </a:lnSpc>
                        <a:spcBef>
                          <a:spcPts val="0"/>
                        </a:spcBef>
                        <a:spcAft>
                          <a:spcPts val="0"/>
                        </a:spcAft>
                        <a:buClrTx/>
                        <a:buSzTx/>
                        <a:buFontTx/>
                        <a:buNone/>
                        <a:tabLst/>
                        <a:defRPr/>
                      </a:pPr>
                      <a:r>
                        <a:rPr lang="en-GB" sz="1800" b="0" i="0" kern="1200" dirty="0" smtClean="0">
                          <a:solidFill>
                            <a:schemeClr val="tx1"/>
                          </a:solidFill>
                          <a:effectLst/>
                          <a:latin typeface="+mj-lt"/>
                          <a:ea typeface="+mn-ea"/>
                          <a:cs typeface="+mn-cs"/>
                        </a:rPr>
                        <a:t>8. A</a:t>
                      </a:r>
                      <a:r>
                        <a:rPr lang="en-US" altLang="zh-CN" sz="1800" b="0" i="0" kern="1200" dirty="0" err="1" smtClean="0">
                          <a:solidFill>
                            <a:schemeClr val="tx1"/>
                          </a:solidFill>
                          <a:effectLst/>
                          <a:latin typeface="+mj-lt"/>
                          <a:ea typeface="+mn-ea"/>
                          <a:cs typeface="+mn-cs"/>
                        </a:rPr>
                        <a:t>ustralia</a:t>
                      </a:r>
                      <a:endParaRPr lang="en-GB" sz="1800" b="0" i="0" kern="1200" dirty="0" smtClean="0">
                        <a:solidFill>
                          <a:schemeClr val="tx1"/>
                        </a:solidFill>
                        <a:effectLst/>
                        <a:latin typeface="+mj-lt"/>
                        <a:ea typeface="+mn-ea"/>
                        <a:cs typeface="+mn-cs"/>
                      </a:endParaRPr>
                    </a:p>
                  </a:txBody>
                  <a:tcPr marL="100584" marR="100584" marT="50292" marB="50292"/>
                </a:tc>
                <a:tc>
                  <a:txBody>
                    <a:bodyPr/>
                    <a:lstStyle/>
                    <a:p>
                      <a:pPr algn="ctr">
                        <a:lnSpc>
                          <a:spcPts val="1500"/>
                        </a:lnSpc>
                      </a:pPr>
                      <a:r>
                        <a:rPr lang="en-US" sz="2000" dirty="0" smtClean="0">
                          <a:solidFill>
                            <a:schemeClr val="tx1"/>
                          </a:solidFill>
                          <a:latin typeface="+mj-lt"/>
                          <a:ea typeface="黑体" pitchFamily="49" charset="-122"/>
                        </a:rPr>
                        <a:t>1</a:t>
                      </a:r>
                      <a:endParaRPr lang="en-US" sz="2000" dirty="0">
                        <a:solidFill>
                          <a:schemeClr val="tx1"/>
                        </a:solidFill>
                        <a:latin typeface="+mj-lt"/>
                        <a:ea typeface="黑体" pitchFamily="49" charset="-122"/>
                      </a:endParaRPr>
                    </a:p>
                  </a:txBody>
                  <a:tcPr marL="100584" marR="100584" marT="50292" marB="50292" anchor="ctr"/>
                </a:tc>
                <a:extLst>
                  <a:ext uri="{0D108BD9-81ED-4DB2-BD59-A6C34878D82A}">
                    <a16:rowId xmlns:a16="http://schemas.microsoft.com/office/drawing/2014/main" val="10008"/>
                  </a:ext>
                </a:extLst>
              </a:tr>
            </a:tbl>
          </a:graphicData>
        </a:graphic>
      </p:graphicFrame>
      <p:sp>
        <p:nvSpPr>
          <p:cNvPr id="59" name="Rectangle 58"/>
          <p:cNvSpPr/>
          <p:nvPr/>
        </p:nvSpPr>
        <p:spPr>
          <a:xfrm>
            <a:off x="530352" y="5251704"/>
            <a:ext cx="8633759" cy="278538"/>
          </a:xfrm>
          <a:prstGeom prst="rect">
            <a:avLst/>
          </a:prstGeom>
        </p:spPr>
        <p:txBody>
          <a:bodyPr wrap="square">
            <a:spAutoFit/>
          </a:bodyPr>
          <a:lstStyle/>
          <a:p>
            <a:pPr indent="-301752">
              <a:spcAft>
                <a:spcPts val="990"/>
              </a:spcAft>
            </a:pPr>
            <a:r>
              <a:rPr lang="zh-CN" altLang="en-US" sz="1210" dirty="0">
                <a:latin typeface="Georgia" pitchFamily="18" charset="0"/>
              </a:rPr>
              <a:t>* </a:t>
            </a:r>
            <a:r>
              <a:rPr lang="en-US" altLang="zh-CN" sz="1210" dirty="0">
                <a:latin typeface="Georgia" pitchFamily="18" charset="0"/>
              </a:rPr>
              <a:t>In some cases there are more than one SPV. Some cases do not disclose the location of the SPV.</a:t>
            </a:r>
            <a:endParaRPr lang="en-US" sz="1210" dirty="0">
              <a:latin typeface="Georgia" pitchFamily="18" charset="0"/>
            </a:endParaRPr>
          </a:p>
        </p:txBody>
      </p:sp>
      <p:grpSp>
        <p:nvGrpSpPr>
          <p:cNvPr id="78" name="Group 77"/>
          <p:cNvGrpSpPr/>
          <p:nvPr>
            <p:custDataLst>
              <p:tags r:id="rId6"/>
            </p:custDataLst>
          </p:nvPr>
        </p:nvGrpSpPr>
        <p:grpSpPr>
          <a:xfrm>
            <a:off x="5283980" y="704088"/>
            <a:ext cx="4236835" cy="138499"/>
            <a:chOff x="5283980" y="704088"/>
            <a:chExt cx="4236835" cy="138499"/>
          </a:xfrm>
        </p:grpSpPr>
        <p:sp>
          <p:nvSpPr>
            <p:cNvPr id="79" name="745">
              <a:hlinkClick r:id="rId13" action="ppaction://hlinksldjump"/>
            </p:cNvPr>
            <p:cNvSpPr txBox="1"/>
            <p:nvPr>
              <p:custDataLst>
                <p:tags r:id="rId7"/>
              </p:custDataLst>
            </p:nvPr>
          </p:nvSpPr>
          <p:spPr>
            <a:xfrm>
              <a:off x="7868824" y="704088"/>
              <a:ext cx="1651991" cy="138499"/>
            </a:xfrm>
            <a:prstGeom prst="rect">
              <a:avLst/>
            </a:prstGeom>
            <a:noFill/>
            <a:ln>
              <a:noFill/>
            </a:ln>
          </p:spPr>
          <p:txBody>
            <a:bodyPr wrap="none" lIns="27432" tIns="0" rIns="27432" bIns="0" rtlCol="0">
              <a:spAutoFit/>
            </a:bodyPr>
            <a:lstStyle/>
            <a:p>
              <a:r>
                <a:rPr lang="en-US" sz="900" noProof="1" smtClean="0">
                  <a:solidFill>
                    <a:schemeClr val="tx2"/>
                  </a:solidFill>
                  <a:cs typeface="Arial" pitchFamily="34" charset="0"/>
                </a:rPr>
                <a:t>Part II  Indirect Equity Transfer </a:t>
              </a:r>
              <a:endParaRPr lang="en-GB" sz="900" noProof="1" smtClean="0">
                <a:solidFill>
                  <a:schemeClr val="tx2"/>
                </a:solidFill>
                <a:cs typeface="Arial" pitchFamily="34" charset="0"/>
              </a:endParaRPr>
            </a:p>
          </p:txBody>
        </p:sp>
        <p:cxnSp>
          <p:nvCxnSpPr>
            <p:cNvPr id="80" name="Divider1"/>
            <p:cNvCxnSpPr/>
            <p:nvPr>
              <p:custDataLst>
                <p:tags r:id="rId8"/>
              </p:custDataLst>
            </p:nvPr>
          </p:nvCxnSpPr>
          <p:spPr>
            <a:xfrm>
              <a:off x="7843424"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81" name="638">
              <a:hlinkClick r:id="rId14" action="ppaction://hlinksldjump"/>
            </p:cNvPr>
            <p:cNvSpPr txBox="1"/>
            <p:nvPr>
              <p:custDataLst>
                <p:tags r:id="rId9"/>
              </p:custDataLst>
            </p:nvPr>
          </p:nvSpPr>
          <p:spPr>
            <a:xfrm>
              <a:off x="5787725" y="704088"/>
              <a:ext cx="2030299" cy="138499"/>
            </a:xfrm>
            <a:prstGeom prst="rect">
              <a:avLst/>
            </a:prstGeom>
            <a:noFill/>
            <a:ln>
              <a:noFill/>
            </a:ln>
          </p:spPr>
          <p:txBody>
            <a:bodyPr wrap="none" lIns="27432" tIns="0" rIns="27432" bIns="0" rtlCol="0">
              <a:spAutoFit/>
            </a:bodyPr>
            <a:lstStyle/>
            <a:p>
              <a:r>
                <a:rPr lang="en-US" sz="900" noProof="1" smtClean="0">
                  <a:solidFill>
                    <a:schemeClr val="tx1"/>
                  </a:solidFill>
                  <a:latin typeface="+mn-lt"/>
                  <a:cs typeface="Arial" pitchFamily="34" charset="0"/>
                </a:rPr>
                <a:t>Part I  Brief Introduction to PRC GAAR</a:t>
              </a:r>
              <a:endParaRPr lang="en-GB" sz="900" noProof="1" smtClean="0">
                <a:solidFill>
                  <a:schemeClr val="tx1"/>
                </a:solidFill>
                <a:latin typeface="+mn-lt"/>
                <a:cs typeface="Arial" pitchFamily="34" charset="0"/>
              </a:endParaRPr>
            </a:p>
          </p:txBody>
        </p:sp>
        <p:cxnSp>
          <p:nvCxnSpPr>
            <p:cNvPr id="82" name="Divider2"/>
            <p:cNvCxnSpPr/>
            <p:nvPr>
              <p:custDataLst>
                <p:tags r:id="rId10"/>
              </p:custDataLst>
            </p:nvPr>
          </p:nvCxnSpPr>
          <p:spPr>
            <a:xfrm>
              <a:off x="5762325"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83" name="735">
              <a:hlinkClick r:id="rId15" action="ppaction://hlinksldjump"/>
            </p:cNvPr>
            <p:cNvSpPr txBox="1"/>
            <p:nvPr>
              <p:custDataLst>
                <p:tags r:id="rId11"/>
              </p:custDataLst>
            </p:nvPr>
          </p:nvSpPr>
          <p:spPr>
            <a:xfrm>
              <a:off x="5283980" y="704088"/>
              <a:ext cx="452945" cy="138499"/>
            </a:xfrm>
            <a:prstGeom prst="rect">
              <a:avLst/>
            </a:prstGeom>
            <a:noFill/>
            <a:ln>
              <a:noFill/>
            </a:ln>
          </p:spPr>
          <p:txBody>
            <a:bodyPr wrap="none" lIns="27432" tIns="0" rIns="27432" bIns="0" rtlCol="0">
              <a:spAutoFit/>
            </a:bodyPr>
            <a:lstStyle/>
            <a:p>
              <a:r>
                <a:rPr lang="en-GB" sz="900" noProof="1" smtClean="0">
                  <a:solidFill>
                    <a:schemeClr val="tx1"/>
                  </a:solidFill>
                  <a:latin typeface="+mn-lt"/>
                  <a:cs typeface="Arial" pitchFamily="34" charset="0"/>
                </a:rPr>
                <a:t>Agenda</a:t>
              </a:r>
              <a:endParaRPr lang="en-GB" sz="900" noProof="1" smtClean="0">
                <a:solidFill>
                  <a:schemeClr val="tx1"/>
                </a:solidFill>
                <a:latin typeface="+mn-lt"/>
                <a:cs typeface="Arial" pitchFamily="34" charset="0"/>
              </a:endParaRPr>
            </a:p>
          </p:txBody>
        </p:sp>
      </p:grpSp>
    </p:spTree>
    <p:custDataLst>
      <p:tags r:id="rId1"/>
    </p:custDataLst>
    <p:extLst>
      <p:ext uri="{BB962C8B-B14F-4D97-AF65-F5344CB8AC3E}">
        <p14:creationId xmlns:p14="http://schemas.microsoft.com/office/powerpoint/2010/main" val="397062698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en-GB"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sp>
        <p:nvSpPr>
          <p:cNvPr id="61" name="Content Placeholder 60"/>
          <p:cNvSpPr>
            <a:spLocks noGrp="1"/>
          </p:cNvSpPr>
          <p:nvPr>
            <p:ph sz="quarter" idx="24"/>
          </p:nvPr>
        </p:nvSpPr>
        <p:spPr>
          <a:xfrm>
            <a:off x="2652936" y="2045596"/>
            <a:ext cx="6865968" cy="4882896"/>
          </a:xfrm>
        </p:spPr>
        <p:txBody>
          <a:bodyPr/>
          <a:lstStyle/>
          <a:p>
            <a:pPr>
              <a:spcBef>
                <a:spcPts val="1200"/>
              </a:spcBef>
            </a:pPr>
            <a:r>
              <a:rPr lang="en-AU" sz="1100" dirty="0"/>
              <a:t>With about 30 years Chinese tax and international tax experience, Wendy is a tax partner of PwC China firm.  She mainly assists multinational companies with structuring investment into and out of China, M&amp;A, and other Chinese tax related matters</a:t>
            </a:r>
            <a:r>
              <a:rPr lang="en-AU" sz="1100" dirty="0" smtClean="0"/>
              <a:t>.</a:t>
            </a:r>
          </a:p>
          <a:p>
            <a:pPr>
              <a:spcAft>
                <a:spcPts val="0"/>
              </a:spcAft>
            </a:pPr>
            <a:r>
              <a:rPr lang="en-AU" sz="1100" dirty="0"/>
              <a:t/>
            </a:r>
            <a:br>
              <a:rPr lang="en-AU" sz="1100" dirty="0"/>
            </a:br>
            <a:r>
              <a:rPr lang="en-AU" sz="1100" dirty="0"/>
              <a:t>Prior to joining PwC China, Wendy was a tax Partner / Principal in another Big Four international accounting firm between 1998 and 2006 both in United States and China.  She worked on numerous cross border transactions including procurement, manufacturing, financing, cross border supply chain issues and transfer pricing.  She assisted many multinational companies to develop tax strategies for their operations in China and was also a member of her firm's global Supply Chain team</a:t>
            </a:r>
            <a:r>
              <a:rPr lang="en-AU" sz="1100" dirty="0" smtClean="0"/>
              <a:t>.</a:t>
            </a:r>
          </a:p>
          <a:p>
            <a:pPr>
              <a:spcAft>
                <a:spcPts val="0"/>
              </a:spcAft>
            </a:pPr>
            <a:r>
              <a:rPr lang="en-AU" sz="1100" dirty="0"/>
              <a:t/>
            </a:r>
            <a:br>
              <a:rPr lang="en-AU" sz="1100" dirty="0"/>
            </a:br>
            <a:r>
              <a:rPr lang="en-AU" sz="1100" dirty="0"/>
              <a:t>Between 1988 - 1996, Wendy was a Principal Supervising Agent, State Administration of Taxation, People's Republic of China and was mainly responsible for tax policies related to foreign investment and foreign expatriates working in China.  She participated as part of the negotiating team in income tax treaty negotiations with various countries, drafted transfer pricing regulations, and Income Tax Regulations for the Income Tax Law for Foreign Invested Enterprises that have been effective since 1991</a:t>
            </a:r>
            <a:r>
              <a:rPr lang="en-AU" sz="1100" dirty="0" smtClean="0"/>
              <a:t>.</a:t>
            </a:r>
          </a:p>
          <a:p>
            <a:pPr>
              <a:spcAft>
                <a:spcPts val="0"/>
              </a:spcAft>
            </a:pPr>
            <a:r>
              <a:rPr lang="en-AU" sz="1100" dirty="0"/>
              <a:t/>
            </a:r>
            <a:br>
              <a:rPr lang="en-AU" sz="1100" dirty="0"/>
            </a:br>
            <a:r>
              <a:rPr lang="en-AU" sz="1100" dirty="0"/>
              <a:t>Wendy has published many articles on Chinese tax issues, including Chinese tax developments overview (BNA Daily Tax Report, 2006), Chinese holding companies (International Tax Review. 2004), M&amp;A developments and strategies in China (US / International Tax Strategies, 2003), Corporate income tax reform in China (Practical Asian Tax Strategies, 2003) and Seconded employees and permanent establishments (Tax Notes International, 2016).  She is a frequent speaker at lecturers for international tax meetings.  </a:t>
            </a:r>
            <a:endParaRPr lang="en-AU" sz="1100" dirty="0" smtClean="0"/>
          </a:p>
          <a:p>
            <a:pPr>
              <a:spcAft>
                <a:spcPts val="0"/>
              </a:spcAft>
            </a:pPr>
            <a:r>
              <a:rPr lang="en-AU" sz="1100" dirty="0"/>
              <a:t/>
            </a:r>
            <a:br>
              <a:rPr lang="en-AU" sz="1100" dirty="0"/>
            </a:br>
            <a:r>
              <a:rPr lang="en-AU" sz="1100" dirty="0"/>
              <a:t>Wendy received a Master in Taxation from the University of Denver, USA in 1997, a Master of Arts in Economics from Georgia State University, USA in 1994, a Master in Public Finance from the Fiscal Science Research Institute (Beijing) in 1988, and a Bachelor with a major in Economics from </a:t>
            </a:r>
            <a:r>
              <a:rPr lang="en-AU" sz="1100" dirty="0" err="1"/>
              <a:t>Nankai</a:t>
            </a:r>
            <a:r>
              <a:rPr lang="en-AU" sz="1100" dirty="0"/>
              <a:t> University in 1985</a:t>
            </a:r>
            <a:r>
              <a:rPr lang="en-AU" sz="1100" dirty="0" smtClean="0"/>
              <a:t>.</a:t>
            </a:r>
          </a:p>
          <a:p>
            <a:pPr>
              <a:spcAft>
                <a:spcPts val="0"/>
              </a:spcAft>
            </a:pPr>
            <a:r>
              <a:rPr lang="en-AU" sz="1100" dirty="0"/>
              <a:t/>
            </a:r>
            <a:br>
              <a:rPr lang="en-AU" sz="1100" dirty="0"/>
            </a:br>
            <a:r>
              <a:rPr lang="en-AU" sz="1100" dirty="0"/>
              <a:t>She is certified tax agent in China.</a:t>
            </a:r>
            <a:endParaRPr lang="en-US" sz="1100" dirty="0"/>
          </a:p>
          <a:p>
            <a:endParaRPr lang="en-GB" dirty="0"/>
          </a:p>
        </p:txBody>
      </p:sp>
      <p:sp>
        <p:nvSpPr>
          <p:cNvPr id="60" name="Title 59"/>
          <p:cNvSpPr>
            <a:spLocks noGrp="1"/>
          </p:cNvSpPr>
          <p:nvPr>
            <p:ph type="title"/>
          </p:nvPr>
        </p:nvSpPr>
        <p:spPr/>
        <p:txBody>
          <a:bodyPr/>
          <a:lstStyle/>
          <a:p>
            <a:r>
              <a:rPr lang="en-US" dirty="0" smtClean="0"/>
              <a:t>Speaker </a:t>
            </a:r>
            <a:endParaRPr lang="en-GB" dirty="0"/>
          </a:p>
        </p:txBody>
      </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en-GB" sz="1100" noProof="1" smtClean="0">
                <a:latin typeface="+mj-lt"/>
              </a:rPr>
              <a:t>22</a:t>
            </a:r>
            <a:endParaRPr lang="en-GB" sz="1100" noProof="1" smtClean="0">
              <a:latin typeface="+mj-lt"/>
            </a:endParaRP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en-GB" sz="1100" noProof="1" smtClean="0">
                <a:solidFill>
                  <a:schemeClr val="tx1"/>
                </a:solidFill>
                <a:latin typeface="+mj-lt"/>
              </a:rPr>
              <a:t>Overview of PRC GAAR</a:t>
            </a: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en-US" sz="900" noProof="1" smtClean="0">
                <a:solidFill>
                  <a:schemeClr val="tx1"/>
                </a:solidFill>
              </a:rPr>
              <a:t>-1 Part II  Indirect Equity Transfer </a:t>
            </a:r>
            <a:endParaRPr lang="en-GB" sz="900" noProof="1" smtClean="0">
              <a:solidFill>
                <a:schemeClr val="tx1"/>
              </a:solidFill>
            </a:endParaRPr>
          </a:p>
        </p:txBody>
      </p:sp>
      <p:sp>
        <p:nvSpPr>
          <p:cNvPr id="58" name="Rectangle 57"/>
          <p:cNvSpPr/>
          <p:nvPr/>
        </p:nvSpPr>
        <p:spPr bwMode="ltGray">
          <a:xfrm>
            <a:off x="533398" y="2514600"/>
            <a:ext cx="1904400" cy="4539952"/>
          </a:xfrm>
          <a:prstGeom prst="rect">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600"/>
              </a:spcAft>
            </a:pPr>
            <a:endParaRPr lang="en-US" sz="1600" b="1" dirty="0" smtClean="0">
              <a:solidFill>
                <a:schemeClr val="bg1"/>
              </a:solidFill>
              <a:ea typeface="宋体" pitchFamily="2" charset="-122"/>
              <a:cs typeface="Arial" pitchFamily="34" charset="0"/>
            </a:endParaRPr>
          </a:p>
          <a:p>
            <a:pPr lvl="0">
              <a:spcAft>
                <a:spcPts val="600"/>
              </a:spcAft>
            </a:pPr>
            <a:endParaRPr lang="en-US" sz="1600" b="1" dirty="0">
              <a:solidFill>
                <a:schemeClr val="bg1"/>
              </a:solidFill>
              <a:ea typeface="宋体" pitchFamily="2" charset="-122"/>
              <a:cs typeface="Arial" pitchFamily="34" charset="0"/>
            </a:endParaRPr>
          </a:p>
          <a:p>
            <a:pPr lvl="0">
              <a:spcAft>
                <a:spcPts val="600"/>
              </a:spcAft>
            </a:pPr>
            <a:endParaRPr lang="en-US" sz="1600" b="1" dirty="0" smtClean="0">
              <a:solidFill>
                <a:schemeClr val="bg1"/>
              </a:solidFill>
              <a:ea typeface="宋体" pitchFamily="2" charset="-122"/>
              <a:cs typeface="Arial" pitchFamily="34" charset="0"/>
            </a:endParaRPr>
          </a:p>
          <a:p>
            <a:pPr lvl="0">
              <a:spcAft>
                <a:spcPts val="600"/>
              </a:spcAft>
            </a:pPr>
            <a:endParaRPr lang="en-US" sz="1600" b="1" dirty="0">
              <a:solidFill>
                <a:schemeClr val="bg1"/>
              </a:solidFill>
              <a:ea typeface="宋体" pitchFamily="2" charset="-122"/>
              <a:cs typeface="Arial" pitchFamily="34" charset="0"/>
            </a:endParaRPr>
          </a:p>
          <a:p>
            <a:pPr lvl="0">
              <a:spcAft>
                <a:spcPts val="600"/>
              </a:spcAft>
            </a:pPr>
            <a:endParaRPr lang="en-US" sz="1600" b="1" dirty="0" smtClean="0">
              <a:solidFill>
                <a:schemeClr val="bg1"/>
              </a:solidFill>
              <a:ea typeface="宋体" pitchFamily="2" charset="-122"/>
              <a:cs typeface="Arial" pitchFamily="34" charset="0"/>
            </a:endParaRPr>
          </a:p>
          <a:p>
            <a:pPr lvl="0">
              <a:spcAft>
                <a:spcPts val="600"/>
              </a:spcAft>
            </a:pPr>
            <a:endParaRPr lang="en-US" altLang="zh-CN" sz="1600" b="1" dirty="0" smtClean="0">
              <a:solidFill>
                <a:schemeClr val="bg1"/>
              </a:solidFill>
              <a:latin typeface="+mj-lt"/>
              <a:ea typeface="宋体" pitchFamily="2" charset="-122"/>
              <a:cs typeface="Arial" pitchFamily="34" charset="0"/>
            </a:endParaRPr>
          </a:p>
          <a:p>
            <a:pPr lvl="0">
              <a:spcAft>
                <a:spcPts val="600"/>
              </a:spcAft>
            </a:pPr>
            <a:r>
              <a:rPr lang="en-US" altLang="zh-CN" sz="1600" b="1" dirty="0" smtClean="0">
                <a:solidFill>
                  <a:schemeClr val="bg1"/>
                </a:solidFill>
                <a:latin typeface="+mj-lt"/>
                <a:ea typeface="宋体" pitchFamily="2" charset="-122"/>
                <a:cs typeface="Arial" pitchFamily="34" charset="0"/>
              </a:rPr>
              <a:t>Wendy </a:t>
            </a:r>
            <a:r>
              <a:rPr lang="en-US" altLang="zh-CN" sz="1600" b="1" dirty="0" err="1" smtClean="0">
                <a:solidFill>
                  <a:schemeClr val="bg1"/>
                </a:solidFill>
                <a:latin typeface="+mj-lt"/>
                <a:ea typeface="宋体" pitchFamily="2" charset="-122"/>
                <a:cs typeface="Arial" pitchFamily="34" charset="0"/>
              </a:rPr>
              <a:t>Guo</a:t>
            </a:r>
            <a:endParaRPr lang="en-US" sz="1600" b="1" dirty="0">
              <a:solidFill>
                <a:schemeClr val="bg1"/>
              </a:solidFill>
              <a:latin typeface="+mj-lt"/>
              <a:ea typeface="宋体" pitchFamily="2" charset="-122"/>
              <a:cs typeface="Arial" pitchFamily="34" charset="0"/>
            </a:endParaRPr>
          </a:p>
          <a:p>
            <a:pPr lvl="0">
              <a:spcAft>
                <a:spcPts val="600"/>
              </a:spcAft>
            </a:pPr>
            <a:r>
              <a:rPr lang="en-GB" sz="1200" dirty="0">
                <a:solidFill>
                  <a:schemeClr val="bg1"/>
                </a:solidFill>
                <a:latin typeface="+mj-lt"/>
              </a:rPr>
              <a:t>Partner </a:t>
            </a:r>
          </a:p>
          <a:p>
            <a:pPr lvl="0">
              <a:spcAft>
                <a:spcPts val="600"/>
              </a:spcAft>
            </a:pPr>
            <a:r>
              <a:rPr lang="en-GB" sz="1200" dirty="0">
                <a:solidFill>
                  <a:schemeClr val="bg1"/>
                </a:solidFill>
                <a:latin typeface="+mj-lt"/>
              </a:rPr>
              <a:t>China Tax and Business Advisory </a:t>
            </a:r>
            <a:r>
              <a:rPr lang="en-GB" sz="1200" dirty="0" smtClean="0">
                <a:solidFill>
                  <a:schemeClr val="bg1"/>
                </a:solidFill>
                <a:latin typeface="+mj-lt"/>
              </a:rPr>
              <a:t>Services</a:t>
            </a:r>
            <a:endParaRPr lang="en-US" dirty="0">
              <a:solidFill>
                <a:schemeClr val="bg1"/>
              </a:solidFill>
              <a:latin typeface="+mj-lt"/>
              <a:ea typeface="宋体" pitchFamily="2" charset="-122"/>
              <a:cs typeface="Arial" pitchFamily="34" charset="0"/>
            </a:endParaRPr>
          </a:p>
          <a:p>
            <a:pPr lvl="0">
              <a:spcAft>
                <a:spcPts val="600"/>
              </a:spcAft>
            </a:pPr>
            <a:r>
              <a:rPr lang="en-US" dirty="0" smtClean="0">
                <a:solidFill>
                  <a:schemeClr val="bg1"/>
                </a:solidFill>
                <a:latin typeface="+mj-lt"/>
                <a:ea typeface="宋体" pitchFamily="2" charset="-122"/>
                <a:cs typeface="Arial" pitchFamily="34" charset="0"/>
              </a:rPr>
              <a:t>(86</a:t>
            </a:r>
            <a:r>
              <a:rPr lang="en-US" dirty="0">
                <a:solidFill>
                  <a:schemeClr val="bg1"/>
                </a:solidFill>
                <a:latin typeface="+mj-lt"/>
                <a:ea typeface="宋体" pitchFamily="2" charset="-122"/>
                <a:cs typeface="Arial" pitchFamily="34" charset="0"/>
              </a:rPr>
              <a:t>) 010 6533 2855 </a:t>
            </a:r>
            <a:r>
              <a:rPr lang="en-US" dirty="0" smtClean="0">
                <a:solidFill>
                  <a:schemeClr val="bg1"/>
                </a:solidFill>
                <a:latin typeface="+mj-lt"/>
                <a:ea typeface="宋体" pitchFamily="2" charset="-122"/>
                <a:cs typeface="Arial" pitchFamily="34" charset="0"/>
              </a:rPr>
              <a:t>(</a:t>
            </a:r>
            <a:r>
              <a:rPr lang="en-US" dirty="0">
                <a:solidFill>
                  <a:schemeClr val="bg1"/>
                </a:solidFill>
                <a:latin typeface="+mj-lt"/>
                <a:ea typeface="宋体" pitchFamily="2" charset="-122"/>
                <a:cs typeface="Arial" pitchFamily="34" charset="0"/>
              </a:rPr>
              <a:t>O</a:t>
            </a:r>
            <a:r>
              <a:rPr lang="en-US" dirty="0" smtClean="0">
                <a:solidFill>
                  <a:schemeClr val="bg1"/>
                </a:solidFill>
                <a:latin typeface="+mj-lt"/>
                <a:ea typeface="宋体" pitchFamily="2" charset="-122"/>
                <a:cs typeface="Arial" pitchFamily="34" charset="0"/>
              </a:rPr>
              <a:t>ffice)</a:t>
            </a:r>
          </a:p>
          <a:p>
            <a:pPr lvl="0">
              <a:spcAft>
                <a:spcPts val="600"/>
              </a:spcAft>
            </a:pPr>
            <a:r>
              <a:rPr lang="en-US" dirty="0" smtClean="0">
                <a:solidFill>
                  <a:schemeClr val="bg1"/>
                </a:solidFill>
                <a:latin typeface="+mj-lt"/>
                <a:ea typeface="宋体" pitchFamily="2" charset="-122"/>
                <a:cs typeface="Arial" pitchFamily="34" charset="0"/>
              </a:rPr>
              <a:t>(</a:t>
            </a:r>
            <a:r>
              <a:rPr lang="en-US" dirty="0">
                <a:solidFill>
                  <a:schemeClr val="bg1"/>
                </a:solidFill>
                <a:latin typeface="+mj-lt"/>
                <a:ea typeface="宋体" pitchFamily="2" charset="-122"/>
                <a:cs typeface="Arial" pitchFamily="34" charset="0"/>
              </a:rPr>
              <a:t>86</a:t>
            </a:r>
            <a:r>
              <a:rPr lang="en-US" dirty="0" smtClean="0">
                <a:solidFill>
                  <a:schemeClr val="bg1"/>
                </a:solidFill>
                <a:latin typeface="+mj-lt"/>
                <a:ea typeface="宋体" pitchFamily="2" charset="-122"/>
                <a:cs typeface="Arial" pitchFamily="34" charset="0"/>
              </a:rPr>
              <a:t>) 136 0137 1389 </a:t>
            </a:r>
            <a:r>
              <a:rPr lang="en-US" dirty="0">
                <a:solidFill>
                  <a:schemeClr val="bg1"/>
                </a:solidFill>
                <a:latin typeface="+mj-lt"/>
                <a:ea typeface="宋体" pitchFamily="2" charset="-122"/>
                <a:cs typeface="Arial" pitchFamily="34" charset="0"/>
              </a:rPr>
              <a:t>(Cell</a:t>
            </a:r>
            <a:r>
              <a:rPr lang="en-US" dirty="0" smtClean="0">
                <a:solidFill>
                  <a:schemeClr val="bg1"/>
                </a:solidFill>
                <a:latin typeface="+mj-lt"/>
                <a:ea typeface="宋体" pitchFamily="2" charset="-122"/>
                <a:cs typeface="Arial" pitchFamily="34" charset="0"/>
              </a:rPr>
              <a:t>)</a:t>
            </a:r>
          </a:p>
          <a:p>
            <a:pPr lvl="0">
              <a:spcAft>
                <a:spcPts val="600"/>
              </a:spcAft>
            </a:pPr>
            <a:r>
              <a:rPr lang="en-US" dirty="0" smtClean="0">
                <a:solidFill>
                  <a:schemeClr val="bg1"/>
                </a:solidFill>
                <a:latin typeface="+mj-lt"/>
                <a:ea typeface="宋体" pitchFamily="2" charset="-122"/>
                <a:cs typeface="Arial" pitchFamily="34" charset="0"/>
              </a:rPr>
              <a:t>(86</a:t>
            </a:r>
            <a:r>
              <a:rPr lang="en-US" dirty="0">
                <a:solidFill>
                  <a:schemeClr val="bg1"/>
                </a:solidFill>
                <a:latin typeface="+mj-lt"/>
                <a:ea typeface="宋体" pitchFamily="2" charset="-122"/>
                <a:cs typeface="Arial" pitchFamily="34" charset="0"/>
              </a:rPr>
              <a:t>) 010 6533 8800 </a:t>
            </a:r>
            <a:r>
              <a:rPr lang="en-US" dirty="0" smtClean="0">
                <a:solidFill>
                  <a:schemeClr val="bg1"/>
                </a:solidFill>
                <a:latin typeface="+mj-lt"/>
                <a:ea typeface="宋体" pitchFamily="2" charset="-122"/>
                <a:cs typeface="Arial" pitchFamily="34" charset="0"/>
              </a:rPr>
              <a:t>(Fax)</a:t>
            </a:r>
            <a:endParaRPr lang="en-US" dirty="0">
              <a:solidFill>
                <a:schemeClr val="bg1"/>
              </a:solidFill>
              <a:latin typeface="+mj-lt"/>
              <a:ea typeface="宋体" pitchFamily="2" charset="-122"/>
              <a:cs typeface="Arial" pitchFamily="34" charset="0"/>
            </a:endParaRPr>
          </a:p>
          <a:p>
            <a:pPr lvl="0">
              <a:spcAft>
                <a:spcPts val="600"/>
              </a:spcAft>
            </a:pPr>
            <a:r>
              <a:rPr lang="en-US" dirty="0" err="1">
                <a:solidFill>
                  <a:schemeClr val="bg1"/>
                </a:solidFill>
                <a:latin typeface="+mj-lt"/>
                <a:ea typeface="宋体" pitchFamily="2" charset="-122"/>
                <a:cs typeface="Arial" pitchFamily="34" charset="0"/>
              </a:rPr>
              <a:t>Wechat</a:t>
            </a:r>
            <a:r>
              <a:rPr lang="en-US" dirty="0">
                <a:solidFill>
                  <a:schemeClr val="bg1"/>
                </a:solidFill>
                <a:latin typeface="+mj-lt"/>
                <a:ea typeface="宋体" pitchFamily="2" charset="-122"/>
                <a:cs typeface="Arial" pitchFamily="34" charset="0"/>
              </a:rPr>
              <a:t>: </a:t>
            </a:r>
            <a:r>
              <a:rPr lang="en-US" dirty="0" smtClean="0">
                <a:solidFill>
                  <a:schemeClr val="bg1"/>
                </a:solidFill>
                <a:latin typeface="+mj-lt"/>
                <a:ea typeface="宋体" pitchFamily="2" charset="-122"/>
                <a:cs typeface="Arial" pitchFamily="34" charset="0"/>
              </a:rPr>
              <a:t> wendy65332855</a:t>
            </a:r>
            <a:endParaRPr lang="en-US" dirty="0">
              <a:solidFill>
                <a:schemeClr val="bg1"/>
              </a:solidFill>
              <a:latin typeface="+mj-lt"/>
              <a:ea typeface="宋体" pitchFamily="2" charset="-122"/>
              <a:cs typeface="Arial" pitchFamily="34" charset="0"/>
            </a:endParaRPr>
          </a:p>
          <a:p>
            <a:pPr lvl="0">
              <a:spcAft>
                <a:spcPts val="600"/>
              </a:spcAft>
            </a:pPr>
            <a:r>
              <a:rPr lang="en-US" dirty="0" smtClean="0">
                <a:solidFill>
                  <a:schemeClr val="bg1"/>
                </a:solidFill>
                <a:latin typeface="+mj-lt"/>
                <a:ea typeface="宋体" pitchFamily="2" charset="-122"/>
                <a:cs typeface="Arial" pitchFamily="34" charset="0"/>
              </a:rPr>
              <a:t>Email: wendy.guo@cn.pwc.com</a:t>
            </a:r>
            <a:endParaRPr lang="en-US" dirty="0">
              <a:solidFill>
                <a:schemeClr val="bg1"/>
              </a:solidFill>
              <a:latin typeface="+mj-lt"/>
              <a:ea typeface="宋体" pitchFamily="2" charset="-122"/>
              <a:cs typeface="Arial" pitchFamily="34" charset="0"/>
            </a:endParaRPr>
          </a:p>
        </p:txBody>
      </p:sp>
      <p:pic>
        <p:nvPicPr>
          <p:cNvPr id="59" name="Picture 10" descr="C:\Users\WENDYG~1\AppData\Local\Temp\notesD7D756\FullSizeRender.jp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34007" y="2046878"/>
            <a:ext cx="1903791" cy="2346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1" name="Group 80"/>
          <p:cNvGrpSpPr/>
          <p:nvPr>
            <p:custDataLst>
              <p:tags r:id="rId6"/>
            </p:custDataLst>
          </p:nvPr>
        </p:nvGrpSpPr>
        <p:grpSpPr>
          <a:xfrm>
            <a:off x="5283980" y="704088"/>
            <a:ext cx="4236835" cy="138499"/>
            <a:chOff x="5283980" y="704088"/>
            <a:chExt cx="4236835" cy="138499"/>
          </a:xfrm>
        </p:grpSpPr>
        <p:sp>
          <p:nvSpPr>
            <p:cNvPr id="82" name="745">
              <a:hlinkClick r:id="rId14" action="ppaction://hlinksldjump"/>
            </p:cNvPr>
            <p:cNvSpPr txBox="1"/>
            <p:nvPr>
              <p:custDataLst>
                <p:tags r:id="rId7"/>
              </p:custDataLst>
            </p:nvPr>
          </p:nvSpPr>
          <p:spPr>
            <a:xfrm>
              <a:off x="7868824" y="704088"/>
              <a:ext cx="1651991" cy="138499"/>
            </a:xfrm>
            <a:prstGeom prst="rect">
              <a:avLst/>
            </a:prstGeom>
            <a:noFill/>
            <a:ln>
              <a:noFill/>
            </a:ln>
          </p:spPr>
          <p:txBody>
            <a:bodyPr wrap="none" lIns="27432" tIns="0" rIns="27432" bIns="0" rtlCol="0">
              <a:spAutoFit/>
            </a:bodyPr>
            <a:lstStyle/>
            <a:p>
              <a:r>
                <a:rPr lang="en-US" sz="900" noProof="1" smtClean="0">
                  <a:solidFill>
                    <a:schemeClr val="tx2"/>
                  </a:solidFill>
                  <a:cs typeface="Arial" pitchFamily="34" charset="0"/>
                </a:rPr>
                <a:t>Part II  Indirect Equity Transfer </a:t>
              </a:r>
              <a:endParaRPr lang="en-GB" sz="900" noProof="1" smtClean="0">
                <a:solidFill>
                  <a:schemeClr val="tx2"/>
                </a:solidFill>
                <a:cs typeface="Arial" pitchFamily="34" charset="0"/>
              </a:endParaRPr>
            </a:p>
          </p:txBody>
        </p:sp>
        <p:cxnSp>
          <p:nvCxnSpPr>
            <p:cNvPr id="83" name="Divider1"/>
            <p:cNvCxnSpPr/>
            <p:nvPr>
              <p:custDataLst>
                <p:tags r:id="rId8"/>
              </p:custDataLst>
            </p:nvPr>
          </p:nvCxnSpPr>
          <p:spPr>
            <a:xfrm>
              <a:off x="7843424"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84" name="638">
              <a:hlinkClick r:id="rId15" action="ppaction://hlinksldjump"/>
            </p:cNvPr>
            <p:cNvSpPr txBox="1"/>
            <p:nvPr>
              <p:custDataLst>
                <p:tags r:id="rId9"/>
              </p:custDataLst>
            </p:nvPr>
          </p:nvSpPr>
          <p:spPr>
            <a:xfrm>
              <a:off x="5787725" y="704088"/>
              <a:ext cx="2030299" cy="138499"/>
            </a:xfrm>
            <a:prstGeom prst="rect">
              <a:avLst/>
            </a:prstGeom>
            <a:noFill/>
            <a:ln>
              <a:noFill/>
            </a:ln>
          </p:spPr>
          <p:txBody>
            <a:bodyPr wrap="none" lIns="27432" tIns="0" rIns="27432" bIns="0" rtlCol="0">
              <a:spAutoFit/>
            </a:bodyPr>
            <a:lstStyle/>
            <a:p>
              <a:r>
                <a:rPr lang="en-US" sz="900" noProof="1" smtClean="0">
                  <a:solidFill>
                    <a:schemeClr val="tx1"/>
                  </a:solidFill>
                  <a:latin typeface="+mn-lt"/>
                  <a:cs typeface="Arial" pitchFamily="34" charset="0"/>
                </a:rPr>
                <a:t>Part I  Brief Introduction to PRC GAAR</a:t>
              </a:r>
              <a:endParaRPr lang="en-GB" sz="900" noProof="1" smtClean="0">
                <a:solidFill>
                  <a:schemeClr val="tx1"/>
                </a:solidFill>
                <a:latin typeface="+mn-lt"/>
                <a:cs typeface="Arial" pitchFamily="34" charset="0"/>
              </a:endParaRPr>
            </a:p>
          </p:txBody>
        </p:sp>
        <p:cxnSp>
          <p:nvCxnSpPr>
            <p:cNvPr id="85" name="Divider2"/>
            <p:cNvCxnSpPr/>
            <p:nvPr>
              <p:custDataLst>
                <p:tags r:id="rId10"/>
              </p:custDataLst>
            </p:nvPr>
          </p:nvCxnSpPr>
          <p:spPr>
            <a:xfrm>
              <a:off x="5762325"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86" name="735">
              <a:hlinkClick r:id="rId16" action="ppaction://hlinksldjump"/>
            </p:cNvPr>
            <p:cNvSpPr txBox="1"/>
            <p:nvPr>
              <p:custDataLst>
                <p:tags r:id="rId11"/>
              </p:custDataLst>
            </p:nvPr>
          </p:nvSpPr>
          <p:spPr>
            <a:xfrm>
              <a:off x="5283980" y="704088"/>
              <a:ext cx="452945" cy="138499"/>
            </a:xfrm>
            <a:prstGeom prst="rect">
              <a:avLst/>
            </a:prstGeom>
            <a:noFill/>
            <a:ln>
              <a:noFill/>
            </a:ln>
          </p:spPr>
          <p:txBody>
            <a:bodyPr wrap="none" lIns="27432" tIns="0" rIns="27432" bIns="0" rtlCol="0">
              <a:spAutoFit/>
            </a:bodyPr>
            <a:lstStyle/>
            <a:p>
              <a:r>
                <a:rPr lang="en-GB" sz="900" noProof="1" smtClean="0">
                  <a:solidFill>
                    <a:schemeClr val="tx1"/>
                  </a:solidFill>
                  <a:latin typeface="+mn-lt"/>
                  <a:cs typeface="Arial" pitchFamily="34" charset="0"/>
                </a:rPr>
                <a:t>Agenda</a:t>
              </a:r>
              <a:endParaRPr lang="en-GB" sz="900" noProof="1" smtClean="0">
                <a:solidFill>
                  <a:schemeClr val="tx1"/>
                </a:solidFill>
                <a:latin typeface="+mn-lt"/>
                <a:cs typeface="Arial" pitchFamily="34" charset="0"/>
              </a:endParaRPr>
            </a:p>
          </p:txBody>
        </p:sp>
      </p:grpSp>
    </p:spTree>
    <p:custDataLst>
      <p:tags r:id="rId1"/>
    </p:custDataLst>
    <p:extLst>
      <p:ext uri="{BB962C8B-B14F-4D97-AF65-F5344CB8AC3E}">
        <p14:creationId xmlns:p14="http://schemas.microsoft.com/office/powerpoint/2010/main" val="242748964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id" hidden="1"/>
          <p:cNvGrpSpPr/>
          <p:nvPr>
            <p:custDataLst>
              <p:tags r:id="rId2"/>
            </p:custDataLst>
          </p:nvPr>
        </p:nvGrpSpPr>
        <p:grpSpPr>
          <a:xfrm>
            <a:off x="530351" y="612648"/>
            <a:ext cx="8997696" cy="6848856"/>
            <a:chOff x="530352" y="612648"/>
            <a:chExt cx="8997696" cy="6848856"/>
          </a:xfrm>
        </p:grpSpPr>
        <p:grpSp>
          <p:nvGrpSpPr>
            <p:cNvPr id="3" name="Group 107" hidden="1"/>
            <p:cNvGrpSpPr/>
            <p:nvPr/>
          </p:nvGrpSpPr>
          <p:grpSpPr>
            <a:xfrm>
              <a:off x="530352" y="7159752"/>
              <a:ext cx="8997696" cy="301752"/>
              <a:chOff x="530352" y="7159752"/>
              <a:chExt cx="8997696" cy="301752"/>
            </a:xfrm>
          </p:grpSpPr>
          <p:sp>
            <p:nvSpPr>
              <p:cNvPr id="50"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1"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2"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grpSp>
        <p:grpSp>
          <p:nvGrpSpPr>
            <p:cNvPr id="4" name="Group 106" hidden="1"/>
            <p:cNvGrpSpPr/>
            <p:nvPr/>
          </p:nvGrpSpPr>
          <p:grpSpPr>
            <a:xfrm>
              <a:off x="530352" y="1066800"/>
              <a:ext cx="8997696" cy="835152"/>
              <a:chOff x="530352" y="1066800"/>
              <a:chExt cx="8997696" cy="835152"/>
            </a:xfrm>
          </p:grpSpPr>
          <p:sp>
            <p:nvSpPr>
              <p:cNvPr id="48" name="Title block" hidden="1"/>
              <p:cNvSpPr>
                <a:spLocks noChangeArrowheads="1"/>
              </p:cNvSpPr>
              <p:nvPr/>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sp>
            <p:nvSpPr>
              <p:cNvPr id="49"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grpSp>
        <p:sp>
          <p:nvSpPr>
            <p:cNvPr id="5" name="Header block" hidden="1"/>
            <p:cNvSpPr>
              <a:spLocks noChangeArrowheads="1"/>
            </p:cNvSpPr>
            <p:nvPr/>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en-GB" sz="1400" dirty="0">
                <a:solidFill>
                  <a:schemeClr val="folHlink"/>
                </a:solidFill>
                <a:cs typeface="Arial" charset="0"/>
              </a:endParaRPr>
            </a:p>
          </p:txBody>
        </p:sp>
        <p:grpSp>
          <p:nvGrpSpPr>
            <p:cNvPr id="6" name="Group 600" hidden="1"/>
            <p:cNvGrpSpPr/>
            <p:nvPr/>
          </p:nvGrpSpPr>
          <p:grpSpPr>
            <a:xfrm>
              <a:off x="533400" y="6245352"/>
              <a:ext cx="8994648" cy="688848"/>
              <a:chOff x="533400" y="6013704"/>
              <a:chExt cx="8994648" cy="688848"/>
            </a:xfrm>
          </p:grpSpPr>
          <p:sp>
            <p:nvSpPr>
              <p:cNvPr id="42" name="Content block 606" hidden="1"/>
              <p:cNvSpPr>
                <a:spLocks noChangeArrowheads="1"/>
              </p:cNvSpPr>
              <p:nvPr/>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3" name="Content block 605" hidden="1"/>
              <p:cNvSpPr>
                <a:spLocks noChangeArrowheads="1"/>
              </p:cNvSpPr>
              <p:nvPr/>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4"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5"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6"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7"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7" name="Group 500" hidden="1"/>
            <p:cNvGrpSpPr/>
            <p:nvPr/>
          </p:nvGrpSpPr>
          <p:grpSpPr>
            <a:xfrm>
              <a:off x="533400" y="5407152"/>
              <a:ext cx="8994648" cy="688848"/>
              <a:chOff x="533400" y="5026152"/>
              <a:chExt cx="8994648" cy="688848"/>
            </a:xfrm>
          </p:grpSpPr>
          <p:sp>
            <p:nvSpPr>
              <p:cNvPr id="36" name="Content block 506" hidden="1"/>
              <p:cNvSpPr>
                <a:spLocks noChangeArrowheads="1"/>
              </p:cNvSpPr>
              <p:nvPr/>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7" name="Content block 505" hidden="1"/>
              <p:cNvSpPr>
                <a:spLocks noChangeArrowheads="1"/>
              </p:cNvSpPr>
              <p:nvPr/>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8"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9"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0"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1"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8" name="Group 400" hidden="1"/>
            <p:cNvGrpSpPr/>
            <p:nvPr/>
          </p:nvGrpSpPr>
          <p:grpSpPr>
            <a:xfrm>
              <a:off x="533400" y="4568952"/>
              <a:ext cx="8994648" cy="688848"/>
              <a:chOff x="533400" y="4038600"/>
              <a:chExt cx="8994648" cy="688848"/>
            </a:xfrm>
          </p:grpSpPr>
          <p:sp>
            <p:nvSpPr>
              <p:cNvPr id="30" name="Content block 406" hidden="1"/>
              <p:cNvSpPr>
                <a:spLocks noChangeArrowheads="1"/>
              </p:cNvSpPr>
              <p:nvPr/>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1" name="Content block 405" hidden="1"/>
              <p:cNvSpPr>
                <a:spLocks noChangeArrowheads="1"/>
              </p:cNvSpPr>
              <p:nvPr/>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2"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3"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4"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5"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9" name="Group 300" hidden="1"/>
            <p:cNvGrpSpPr/>
            <p:nvPr/>
          </p:nvGrpSpPr>
          <p:grpSpPr>
            <a:xfrm>
              <a:off x="533400" y="3730752"/>
              <a:ext cx="8994648" cy="688848"/>
              <a:chOff x="533400" y="3041904"/>
              <a:chExt cx="8994648" cy="688848"/>
            </a:xfrm>
          </p:grpSpPr>
          <p:sp>
            <p:nvSpPr>
              <p:cNvPr id="24" name="Content block 306" hidden="1"/>
              <p:cNvSpPr>
                <a:spLocks noChangeArrowheads="1"/>
              </p:cNvSpPr>
              <p:nvPr/>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5" name="Content block 305" hidden="1"/>
              <p:cNvSpPr>
                <a:spLocks noChangeArrowheads="1"/>
              </p:cNvSpPr>
              <p:nvPr/>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6"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7"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8"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9"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 name="Group 200" hidden="1"/>
            <p:cNvGrpSpPr/>
            <p:nvPr/>
          </p:nvGrpSpPr>
          <p:grpSpPr>
            <a:xfrm>
              <a:off x="533400" y="2892552"/>
              <a:ext cx="8994648" cy="688848"/>
              <a:chOff x="533400" y="1066800"/>
              <a:chExt cx="8994648" cy="688848"/>
            </a:xfrm>
          </p:grpSpPr>
          <p:sp>
            <p:nvSpPr>
              <p:cNvPr id="18" name="Content block 206" hidden="1"/>
              <p:cNvSpPr>
                <a:spLocks noChangeArrowheads="1"/>
              </p:cNvSpPr>
              <p:nvPr/>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9" name="Content block 205" hidden="1"/>
              <p:cNvSpPr>
                <a:spLocks noChangeArrowheads="1"/>
              </p:cNvSpPr>
              <p:nvPr/>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0"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1"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2"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3"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1" name="Group 100" hidden="1"/>
            <p:cNvGrpSpPr/>
            <p:nvPr/>
          </p:nvGrpSpPr>
          <p:grpSpPr>
            <a:xfrm>
              <a:off x="533400" y="2054352"/>
              <a:ext cx="8994648" cy="688848"/>
              <a:chOff x="533400" y="2054352"/>
              <a:chExt cx="8994648" cy="688848"/>
            </a:xfrm>
          </p:grpSpPr>
          <p:sp>
            <p:nvSpPr>
              <p:cNvPr id="12" name="Content block 106" hidden="1"/>
              <p:cNvSpPr>
                <a:spLocks noChangeArrowheads="1"/>
              </p:cNvSpPr>
              <p:nvPr/>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3" name="Content block 105" hidden="1"/>
              <p:cNvSpPr>
                <a:spLocks noChangeArrowheads="1"/>
              </p:cNvSpPr>
              <p:nvPr/>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4"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5"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6"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7"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grpSp>
        <p:nvGrpSpPr>
          <p:cNvPr id="55" name="Logo with Panels"/>
          <p:cNvGrpSpPr/>
          <p:nvPr>
            <p:custDataLst>
              <p:tags r:id="rId3"/>
            </p:custDataLst>
          </p:nvPr>
        </p:nvGrpSpPr>
        <p:grpSpPr>
          <a:xfrm>
            <a:off x="8339712" y="6416229"/>
            <a:ext cx="1217986" cy="925197"/>
            <a:chOff x="3835013" y="2828854"/>
            <a:chExt cx="1217986" cy="925197"/>
          </a:xfrm>
        </p:grpSpPr>
        <p:grpSp>
          <p:nvGrpSpPr>
            <p:cNvPr id="56" name="Logo Panels"/>
            <p:cNvGrpSpPr/>
            <p:nvPr/>
          </p:nvGrpSpPr>
          <p:grpSpPr>
            <a:xfrm>
              <a:off x="4609614" y="2828854"/>
              <a:ext cx="443385" cy="397546"/>
              <a:chOff x="4609614" y="2828854"/>
              <a:chExt cx="443385" cy="397546"/>
            </a:xfrm>
          </p:grpSpPr>
          <p:sp>
            <p:nvSpPr>
              <p:cNvPr id="77" name="Rectangle 1"/>
              <p:cNvSpPr>
                <a:spLocks noChangeArrowheads="1"/>
              </p:cNvSpPr>
              <p:nvPr/>
            </p:nvSpPr>
            <p:spPr bwMode="gray">
              <a:xfrm>
                <a:off x="4609614" y="3112483"/>
                <a:ext cx="443385" cy="113916"/>
              </a:xfrm>
              <a:prstGeom prst="rect">
                <a:avLst/>
              </a:prstGeom>
              <a:solidFill>
                <a:srgbClr val="F445F6"/>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1">
                  <a:ln>
                    <a:noFill/>
                  </a:ln>
                  <a:solidFill>
                    <a:srgbClr val="000000"/>
                  </a:solidFill>
                  <a:effectLst/>
                  <a:uLnTx/>
                  <a:uFillTx/>
                  <a:latin typeface="Arial"/>
                  <a:ea typeface="+mn-ea"/>
                  <a:cs typeface="+mn-cs"/>
                </a:endParaRPr>
              </a:p>
            </p:txBody>
          </p:sp>
          <p:sp>
            <p:nvSpPr>
              <p:cNvPr id="78" name="Rectangle 2"/>
              <p:cNvSpPr>
                <a:spLocks noChangeArrowheads="1"/>
              </p:cNvSpPr>
              <p:nvPr/>
            </p:nvSpPr>
            <p:spPr bwMode="gray">
              <a:xfrm>
                <a:off x="4609618" y="2873556"/>
                <a:ext cx="269567" cy="352844"/>
              </a:xfrm>
              <a:prstGeom prst="rect">
                <a:avLst/>
              </a:prstGeom>
              <a:solidFill>
                <a:srgbClr val="F6B67F"/>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1">
                  <a:ln>
                    <a:noFill/>
                  </a:ln>
                  <a:solidFill>
                    <a:srgbClr val="000000"/>
                  </a:solidFill>
                  <a:effectLst/>
                  <a:uLnTx/>
                  <a:uFillTx/>
                  <a:latin typeface="Arial"/>
                  <a:ea typeface="+mn-ea"/>
                  <a:cs typeface="+mn-cs"/>
                </a:endParaRPr>
              </a:p>
            </p:txBody>
          </p:sp>
          <p:sp>
            <p:nvSpPr>
              <p:cNvPr id="79" name="Rectangle 3"/>
              <p:cNvSpPr>
                <a:spLocks noChangeArrowheads="1"/>
              </p:cNvSpPr>
              <p:nvPr/>
            </p:nvSpPr>
            <p:spPr bwMode="gray">
              <a:xfrm>
                <a:off x="4609618" y="2828854"/>
                <a:ext cx="224319" cy="397545"/>
              </a:xfrm>
              <a:prstGeom prst="rect">
                <a:avLst/>
              </a:prstGeom>
              <a:solidFill>
                <a:srgbClr val="F48F17"/>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1">
                  <a:ln>
                    <a:noFill/>
                  </a:ln>
                  <a:solidFill>
                    <a:srgbClr val="000000"/>
                  </a:solidFill>
                  <a:effectLst/>
                  <a:uLnTx/>
                  <a:uFillTx/>
                  <a:latin typeface="Arial"/>
                  <a:ea typeface="+mn-ea"/>
                  <a:cs typeface="+mn-cs"/>
                </a:endParaRPr>
              </a:p>
            </p:txBody>
          </p:sp>
          <p:sp>
            <p:nvSpPr>
              <p:cNvPr id="80" name="Rectangle 4"/>
              <p:cNvSpPr>
                <a:spLocks noChangeArrowheads="1"/>
              </p:cNvSpPr>
              <p:nvPr/>
            </p:nvSpPr>
            <p:spPr bwMode="gray">
              <a:xfrm>
                <a:off x="4609617" y="2873555"/>
                <a:ext cx="224319" cy="352844"/>
              </a:xfrm>
              <a:prstGeom prst="rect">
                <a:avLst/>
              </a:prstGeom>
              <a:solidFill>
                <a:srgbClr val="EB660B"/>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1">
                  <a:ln>
                    <a:noFill/>
                  </a:ln>
                  <a:solidFill>
                    <a:srgbClr val="000000"/>
                  </a:solidFill>
                  <a:effectLst/>
                  <a:uLnTx/>
                  <a:uFillTx/>
                  <a:latin typeface="Arial"/>
                  <a:ea typeface="+mn-ea"/>
                  <a:cs typeface="+mn-cs"/>
                </a:endParaRPr>
              </a:p>
            </p:txBody>
          </p:sp>
          <p:sp>
            <p:nvSpPr>
              <p:cNvPr id="81" name="Rectangle 5"/>
              <p:cNvSpPr>
                <a:spLocks noChangeArrowheads="1"/>
              </p:cNvSpPr>
              <p:nvPr/>
            </p:nvSpPr>
            <p:spPr bwMode="gray">
              <a:xfrm>
                <a:off x="4609615" y="2944211"/>
                <a:ext cx="383843" cy="282188"/>
              </a:xfrm>
              <a:prstGeom prst="rect">
                <a:avLst/>
              </a:prstGeom>
              <a:solidFill>
                <a:srgbClr val="F3BF09"/>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1">
                  <a:ln>
                    <a:noFill/>
                  </a:ln>
                  <a:solidFill>
                    <a:srgbClr val="000000"/>
                  </a:solidFill>
                  <a:effectLst/>
                  <a:uLnTx/>
                  <a:uFillTx/>
                  <a:latin typeface="Arial"/>
                  <a:ea typeface="+mn-ea"/>
                  <a:cs typeface="+mn-cs"/>
                </a:endParaRPr>
              </a:p>
            </p:txBody>
          </p:sp>
          <p:sp>
            <p:nvSpPr>
              <p:cNvPr id="82" name="Rectangle 6"/>
              <p:cNvSpPr>
                <a:spLocks noChangeArrowheads="1"/>
              </p:cNvSpPr>
              <p:nvPr/>
            </p:nvSpPr>
            <p:spPr bwMode="gray">
              <a:xfrm>
                <a:off x="4609616" y="3112483"/>
                <a:ext cx="383842" cy="113916"/>
              </a:xfrm>
              <a:prstGeom prst="rect">
                <a:avLst/>
              </a:prstGeom>
              <a:solidFill>
                <a:srgbClr val="E93409"/>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1">
                  <a:ln>
                    <a:noFill/>
                  </a:ln>
                  <a:solidFill>
                    <a:srgbClr val="000000"/>
                  </a:solidFill>
                  <a:effectLst/>
                  <a:uLnTx/>
                  <a:uFillTx/>
                  <a:latin typeface="Arial"/>
                  <a:ea typeface="+mn-ea"/>
                  <a:cs typeface="+mn-cs"/>
                </a:endParaRPr>
              </a:p>
            </p:txBody>
          </p:sp>
          <p:sp>
            <p:nvSpPr>
              <p:cNvPr id="83" name="Rectangle 7"/>
              <p:cNvSpPr>
                <a:spLocks noChangeArrowheads="1"/>
              </p:cNvSpPr>
              <p:nvPr/>
            </p:nvSpPr>
            <p:spPr bwMode="gray">
              <a:xfrm>
                <a:off x="4609616" y="2944211"/>
                <a:ext cx="269570" cy="282188"/>
              </a:xfrm>
              <a:prstGeom prst="rect">
                <a:avLst/>
              </a:prstGeom>
              <a:solidFill>
                <a:srgbClr val="EA8804"/>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1">
                  <a:ln>
                    <a:noFill/>
                  </a:ln>
                  <a:solidFill>
                    <a:srgbClr val="000000"/>
                  </a:solidFill>
                  <a:effectLst/>
                  <a:uLnTx/>
                  <a:uFillTx/>
                  <a:latin typeface="Arial"/>
                  <a:ea typeface="+mn-ea"/>
                  <a:cs typeface="+mn-cs"/>
                </a:endParaRPr>
              </a:p>
            </p:txBody>
          </p:sp>
          <p:sp>
            <p:nvSpPr>
              <p:cNvPr id="84" name="Rectangle 8"/>
              <p:cNvSpPr>
                <a:spLocks noChangeArrowheads="1"/>
              </p:cNvSpPr>
              <p:nvPr/>
            </p:nvSpPr>
            <p:spPr bwMode="gray">
              <a:xfrm>
                <a:off x="4609616" y="3112483"/>
                <a:ext cx="269569" cy="113916"/>
              </a:xfrm>
              <a:prstGeom prst="rect">
                <a:avLst/>
              </a:prstGeom>
              <a:solidFill>
                <a:srgbClr val="E02504"/>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1">
                  <a:ln>
                    <a:noFill/>
                  </a:ln>
                  <a:solidFill>
                    <a:srgbClr val="000000"/>
                  </a:solidFill>
                  <a:effectLst/>
                  <a:uLnTx/>
                  <a:uFillTx/>
                  <a:latin typeface="Arial"/>
                  <a:ea typeface="+mn-ea"/>
                  <a:cs typeface="+mn-cs"/>
                </a:endParaRPr>
              </a:p>
            </p:txBody>
          </p:sp>
          <p:sp>
            <p:nvSpPr>
              <p:cNvPr id="85" name="Rectangle 9"/>
              <p:cNvSpPr>
                <a:spLocks/>
              </p:cNvSpPr>
              <p:nvPr/>
            </p:nvSpPr>
            <p:spPr bwMode="gray">
              <a:xfrm>
                <a:off x="4609616" y="2944211"/>
                <a:ext cx="224321" cy="282188"/>
              </a:xfrm>
              <a:prstGeom prst="rect">
                <a:avLst/>
              </a:prstGeom>
              <a:solidFill>
                <a:srgbClr val="E04C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1">
                  <a:ln>
                    <a:noFill/>
                  </a:ln>
                  <a:solidFill>
                    <a:srgbClr val="000000"/>
                  </a:solidFill>
                  <a:effectLst/>
                  <a:uLnTx/>
                  <a:uFillTx/>
                  <a:latin typeface="Arial"/>
                  <a:ea typeface="+mn-ea"/>
                  <a:cs typeface="+mn-cs"/>
                </a:endParaRPr>
              </a:p>
            </p:txBody>
          </p:sp>
          <p:sp>
            <p:nvSpPr>
              <p:cNvPr id="86" name="Rectangle 10"/>
              <p:cNvSpPr>
                <a:spLocks noChangeArrowheads="1"/>
              </p:cNvSpPr>
              <p:nvPr/>
            </p:nvSpPr>
            <p:spPr bwMode="gray">
              <a:xfrm>
                <a:off x="4609617" y="3112483"/>
                <a:ext cx="224320" cy="113916"/>
              </a:xfrm>
              <a:prstGeom prst="rect">
                <a:avLst/>
              </a:prstGeom>
              <a:solidFill>
                <a:srgbClr val="D614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1">
                  <a:ln>
                    <a:noFill/>
                  </a:ln>
                  <a:solidFill>
                    <a:srgbClr val="000000"/>
                  </a:solidFill>
                  <a:effectLst/>
                  <a:uLnTx/>
                  <a:uFillTx/>
                  <a:latin typeface="Arial"/>
                  <a:ea typeface="+mn-ea"/>
                  <a:cs typeface="+mn-cs"/>
                </a:endParaRPr>
              </a:p>
            </p:txBody>
          </p:sp>
          <p:sp>
            <p:nvSpPr>
              <p:cNvPr id="87" name="Rectangle 11"/>
              <p:cNvSpPr>
                <a:spLocks noChangeArrowheads="1"/>
              </p:cNvSpPr>
              <p:nvPr/>
            </p:nvSpPr>
            <p:spPr bwMode="gray">
              <a:xfrm>
                <a:off x="4609617" y="3052823"/>
                <a:ext cx="141027" cy="173576"/>
              </a:xfrm>
              <a:prstGeom prst="rect">
                <a:avLst/>
              </a:prstGeom>
              <a:solidFill>
                <a:srgbClr val="C93C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1">
                  <a:ln>
                    <a:noFill/>
                  </a:ln>
                  <a:solidFill>
                    <a:srgbClr val="000000"/>
                  </a:solidFill>
                  <a:effectLst/>
                  <a:uLnTx/>
                  <a:uFillTx/>
                  <a:latin typeface="Arial"/>
                  <a:ea typeface="+mn-ea"/>
                  <a:cs typeface="+mn-cs"/>
                </a:endParaRPr>
              </a:p>
            </p:txBody>
          </p:sp>
          <p:sp>
            <p:nvSpPr>
              <p:cNvPr id="88" name="Rectangle 12"/>
              <p:cNvSpPr>
                <a:spLocks noChangeArrowheads="1"/>
              </p:cNvSpPr>
              <p:nvPr/>
            </p:nvSpPr>
            <p:spPr bwMode="gray">
              <a:xfrm>
                <a:off x="4609617" y="3112483"/>
                <a:ext cx="141027" cy="113916"/>
              </a:xfrm>
              <a:prstGeom prst="rect">
                <a:avLst/>
              </a:prstGeom>
              <a:solidFill>
                <a:srgbClr val="C01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1">
                  <a:ln>
                    <a:noFill/>
                  </a:ln>
                  <a:solidFill>
                    <a:srgbClr val="000000"/>
                  </a:solidFill>
                  <a:effectLst/>
                  <a:uLnTx/>
                  <a:uFillTx/>
                  <a:latin typeface="Arial"/>
                  <a:ea typeface="+mn-ea"/>
                  <a:cs typeface="+mn-cs"/>
                </a:endParaRPr>
              </a:p>
            </p:txBody>
          </p:sp>
        </p:grpSp>
        <p:grpSp>
          <p:nvGrpSpPr>
            <p:cNvPr id="57" name="Logo"/>
            <p:cNvGrpSpPr/>
            <p:nvPr/>
          </p:nvGrpSpPr>
          <p:grpSpPr>
            <a:xfrm>
              <a:off x="3835013" y="3226397"/>
              <a:ext cx="905256" cy="527654"/>
              <a:chOff x="3835013" y="3226397"/>
              <a:chExt cx="905256" cy="527654"/>
            </a:xfrm>
          </p:grpSpPr>
          <p:sp>
            <p:nvSpPr>
              <p:cNvPr id="75" name="Rectangle 0"/>
              <p:cNvSpPr>
                <a:spLocks noChangeArrowheads="1"/>
              </p:cNvSpPr>
              <p:nvPr/>
            </p:nvSpPr>
            <p:spPr bwMode="black">
              <a:xfrm>
                <a:off x="4381013" y="3226397"/>
                <a:ext cx="228600" cy="57350"/>
              </a:xfrm>
              <a:prstGeom prst="rect">
                <a:avLst/>
              </a:prstGeom>
              <a:solidFill>
                <a:srgbClr val="A10000"/>
              </a:solidFill>
              <a:ln w="0">
                <a:noFill/>
                <a:prstDash val="solid"/>
                <a:miter lim="800000"/>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1">
                  <a:ln>
                    <a:noFill/>
                  </a:ln>
                  <a:solidFill>
                    <a:srgbClr val="000000"/>
                  </a:solidFill>
                  <a:effectLst/>
                  <a:uLnTx/>
                  <a:uFillTx/>
                  <a:latin typeface="Arial"/>
                  <a:ea typeface="+mn-ea"/>
                  <a:cs typeface="+mn-cs"/>
                </a:endParaRPr>
              </a:p>
            </p:txBody>
          </p:sp>
          <p:sp>
            <p:nvSpPr>
              <p:cNvPr id="76" name="Freeform 75"/>
              <p:cNvSpPr>
                <a:spLocks noEditPoints="1"/>
              </p:cNvSpPr>
              <p:nvPr/>
            </p:nvSpPr>
            <p:spPr bwMode="black">
              <a:xfrm>
                <a:off x="3835013" y="3412840"/>
                <a:ext cx="905256" cy="341211"/>
              </a:xfrm>
              <a:custGeom>
                <a:avLst/>
                <a:gdLst/>
                <a:ahLst/>
                <a:cxnLst>
                  <a:cxn ang="0">
                    <a:pos x="581" y="233"/>
                  </a:cxn>
                  <a:cxn ang="0">
                    <a:pos x="538" y="949"/>
                  </a:cxn>
                  <a:cxn ang="0">
                    <a:pos x="630" y="946"/>
                  </a:cxn>
                  <a:cxn ang="0">
                    <a:pos x="793" y="880"/>
                  </a:cxn>
                  <a:cxn ang="0">
                    <a:pos x="886" y="728"/>
                  </a:cxn>
                  <a:cxn ang="0">
                    <a:pos x="905" y="505"/>
                  </a:cxn>
                  <a:cxn ang="0">
                    <a:pos x="850" y="329"/>
                  </a:cxn>
                  <a:cxn ang="0">
                    <a:pos x="727" y="241"/>
                  </a:cxn>
                  <a:cxn ang="0">
                    <a:pos x="521" y="3"/>
                  </a:cxn>
                  <a:cxn ang="0">
                    <a:pos x="643" y="74"/>
                  </a:cxn>
                  <a:cxn ang="0">
                    <a:pos x="761" y="24"/>
                  </a:cxn>
                  <a:cxn ang="0">
                    <a:pos x="855" y="9"/>
                  </a:cxn>
                  <a:cxn ang="0">
                    <a:pos x="1026" y="40"/>
                  </a:cxn>
                  <a:cxn ang="0">
                    <a:pos x="1180" y="172"/>
                  </a:cxn>
                  <a:cxn ang="0">
                    <a:pos x="1265" y="383"/>
                  </a:cxn>
                  <a:cxn ang="0">
                    <a:pos x="1265" y="641"/>
                  </a:cxn>
                  <a:cxn ang="0">
                    <a:pos x="1175" y="857"/>
                  </a:cxn>
                  <a:cxn ang="0">
                    <a:pos x="1005" y="1006"/>
                  </a:cxn>
                  <a:cxn ang="0">
                    <a:pos x="766" y="1074"/>
                  </a:cxn>
                  <a:cxn ang="0">
                    <a:pos x="601" y="1074"/>
                  </a:cxn>
                  <a:cxn ang="0">
                    <a:pos x="692" y="1447"/>
                  </a:cxn>
                  <a:cxn ang="0">
                    <a:pos x="171" y="1408"/>
                  </a:cxn>
                  <a:cxn ang="0">
                    <a:pos x="413" y="3"/>
                  </a:cxn>
                  <a:cxn ang="0">
                    <a:pos x="3876" y="20"/>
                  </a:cxn>
                  <a:cxn ang="0">
                    <a:pos x="4036" y="100"/>
                  </a:cxn>
                  <a:cxn ang="0">
                    <a:pos x="4113" y="232"/>
                  </a:cxn>
                  <a:cxn ang="0">
                    <a:pos x="4091" y="362"/>
                  </a:cxn>
                  <a:cxn ang="0">
                    <a:pos x="3995" y="436"/>
                  </a:cxn>
                  <a:cxn ang="0">
                    <a:pos x="3859" y="438"/>
                  </a:cxn>
                  <a:cxn ang="0">
                    <a:pos x="3757" y="114"/>
                  </a:cxn>
                  <a:cxn ang="0">
                    <a:pos x="3597" y="187"/>
                  </a:cxn>
                  <a:cxn ang="0">
                    <a:pos x="3508" y="339"/>
                  </a:cxn>
                  <a:cxn ang="0">
                    <a:pos x="3489" y="565"/>
                  </a:cxn>
                  <a:cxn ang="0">
                    <a:pos x="3547" y="753"/>
                  </a:cxn>
                  <a:cxn ang="0">
                    <a:pos x="3668" y="869"/>
                  </a:cxn>
                  <a:cxn ang="0">
                    <a:pos x="3821" y="896"/>
                  </a:cxn>
                  <a:cxn ang="0">
                    <a:pos x="3931" y="872"/>
                  </a:cxn>
                  <a:cxn ang="0">
                    <a:pos x="4079" y="810"/>
                  </a:cxn>
                  <a:cxn ang="0">
                    <a:pos x="4016" y="1024"/>
                  </a:cxn>
                  <a:cxn ang="0">
                    <a:pos x="3830" y="1080"/>
                  </a:cxn>
                  <a:cxn ang="0">
                    <a:pos x="3651" y="1095"/>
                  </a:cxn>
                  <a:cxn ang="0">
                    <a:pos x="3426" y="1060"/>
                  </a:cxn>
                  <a:cxn ang="0">
                    <a:pos x="3255" y="947"/>
                  </a:cxn>
                  <a:cxn ang="0">
                    <a:pos x="3140" y="772"/>
                  </a:cxn>
                  <a:cxn ang="0">
                    <a:pos x="3101" y="561"/>
                  </a:cxn>
                  <a:cxn ang="0">
                    <a:pos x="3153" y="318"/>
                  </a:cxn>
                  <a:cxn ang="0">
                    <a:pos x="3293" y="135"/>
                  </a:cxn>
                  <a:cxn ang="0">
                    <a:pos x="3508" y="27"/>
                  </a:cxn>
                  <a:cxn ang="0">
                    <a:pos x="2910" y="0"/>
                  </a:cxn>
                  <a:cxn ang="0">
                    <a:pos x="3040" y="52"/>
                  </a:cxn>
                  <a:cxn ang="0">
                    <a:pos x="3093" y="178"/>
                  </a:cxn>
                  <a:cxn ang="0">
                    <a:pos x="3071" y="277"/>
                  </a:cxn>
                  <a:cxn ang="0">
                    <a:pos x="3004" y="393"/>
                  </a:cxn>
                  <a:cxn ang="0">
                    <a:pos x="2876" y="561"/>
                  </a:cxn>
                  <a:cxn ang="0">
                    <a:pos x="1784" y="1078"/>
                  </a:cxn>
                  <a:cxn ang="0">
                    <a:pos x="1313" y="118"/>
                  </a:cxn>
                  <a:cxn ang="0">
                    <a:pos x="2247" y="25"/>
                  </a:cxn>
                  <a:cxn ang="0">
                    <a:pos x="2759" y="62"/>
                  </a:cxn>
                  <a:cxn ang="0">
                    <a:pos x="2872" y="4"/>
                  </a:cxn>
                </a:cxnLst>
                <a:rect l="0" t="0" r="r" b="b"/>
                <a:pathLst>
                  <a:path w="4127" h="1544">
                    <a:moveTo>
                      <a:pt x="640" y="229"/>
                    </a:moveTo>
                    <a:lnTo>
                      <a:pt x="622" y="229"/>
                    </a:lnTo>
                    <a:lnTo>
                      <a:pt x="603" y="230"/>
                    </a:lnTo>
                    <a:lnTo>
                      <a:pt x="581" y="233"/>
                    </a:lnTo>
                    <a:lnTo>
                      <a:pt x="553" y="235"/>
                    </a:lnTo>
                    <a:lnTo>
                      <a:pt x="521" y="241"/>
                    </a:lnTo>
                    <a:lnTo>
                      <a:pt x="521" y="947"/>
                    </a:lnTo>
                    <a:lnTo>
                      <a:pt x="538" y="949"/>
                    </a:lnTo>
                    <a:lnTo>
                      <a:pt x="553" y="949"/>
                    </a:lnTo>
                    <a:lnTo>
                      <a:pt x="566" y="949"/>
                    </a:lnTo>
                    <a:lnTo>
                      <a:pt x="578" y="949"/>
                    </a:lnTo>
                    <a:lnTo>
                      <a:pt x="630" y="946"/>
                    </a:lnTo>
                    <a:lnTo>
                      <a:pt x="677" y="937"/>
                    </a:lnTo>
                    <a:lnTo>
                      <a:pt x="720" y="924"/>
                    </a:lnTo>
                    <a:lnTo>
                      <a:pt x="758" y="905"/>
                    </a:lnTo>
                    <a:lnTo>
                      <a:pt x="793" y="880"/>
                    </a:lnTo>
                    <a:lnTo>
                      <a:pt x="824" y="850"/>
                    </a:lnTo>
                    <a:lnTo>
                      <a:pt x="849" y="815"/>
                    </a:lnTo>
                    <a:lnTo>
                      <a:pt x="870" y="775"/>
                    </a:lnTo>
                    <a:lnTo>
                      <a:pt x="886" y="728"/>
                    </a:lnTo>
                    <a:lnTo>
                      <a:pt x="897" y="678"/>
                    </a:lnTo>
                    <a:lnTo>
                      <a:pt x="905" y="622"/>
                    </a:lnTo>
                    <a:lnTo>
                      <a:pt x="907" y="561"/>
                    </a:lnTo>
                    <a:lnTo>
                      <a:pt x="905" y="505"/>
                    </a:lnTo>
                    <a:lnTo>
                      <a:pt x="897" y="452"/>
                    </a:lnTo>
                    <a:lnTo>
                      <a:pt x="886" y="407"/>
                    </a:lnTo>
                    <a:lnTo>
                      <a:pt x="870" y="366"/>
                    </a:lnTo>
                    <a:lnTo>
                      <a:pt x="850" y="329"/>
                    </a:lnTo>
                    <a:lnTo>
                      <a:pt x="826" y="299"/>
                    </a:lnTo>
                    <a:lnTo>
                      <a:pt x="797" y="274"/>
                    </a:lnTo>
                    <a:lnTo>
                      <a:pt x="763" y="254"/>
                    </a:lnTo>
                    <a:lnTo>
                      <a:pt x="727" y="241"/>
                    </a:lnTo>
                    <a:lnTo>
                      <a:pt x="686" y="232"/>
                    </a:lnTo>
                    <a:lnTo>
                      <a:pt x="640" y="229"/>
                    </a:lnTo>
                    <a:close/>
                    <a:moveTo>
                      <a:pt x="413" y="3"/>
                    </a:moveTo>
                    <a:lnTo>
                      <a:pt x="521" y="3"/>
                    </a:lnTo>
                    <a:lnTo>
                      <a:pt x="521" y="143"/>
                    </a:lnTo>
                    <a:lnTo>
                      <a:pt x="566" y="117"/>
                    </a:lnTo>
                    <a:lnTo>
                      <a:pt x="607" y="93"/>
                    </a:lnTo>
                    <a:lnTo>
                      <a:pt x="643" y="74"/>
                    </a:lnTo>
                    <a:lnTo>
                      <a:pt x="677" y="57"/>
                    </a:lnTo>
                    <a:lnTo>
                      <a:pt x="707" y="44"/>
                    </a:lnTo>
                    <a:lnTo>
                      <a:pt x="735" y="33"/>
                    </a:lnTo>
                    <a:lnTo>
                      <a:pt x="761" y="24"/>
                    </a:lnTo>
                    <a:lnTo>
                      <a:pt x="785" y="18"/>
                    </a:lnTo>
                    <a:lnTo>
                      <a:pt x="809" y="13"/>
                    </a:lnTo>
                    <a:lnTo>
                      <a:pt x="831" y="10"/>
                    </a:lnTo>
                    <a:lnTo>
                      <a:pt x="855" y="9"/>
                    </a:lnTo>
                    <a:lnTo>
                      <a:pt x="879" y="8"/>
                    </a:lnTo>
                    <a:lnTo>
                      <a:pt x="931" y="12"/>
                    </a:lnTo>
                    <a:lnTo>
                      <a:pt x="980" y="23"/>
                    </a:lnTo>
                    <a:lnTo>
                      <a:pt x="1026" y="40"/>
                    </a:lnTo>
                    <a:lnTo>
                      <a:pt x="1070" y="64"/>
                    </a:lnTo>
                    <a:lnTo>
                      <a:pt x="1110" y="94"/>
                    </a:lnTo>
                    <a:lnTo>
                      <a:pt x="1148" y="130"/>
                    </a:lnTo>
                    <a:lnTo>
                      <a:pt x="1180" y="172"/>
                    </a:lnTo>
                    <a:lnTo>
                      <a:pt x="1209" y="218"/>
                    </a:lnTo>
                    <a:lnTo>
                      <a:pt x="1233" y="268"/>
                    </a:lnTo>
                    <a:lnTo>
                      <a:pt x="1252" y="324"/>
                    </a:lnTo>
                    <a:lnTo>
                      <a:pt x="1265" y="383"/>
                    </a:lnTo>
                    <a:lnTo>
                      <a:pt x="1274" y="446"/>
                    </a:lnTo>
                    <a:lnTo>
                      <a:pt x="1278" y="512"/>
                    </a:lnTo>
                    <a:lnTo>
                      <a:pt x="1274" y="578"/>
                    </a:lnTo>
                    <a:lnTo>
                      <a:pt x="1265" y="641"/>
                    </a:lnTo>
                    <a:lnTo>
                      <a:pt x="1252" y="701"/>
                    </a:lnTo>
                    <a:lnTo>
                      <a:pt x="1232" y="756"/>
                    </a:lnTo>
                    <a:lnTo>
                      <a:pt x="1205" y="809"/>
                    </a:lnTo>
                    <a:lnTo>
                      <a:pt x="1175" y="857"/>
                    </a:lnTo>
                    <a:lnTo>
                      <a:pt x="1140" y="901"/>
                    </a:lnTo>
                    <a:lnTo>
                      <a:pt x="1099" y="941"/>
                    </a:lnTo>
                    <a:lnTo>
                      <a:pt x="1054" y="976"/>
                    </a:lnTo>
                    <a:lnTo>
                      <a:pt x="1005" y="1006"/>
                    </a:lnTo>
                    <a:lnTo>
                      <a:pt x="951" y="1031"/>
                    </a:lnTo>
                    <a:lnTo>
                      <a:pt x="894" y="1051"/>
                    </a:lnTo>
                    <a:lnTo>
                      <a:pt x="831" y="1065"/>
                    </a:lnTo>
                    <a:lnTo>
                      <a:pt x="766" y="1074"/>
                    </a:lnTo>
                    <a:lnTo>
                      <a:pt x="696" y="1078"/>
                    </a:lnTo>
                    <a:lnTo>
                      <a:pt x="670" y="1078"/>
                    </a:lnTo>
                    <a:lnTo>
                      <a:pt x="637" y="1076"/>
                    </a:lnTo>
                    <a:lnTo>
                      <a:pt x="601" y="1074"/>
                    </a:lnTo>
                    <a:lnTo>
                      <a:pt x="561" y="1071"/>
                    </a:lnTo>
                    <a:lnTo>
                      <a:pt x="521" y="1068"/>
                    </a:lnTo>
                    <a:lnTo>
                      <a:pt x="521" y="1408"/>
                    </a:lnTo>
                    <a:lnTo>
                      <a:pt x="692" y="1447"/>
                    </a:lnTo>
                    <a:lnTo>
                      <a:pt x="692" y="1544"/>
                    </a:lnTo>
                    <a:lnTo>
                      <a:pt x="18" y="1544"/>
                    </a:lnTo>
                    <a:lnTo>
                      <a:pt x="18" y="1447"/>
                    </a:lnTo>
                    <a:lnTo>
                      <a:pt x="171" y="1408"/>
                    </a:lnTo>
                    <a:lnTo>
                      <a:pt x="171" y="229"/>
                    </a:lnTo>
                    <a:lnTo>
                      <a:pt x="0" y="229"/>
                    </a:lnTo>
                    <a:lnTo>
                      <a:pt x="0" y="128"/>
                    </a:lnTo>
                    <a:lnTo>
                      <a:pt x="413" y="3"/>
                    </a:lnTo>
                    <a:close/>
                    <a:moveTo>
                      <a:pt x="3711" y="0"/>
                    </a:moveTo>
                    <a:lnTo>
                      <a:pt x="3770" y="3"/>
                    </a:lnTo>
                    <a:lnTo>
                      <a:pt x="3825" y="9"/>
                    </a:lnTo>
                    <a:lnTo>
                      <a:pt x="3876" y="20"/>
                    </a:lnTo>
                    <a:lnTo>
                      <a:pt x="3923" y="34"/>
                    </a:lnTo>
                    <a:lnTo>
                      <a:pt x="3965" y="53"/>
                    </a:lnTo>
                    <a:lnTo>
                      <a:pt x="4004" y="75"/>
                    </a:lnTo>
                    <a:lnTo>
                      <a:pt x="4036" y="100"/>
                    </a:lnTo>
                    <a:lnTo>
                      <a:pt x="4064" y="129"/>
                    </a:lnTo>
                    <a:lnTo>
                      <a:pt x="4086" y="160"/>
                    </a:lnTo>
                    <a:lnTo>
                      <a:pt x="4103" y="194"/>
                    </a:lnTo>
                    <a:lnTo>
                      <a:pt x="4113" y="232"/>
                    </a:lnTo>
                    <a:lnTo>
                      <a:pt x="4117" y="271"/>
                    </a:lnTo>
                    <a:lnTo>
                      <a:pt x="4114" y="304"/>
                    </a:lnTo>
                    <a:lnTo>
                      <a:pt x="4105" y="334"/>
                    </a:lnTo>
                    <a:lnTo>
                      <a:pt x="4091" y="362"/>
                    </a:lnTo>
                    <a:lnTo>
                      <a:pt x="4074" y="387"/>
                    </a:lnTo>
                    <a:lnTo>
                      <a:pt x="4051" y="407"/>
                    </a:lnTo>
                    <a:lnTo>
                      <a:pt x="4025" y="423"/>
                    </a:lnTo>
                    <a:lnTo>
                      <a:pt x="3995" y="436"/>
                    </a:lnTo>
                    <a:lnTo>
                      <a:pt x="3961" y="443"/>
                    </a:lnTo>
                    <a:lnTo>
                      <a:pt x="3925" y="446"/>
                    </a:lnTo>
                    <a:lnTo>
                      <a:pt x="3891" y="444"/>
                    </a:lnTo>
                    <a:lnTo>
                      <a:pt x="3859" y="438"/>
                    </a:lnTo>
                    <a:lnTo>
                      <a:pt x="3826" y="428"/>
                    </a:lnTo>
                    <a:lnTo>
                      <a:pt x="3792" y="413"/>
                    </a:lnTo>
                    <a:lnTo>
                      <a:pt x="3757" y="394"/>
                    </a:lnTo>
                    <a:lnTo>
                      <a:pt x="3757" y="114"/>
                    </a:lnTo>
                    <a:lnTo>
                      <a:pt x="3711" y="125"/>
                    </a:lnTo>
                    <a:lnTo>
                      <a:pt x="3668" y="140"/>
                    </a:lnTo>
                    <a:lnTo>
                      <a:pt x="3631" y="162"/>
                    </a:lnTo>
                    <a:lnTo>
                      <a:pt x="3597" y="187"/>
                    </a:lnTo>
                    <a:lnTo>
                      <a:pt x="3568" y="218"/>
                    </a:lnTo>
                    <a:lnTo>
                      <a:pt x="3543" y="253"/>
                    </a:lnTo>
                    <a:lnTo>
                      <a:pt x="3523" y="294"/>
                    </a:lnTo>
                    <a:lnTo>
                      <a:pt x="3508" y="339"/>
                    </a:lnTo>
                    <a:lnTo>
                      <a:pt x="3497" y="391"/>
                    </a:lnTo>
                    <a:lnTo>
                      <a:pt x="3489" y="447"/>
                    </a:lnTo>
                    <a:lnTo>
                      <a:pt x="3487" y="507"/>
                    </a:lnTo>
                    <a:lnTo>
                      <a:pt x="3489" y="565"/>
                    </a:lnTo>
                    <a:lnTo>
                      <a:pt x="3497" y="617"/>
                    </a:lnTo>
                    <a:lnTo>
                      <a:pt x="3509" y="667"/>
                    </a:lnTo>
                    <a:lnTo>
                      <a:pt x="3526" y="712"/>
                    </a:lnTo>
                    <a:lnTo>
                      <a:pt x="3547" y="753"/>
                    </a:lnTo>
                    <a:lnTo>
                      <a:pt x="3571" y="790"/>
                    </a:lnTo>
                    <a:lnTo>
                      <a:pt x="3600" y="821"/>
                    </a:lnTo>
                    <a:lnTo>
                      <a:pt x="3632" y="847"/>
                    </a:lnTo>
                    <a:lnTo>
                      <a:pt x="3668" y="869"/>
                    </a:lnTo>
                    <a:lnTo>
                      <a:pt x="3707" y="885"/>
                    </a:lnTo>
                    <a:lnTo>
                      <a:pt x="3750" y="894"/>
                    </a:lnTo>
                    <a:lnTo>
                      <a:pt x="3795" y="897"/>
                    </a:lnTo>
                    <a:lnTo>
                      <a:pt x="3821" y="896"/>
                    </a:lnTo>
                    <a:lnTo>
                      <a:pt x="3847" y="894"/>
                    </a:lnTo>
                    <a:lnTo>
                      <a:pt x="3874" y="889"/>
                    </a:lnTo>
                    <a:lnTo>
                      <a:pt x="3901" y="881"/>
                    </a:lnTo>
                    <a:lnTo>
                      <a:pt x="3931" y="872"/>
                    </a:lnTo>
                    <a:lnTo>
                      <a:pt x="3964" y="861"/>
                    </a:lnTo>
                    <a:lnTo>
                      <a:pt x="3999" y="846"/>
                    </a:lnTo>
                    <a:lnTo>
                      <a:pt x="4036" y="830"/>
                    </a:lnTo>
                    <a:lnTo>
                      <a:pt x="4079" y="810"/>
                    </a:lnTo>
                    <a:lnTo>
                      <a:pt x="4127" y="787"/>
                    </a:lnTo>
                    <a:lnTo>
                      <a:pt x="4127" y="976"/>
                    </a:lnTo>
                    <a:lnTo>
                      <a:pt x="4069" y="1001"/>
                    </a:lnTo>
                    <a:lnTo>
                      <a:pt x="4016" y="1024"/>
                    </a:lnTo>
                    <a:lnTo>
                      <a:pt x="3966" y="1041"/>
                    </a:lnTo>
                    <a:lnTo>
                      <a:pt x="3919" y="1058"/>
                    </a:lnTo>
                    <a:lnTo>
                      <a:pt x="3874" y="1070"/>
                    </a:lnTo>
                    <a:lnTo>
                      <a:pt x="3830" y="1080"/>
                    </a:lnTo>
                    <a:lnTo>
                      <a:pt x="3786" y="1086"/>
                    </a:lnTo>
                    <a:lnTo>
                      <a:pt x="3742" y="1091"/>
                    </a:lnTo>
                    <a:lnTo>
                      <a:pt x="3697" y="1094"/>
                    </a:lnTo>
                    <a:lnTo>
                      <a:pt x="3651" y="1095"/>
                    </a:lnTo>
                    <a:lnTo>
                      <a:pt x="3588" y="1093"/>
                    </a:lnTo>
                    <a:lnTo>
                      <a:pt x="3530" y="1086"/>
                    </a:lnTo>
                    <a:lnTo>
                      <a:pt x="3476" y="1075"/>
                    </a:lnTo>
                    <a:lnTo>
                      <a:pt x="3426" y="1060"/>
                    </a:lnTo>
                    <a:lnTo>
                      <a:pt x="3378" y="1039"/>
                    </a:lnTo>
                    <a:lnTo>
                      <a:pt x="3334" y="1014"/>
                    </a:lnTo>
                    <a:lnTo>
                      <a:pt x="3294" y="984"/>
                    </a:lnTo>
                    <a:lnTo>
                      <a:pt x="3255" y="947"/>
                    </a:lnTo>
                    <a:lnTo>
                      <a:pt x="3219" y="907"/>
                    </a:lnTo>
                    <a:lnTo>
                      <a:pt x="3188" y="865"/>
                    </a:lnTo>
                    <a:lnTo>
                      <a:pt x="3162" y="820"/>
                    </a:lnTo>
                    <a:lnTo>
                      <a:pt x="3140" y="772"/>
                    </a:lnTo>
                    <a:lnTo>
                      <a:pt x="3124" y="722"/>
                    </a:lnTo>
                    <a:lnTo>
                      <a:pt x="3111" y="670"/>
                    </a:lnTo>
                    <a:lnTo>
                      <a:pt x="3104" y="616"/>
                    </a:lnTo>
                    <a:lnTo>
                      <a:pt x="3101" y="561"/>
                    </a:lnTo>
                    <a:lnTo>
                      <a:pt x="3105" y="494"/>
                    </a:lnTo>
                    <a:lnTo>
                      <a:pt x="3115" y="433"/>
                    </a:lnTo>
                    <a:lnTo>
                      <a:pt x="3130" y="373"/>
                    </a:lnTo>
                    <a:lnTo>
                      <a:pt x="3153" y="318"/>
                    </a:lnTo>
                    <a:lnTo>
                      <a:pt x="3179" y="267"/>
                    </a:lnTo>
                    <a:lnTo>
                      <a:pt x="3213" y="219"/>
                    </a:lnTo>
                    <a:lnTo>
                      <a:pt x="3250" y="175"/>
                    </a:lnTo>
                    <a:lnTo>
                      <a:pt x="3293" y="135"/>
                    </a:lnTo>
                    <a:lnTo>
                      <a:pt x="3341" y="102"/>
                    </a:lnTo>
                    <a:lnTo>
                      <a:pt x="3392" y="72"/>
                    </a:lnTo>
                    <a:lnTo>
                      <a:pt x="3448" y="47"/>
                    </a:lnTo>
                    <a:lnTo>
                      <a:pt x="3508" y="27"/>
                    </a:lnTo>
                    <a:lnTo>
                      <a:pt x="3573" y="12"/>
                    </a:lnTo>
                    <a:lnTo>
                      <a:pt x="3640" y="3"/>
                    </a:lnTo>
                    <a:lnTo>
                      <a:pt x="3711" y="0"/>
                    </a:lnTo>
                    <a:close/>
                    <a:moveTo>
                      <a:pt x="2910" y="0"/>
                    </a:moveTo>
                    <a:lnTo>
                      <a:pt x="2948" y="4"/>
                    </a:lnTo>
                    <a:lnTo>
                      <a:pt x="2983" y="14"/>
                    </a:lnTo>
                    <a:lnTo>
                      <a:pt x="3014" y="30"/>
                    </a:lnTo>
                    <a:lnTo>
                      <a:pt x="3040" y="52"/>
                    </a:lnTo>
                    <a:lnTo>
                      <a:pt x="3063" y="78"/>
                    </a:lnTo>
                    <a:lnTo>
                      <a:pt x="3079" y="109"/>
                    </a:lnTo>
                    <a:lnTo>
                      <a:pt x="3089" y="142"/>
                    </a:lnTo>
                    <a:lnTo>
                      <a:pt x="3093" y="178"/>
                    </a:lnTo>
                    <a:lnTo>
                      <a:pt x="3091" y="203"/>
                    </a:lnTo>
                    <a:lnTo>
                      <a:pt x="3088" y="227"/>
                    </a:lnTo>
                    <a:lnTo>
                      <a:pt x="3081" y="252"/>
                    </a:lnTo>
                    <a:lnTo>
                      <a:pt x="3071" y="277"/>
                    </a:lnTo>
                    <a:lnTo>
                      <a:pt x="3060" y="303"/>
                    </a:lnTo>
                    <a:lnTo>
                      <a:pt x="3044" y="331"/>
                    </a:lnTo>
                    <a:lnTo>
                      <a:pt x="3025" y="361"/>
                    </a:lnTo>
                    <a:lnTo>
                      <a:pt x="3004" y="393"/>
                    </a:lnTo>
                    <a:lnTo>
                      <a:pt x="2978" y="429"/>
                    </a:lnTo>
                    <a:lnTo>
                      <a:pt x="2948" y="468"/>
                    </a:lnTo>
                    <a:lnTo>
                      <a:pt x="2914" y="512"/>
                    </a:lnTo>
                    <a:lnTo>
                      <a:pt x="2876" y="561"/>
                    </a:lnTo>
                    <a:lnTo>
                      <a:pt x="2472" y="1078"/>
                    </a:lnTo>
                    <a:lnTo>
                      <a:pt x="2182" y="1078"/>
                    </a:lnTo>
                    <a:lnTo>
                      <a:pt x="2182" y="424"/>
                    </a:lnTo>
                    <a:lnTo>
                      <a:pt x="1784" y="1078"/>
                    </a:lnTo>
                    <a:lnTo>
                      <a:pt x="1518" y="1078"/>
                    </a:lnTo>
                    <a:lnTo>
                      <a:pt x="1518" y="234"/>
                    </a:lnTo>
                    <a:lnTo>
                      <a:pt x="1313" y="214"/>
                    </a:lnTo>
                    <a:lnTo>
                      <a:pt x="1313" y="118"/>
                    </a:lnTo>
                    <a:lnTo>
                      <a:pt x="1690" y="25"/>
                    </a:lnTo>
                    <a:lnTo>
                      <a:pt x="1832" y="25"/>
                    </a:lnTo>
                    <a:lnTo>
                      <a:pt x="1832" y="713"/>
                    </a:lnTo>
                    <a:lnTo>
                      <a:pt x="2247" y="25"/>
                    </a:lnTo>
                    <a:lnTo>
                      <a:pt x="2497" y="25"/>
                    </a:lnTo>
                    <a:lnTo>
                      <a:pt x="2497" y="822"/>
                    </a:lnTo>
                    <a:lnTo>
                      <a:pt x="2759" y="473"/>
                    </a:lnTo>
                    <a:lnTo>
                      <a:pt x="2759" y="62"/>
                    </a:lnTo>
                    <a:lnTo>
                      <a:pt x="2779" y="44"/>
                    </a:lnTo>
                    <a:lnTo>
                      <a:pt x="2806" y="27"/>
                    </a:lnTo>
                    <a:lnTo>
                      <a:pt x="2837" y="13"/>
                    </a:lnTo>
                    <a:lnTo>
                      <a:pt x="2872" y="4"/>
                    </a:lnTo>
                    <a:lnTo>
                      <a:pt x="2910" y="0"/>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1">
                  <a:ln>
                    <a:noFill/>
                  </a:ln>
                  <a:solidFill>
                    <a:srgbClr val="000000"/>
                  </a:solidFill>
                  <a:effectLst/>
                  <a:uLnTx/>
                  <a:uFillTx/>
                  <a:latin typeface="Arial"/>
                  <a:ea typeface="+mn-ea"/>
                  <a:cs typeface="+mn-cs"/>
                </a:endParaRPr>
              </a:p>
            </p:txBody>
          </p:sp>
        </p:grpSp>
      </p:grpSp>
      <p:sp>
        <p:nvSpPr>
          <p:cNvPr id="90" name="Text Placeholder 2"/>
          <p:cNvSpPr>
            <a:spLocks noGrp="1"/>
          </p:cNvSpPr>
          <p:nvPr/>
        </p:nvSpPr>
        <p:spPr>
          <a:xfrm>
            <a:off x="533399" y="1066800"/>
            <a:ext cx="8985504" cy="832104"/>
          </a:xfrm>
          <a:prstGeom prst="rect">
            <a:avLst/>
          </a:prstGeom>
        </p:spPr>
        <p:txBody>
          <a:bodyPr vert="horz" lIns="0" tIns="0" rIns="0" bIns="0" rtlCol="0">
            <a:noAutofit/>
          </a:bodyPr>
          <a:lstStyle>
            <a:lvl1pPr marL="0" marR="0" indent="0" algn="l" defTabSz="1019175" rtl="0" eaLnBrk="1" fontAlgn="base" latinLnBrk="0" hangingPunct="1">
              <a:lnSpc>
                <a:spcPct val="100000"/>
              </a:lnSpc>
              <a:spcBef>
                <a:spcPts val="0"/>
              </a:spcBef>
              <a:spcAft>
                <a:spcPts val="600"/>
              </a:spcAft>
              <a:buClr>
                <a:srgbClr val="000000"/>
              </a:buClr>
              <a:buSzTx/>
              <a:buFont typeface="Wingdings" pitchFamily="2" charset="2"/>
              <a:buNone/>
              <a:tabLst/>
              <a:defRPr sz="2000" kern="1200">
                <a:solidFill>
                  <a:schemeClr val="tx1"/>
                </a:solidFill>
                <a:latin typeface="Georgia" pitchFamily="18" charset="0"/>
                <a:ea typeface="+mn-ea"/>
                <a:cs typeface="+mn-cs"/>
              </a:defRPr>
            </a:lvl1pPr>
            <a:lvl2pPr marL="234950" marR="0" indent="-228600" algn="l" defTabSz="1019175" rtl="0" eaLnBrk="1" fontAlgn="base" latinLnBrk="0" hangingPunct="1">
              <a:lnSpc>
                <a:spcPct val="100000"/>
              </a:lnSpc>
              <a:spcBef>
                <a:spcPts val="0"/>
              </a:spcBef>
              <a:spcAft>
                <a:spcPts val="600"/>
              </a:spcAft>
              <a:buClr>
                <a:srgbClr val="000000"/>
              </a:buClr>
              <a:buSzTx/>
              <a:buFont typeface="Times New Roman" pitchFamily="18" charset="0"/>
              <a:buChar char="•"/>
              <a:tabLst/>
              <a:defRPr sz="2000" kern="1200">
                <a:solidFill>
                  <a:schemeClr val="tx1"/>
                </a:solidFill>
                <a:latin typeface="Georgia" pitchFamily="18" charset="0"/>
                <a:ea typeface="+mn-ea"/>
                <a:cs typeface="+mn-cs"/>
              </a:defRPr>
            </a:lvl2pPr>
            <a:lvl3pPr marL="468000" marR="0" indent="-230400" algn="l" defTabSz="1019175" rtl="0" eaLnBrk="1" fontAlgn="base" latinLnBrk="0" hangingPunct="1">
              <a:lnSpc>
                <a:spcPct val="100000"/>
              </a:lnSpc>
              <a:spcBef>
                <a:spcPts val="0"/>
              </a:spcBef>
              <a:spcAft>
                <a:spcPts val="600"/>
              </a:spcAft>
              <a:buClr>
                <a:srgbClr val="000000"/>
              </a:buClr>
              <a:buSzTx/>
              <a:buFont typeface="Arial" pitchFamily="34" charset="0"/>
              <a:buChar char="-"/>
              <a:tabLst/>
              <a:defRPr sz="2000" kern="1200">
                <a:solidFill>
                  <a:schemeClr val="tx1"/>
                </a:solidFill>
                <a:latin typeface="Georgia" pitchFamily="18" charset="0"/>
                <a:ea typeface="+mn-ea"/>
                <a:cs typeface="+mn-cs"/>
              </a:defRPr>
            </a:lvl3pPr>
            <a:lvl4pPr marL="694800" marR="0" indent="-230400" algn="l" defTabSz="1019175" rtl="0" eaLnBrk="1" fontAlgn="base" latinLnBrk="0" hangingPunct="1">
              <a:lnSpc>
                <a:spcPct val="100000"/>
              </a:lnSpc>
              <a:spcBef>
                <a:spcPts val="0"/>
              </a:spcBef>
              <a:spcAft>
                <a:spcPts val="600"/>
              </a:spcAft>
              <a:buClr>
                <a:srgbClr val="000000"/>
              </a:buClr>
              <a:buSzTx/>
              <a:buFont typeface="Georgia" pitchFamily="18" charset="0"/>
              <a:buChar char="◦"/>
              <a:tabLst/>
              <a:defRPr sz="2000" kern="1200">
                <a:solidFill>
                  <a:schemeClr val="tx1"/>
                </a:solidFill>
                <a:latin typeface="Georgia" pitchFamily="18" charset="0"/>
                <a:ea typeface="+mn-ea"/>
                <a:cs typeface="+mn-cs"/>
              </a:defRPr>
            </a:lvl4pPr>
            <a:lvl5pPr marL="914400" marR="0" indent="-228600" algn="l" defTabSz="1019175" rtl="0" eaLnBrk="1" fontAlgn="base" latinLnBrk="0" hangingPunct="1">
              <a:lnSpc>
                <a:spcPct val="100000"/>
              </a:lnSpc>
              <a:spcBef>
                <a:spcPts val="0"/>
              </a:spcBef>
              <a:spcAft>
                <a:spcPts val="600"/>
              </a:spcAft>
              <a:buClr>
                <a:srgbClr val="000000"/>
              </a:buClr>
              <a:buSzTx/>
              <a:buFont typeface="Georgia" pitchFamily="18" charset="0"/>
              <a:buChar char="›"/>
              <a:tabLst/>
              <a:defRPr sz="2000" kern="1200" baseline="0">
                <a:solidFill>
                  <a:schemeClr val="tx1"/>
                </a:solidFill>
                <a:latin typeface="Georgia" pitchFamily="18" charset="0"/>
                <a:ea typeface="+mn-ea"/>
                <a:cs typeface="+mn-cs"/>
              </a:defRPr>
            </a:lvl5pPr>
            <a:lvl6pPr marL="234000" indent="-230400" algn="l" defTabSz="1018824" rtl="0" eaLnBrk="1" latinLnBrk="0" hangingPunct="1">
              <a:lnSpc>
                <a:spcPct val="100000"/>
              </a:lnSpc>
              <a:spcBef>
                <a:spcPts val="0"/>
              </a:spcBef>
              <a:spcAft>
                <a:spcPts val="0"/>
              </a:spcAft>
              <a:buFont typeface="+mj-lt"/>
              <a:buAutoNum type="arabicPeriod"/>
              <a:defRPr lang="en-GB" sz="2000" kern="1200" baseline="0" noProof="0" dirty="0" smtClean="0">
                <a:solidFill>
                  <a:schemeClr val="tx1"/>
                </a:solidFill>
                <a:latin typeface="Georgia" pitchFamily="18" charset="0"/>
                <a:ea typeface="+mn-ea"/>
                <a:cs typeface="+mn-cs"/>
              </a:defRPr>
            </a:lvl6pPr>
            <a:lvl7pPr marL="468000" indent="-228600" algn="l" defTabSz="1018824" rtl="0" eaLnBrk="1" latinLnBrk="0" hangingPunct="1">
              <a:lnSpc>
                <a:spcPct val="100000"/>
              </a:lnSpc>
              <a:spcBef>
                <a:spcPts val="0"/>
              </a:spcBef>
              <a:spcAft>
                <a:spcPts val="0"/>
              </a:spcAft>
              <a:buFont typeface="+mj-lt"/>
              <a:buAutoNum type="alphaLcPeriod"/>
              <a:defRPr lang="en-GB" sz="2000" kern="1200" baseline="0" noProof="0" dirty="0" smtClean="0">
                <a:solidFill>
                  <a:schemeClr val="tx1"/>
                </a:solidFill>
                <a:latin typeface="Georgia" pitchFamily="18" charset="0"/>
                <a:ea typeface="+mn-ea"/>
                <a:cs typeface="+mn-cs"/>
              </a:defRPr>
            </a:lvl7pPr>
            <a:lvl8pPr marL="694800" indent="-228600" algn="l" defTabSz="1018824" rtl="0" eaLnBrk="1" latinLnBrk="0" hangingPunct="1">
              <a:lnSpc>
                <a:spcPct val="100000"/>
              </a:lnSpc>
              <a:spcBef>
                <a:spcPts val="0"/>
              </a:spcBef>
              <a:spcAft>
                <a:spcPts val="0"/>
              </a:spcAft>
              <a:buFont typeface="+mj-lt"/>
              <a:buAutoNum type="romanLcPeriod"/>
              <a:defRPr lang="en-GB" sz="2000" kern="1200" baseline="0" noProof="0" dirty="0" smtClean="0">
                <a:solidFill>
                  <a:schemeClr val="tx1"/>
                </a:solidFill>
                <a:latin typeface="Georgia" pitchFamily="18" charset="0"/>
                <a:ea typeface="+mn-ea"/>
                <a:cs typeface="+mn-cs"/>
              </a:defRPr>
            </a:lvl8pPr>
            <a:lvl9pPr marL="0" indent="0" algn="l" defTabSz="1018824" rtl="0" eaLnBrk="1" latinLnBrk="0" hangingPunct="1">
              <a:lnSpc>
                <a:spcPct val="100000"/>
              </a:lnSpc>
              <a:spcBef>
                <a:spcPts val="0"/>
              </a:spcBef>
              <a:spcAft>
                <a:spcPts val="600"/>
              </a:spcAft>
              <a:buFont typeface="Arial" pitchFamily="34" charset="0"/>
              <a:buNone/>
              <a:defRPr lang="en-GB" sz="2000" b="1" kern="1200" baseline="0" noProof="0" dirty="0" smtClean="0">
                <a:solidFill>
                  <a:schemeClr val="tx2"/>
                </a:solidFill>
                <a:latin typeface="Georgia" pitchFamily="18" charset="0"/>
                <a:ea typeface="+mn-ea"/>
                <a:cs typeface="+mn-cs"/>
              </a:defRPr>
            </a:lvl9pPr>
          </a:lstStyle>
          <a:p>
            <a:r>
              <a:rPr lang="en-GB" altLang="zh-CN" sz="4000" b="1" i="1" dirty="0" smtClean="0">
                <a:solidFill>
                  <a:schemeClr val="accent1"/>
                </a:solidFill>
                <a:latin typeface="+mj-lt"/>
                <a:ea typeface="宋体" panose="02010600030101010101" pitchFamily="2" charset="-122"/>
              </a:rPr>
              <a:t>Thank you</a:t>
            </a:r>
            <a:r>
              <a:rPr lang="zh-CN" altLang="en-GB" sz="4000" b="1" i="1" dirty="0" smtClean="0">
                <a:solidFill>
                  <a:schemeClr val="accent1"/>
                </a:solidFill>
                <a:latin typeface="+mj-lt"/>
                <a:ea typeface="宋体" panose="02010600030101010101" pitchFamily="2" charset="-122"/>
              </a:rPr>
              <a:t>！</a:t>
            </a:r>
            <a:endParaRPr lang="en-GB" altLang="zh-CN" sz="4000" b="1" i="1" dirty="0" smtClean="0">
              <a:solidFill>
                <a:schemeClr val="accent1"/>
              </a:solidFill>
              <a:latin typeface="+mj-lt"/>
              <a:ea typeface="宋体" panose="02010600030101010101" pitchFamily="2" charset="-122"/>
            </a:endParaRPr>
          </a:p>
          <a:p>
            <a:endParaRPr lang="en-GB" altLang="zh-CN" sz="4000" b="1" i="1" dirty="0" smtClean="0">
              <a:solidFill>
                <a:schemeClr val="accent1"/>
              </a:solidFill>
              <a:latin typeface="宋体" panose="02010600030101010101" pitchFamily="2" charset="-122"/>
              <a:ea typeface="宋体" panose="02010600030101010101" pitchFamily="2" charset="-122"/>
            </a:endParaRPr>
          </a:p>
          <a:p>
            <a:endParaRPr lang="en-GB" altLang="zh-CN" sz="4000" b="1" i="1" dirty="0">
              <a:solidFill>
                <a:schemeClr val="accent1"/>
              </a:solidFill>
              <a:latin typeface="宋体" panose="02010600030101010101" pitchFamily="2" charset="-122"/>
              <a:ea typeface="宋体" panose="02010600030101010101" pitchFamily="2" charset="-122"/>
            </a:endParaRPr>
          </a:p>
        </p:txBody>
      </p:sp>
      <p:sp>
        <p:nvSpPr>
          <p:cNvPr id="72" name="Text Placeholder 2"/>
          <p:cNvSpPr>
            <a:spLocks noGrp="1"/>
          </p:cNvSpPr>
          <p:nvPr/>
        </p:nvSpPr>
        <p:spPr>
          <a:xfrm>
            <a:off x="530351" y="4949208"/>
            <a:ext cx="8251122" cy="2592288"/>
          </a:xfrm>
          <a:prstGeom prst="rect">
            <a:avLst/>
          </a:prstGeom>
        </p:spPr>
        <p:txBody>
          <a:bodyPr vert="horz" lIns="0" tIns="0" rIns="0" bIns="0" rtlCol="0">
            <a:noAutofit/>
          </a:bodyPr>
          <a:lstStyle>
            <a:lvl1pPr marL="0" marR="0" indent="0" algn="l" defTabSz="1019175" rtl="0" eaLnBrk="1" fontAlgn="base" latinLnBrk="0" hangingPunct="1">
              <a:lnSpc>
                <a:spcPct val="100000"/>
              </a:lnSpc>
              <a:spcBef>
                <a:spcPts val="0"/>
              </a:spcBef>
              <a:spcAft>
                <a:spcPts val="600"/>
              </a:spcAft>
              <a:buClr>
                <a:srgbClr val="000000"/>
              </a:buClr>
              <a:buSzTx/>
              <a:buFont typeface="Wingdings" pitchFamily="2" charset="2"/>
              <a:buNone/>
              <a:tabLst/>
              <a:defRPr sz="2000" kern="1200">
                <a:solidFill>
                  <a:schemeClr val="tx1"/>
                </a:solidFill>
                <a:latin typeface="Georgia" pitchFamily="18" charset="0"/>
                <a:ea typeface="+mn-ea"/>
                <a:cs typeface="+mn-cs"/>
              </a:defRPr>
            </a:lvl1pPr>
            <a:lvl2pPr marL="234950" marR="0" indent="-228600" algn="l" defTabSz="1019175" rtl="0" eaLnBrk="1" fontAlgn="base" latinLnBrk="0" hangingPunct="1">
              <a:lnSpc>
                <a:spcPct val="100000"/>
              </a:lnSpc>
              <a:spcBef>
                <a:spcPts val="0"/>
              </a:spcBef>
              <a:spcAft>
                <a:spcPts val="600"/>
              </a:spcAft>
              <a:buClr>
                <a:srgbClr val="000000"/>
              </a:buClr>
              <a:buSzTx/>
              <a:buFont typeface="Times New Roman" pitchFamily="18" charset="0"/>
              <a:buChar char="•"/>
              <a:tabLst/>
              <a:defRPr sz="2000" kern="1200">
                <a:solidFill>
                  <a:schemeClr val="tx1"/>
                </a:solidFill>
                <a:latin typeface="Georgia" pitchFamily="18" charset="0"/>
                <a:ea typeface="+mn-ea"/>
                <a:cs typeface="+mn-cs"/>
              </a:defRPr>
            </a:lvl2pPr>
            <a:lvl3pPr marL="468000" marR="0" indent="-230400" algn="l" defTabSz="1019175" rtl="0" eaLnBrk="1" fontAlgn="base" latinLnBrk="0" hangingPunct="1">
              <a:lnSpc>
                <a:spcPct val="100000"/>
              </a:lnSpc>
              <a:spcBef>
                <a:spcPts val="0"/>
              </a:spcBef>
              <a:spcAft>
                <a:spcPts val="600"/>
              </a:spcAft>
              <a:buClr>
                <a:srgbClr val="000000"/>
              </a:buClr>
              <a:buSzTx/>
              <a:buFont typeface="Arial" pitchFamily="34" charset="0"/>
              <a:buChar char="-"/>
              <a:tabLst/>
              <a:defRPr sz="2000" kern="1200">
                <a:solidFill>
                  <a:schemeClr val="tx1"/>
                </a:solidFill>
                <a:latin typeface="Georgia" pitchFamily="18" charset="0"/>
                <a:ea typeface="+mn-ea"/>
                <a:cs typeface="+mn-cs"/>
              </a:defRPr>
            </a:lvl3pPr>
            <a:lvl4pPr marL="694800" marR="0" indent="-230400" algn="l" defTabSz="1019175" rtl="0" eaLnBrk="1" fontAlgn="base" latinLnBrk="0" hangingPunct="1">
              <a:lnSpc>
                <a:spcPct val="100000"/>
              </a:lnSpc>
              <a:spcBef>
                <a:spcPts val="0"/>
              </a:spcBef>
              <a:spcAft>
                <a:spcPts val="600"/>
              </a:spcAft>
              <a:buClr>
                <a:srgbClr val="000000"/>
              </a:buClr>
              <a:buSzTx/>
              <a:buFont typeface="Georgia" pitchFamily="18" charset="0"/>
              <a:buChar char="◦"/>
              <a:tabLst/>
              <a:defRPr sz="2000" kern="1200">
                <a:solidFill>
                  <a:schemeClr val="tx1"/>
                </a:solidFill>
                <a:latin typeface="Georgia" pitchFamily="18" charset="0"/>
                <a:ea typeface="+mn-ea"/>
                <a:cs typeface="+mn-cs"/>
              </a:defRPr>
            </a:lvl4pPr>
            <a:lvl5pPr marL="914400" marR="0" indent="-228600" algn="l" defTabSz="1019175" rtl="0" eaLnBrk="1" fontAlgn="base" latinLnBrk="0" hangingPunct="1">
              <a:lnSpc>
                <a:spcPct val="100000"/>
              </a:lnSpc>
              <a:spcBef>
                <a:spcPts val="0"/>
              </a:spcBef>
              <a:spcAft>
                <a:spcPts val="600"/>
              </a:spcAft>
              <a:buClr>
                <a:srgbClr val="000000"/>
              </a:buClr>
              <a:buSzTx/>
              <a:buFont typeface="Georgia" pitchFamily="18" charset="0"/>
              <a:buChar char="›"/>
              <a:tabLst/>
              <a:defRPr sz="2000" kern="1200" baseline="0">
                <a:solidFill>
                  <a:schemeClr val="tx1"/>
                </a:solidFill>
                <a:latin typeface="Georgia" pitchFamily="18" charset="0"/>
                <a:ea typeface="+mn-ea"/>
                <a:cs typeface="+mn-cs"/>
              </a:defRPr>
            </a:lvl5pPr>
            <a:lvl6pPr marL="234000" indent="-230400" algn="l" defTabSz="1018824" rtl="0" eaLnBrk="1" latinLnBrk="0" hangingPunct="1">
              <a:lnSpc>
                <a:spcPct val="100000"/>
              </a:lnSpc>
              <a:spcBef>
                <a:spcPts val="0"/>
              </a:spcBef>
              <a:spcAft>
                <a:spcPts val="0"/>
              </a:spcAft>
              <a:buFont typeface="+mj-lt"/>
              <a:buAutoNum type="arabicPeriod"/>
              <a:defRPr lang="en-GB" sz="2000" kern="1200" baseline="0" noProof="0" dirty="0" smtClean="0">
                <a:solidFill>
                  <a:schemeClr val="tx1"/>
                </a:solidFill>
                <a:latin typeface="Georgia" pitchFamily="18" charset="0"/>
                <a:ea typeface="+mn-ea"/>
                <a:cs typeface="+mn-cs"/>
              </a:defRPr>
            </a:lvl6pPr>
            <a:lvl7pPr marL="468000" indent="-228600" algn="l" defTabSz="1018824" rtl="0" eaLnBrk="1" latinLnBrk="0" hangingPunct="1">
              <a:lnSpc>
                <a:spcPct val="100000"/>
              </a:lnSpc>
              <a:spcBef>
                <a:spcPts val="0"/>
              </a:spcBef>
              <a:spcAft>
                <a:spcPts val="0"/>
              </a:spcAft>
              <a:buFont typeface="+mj-lt"/>
              <a:buAutoNum type="alphaLcPeriod"/>
              <a:defRPr lang="en-GB" sz="2000" kern="1200" baseline="0" noProof="0" dirty="0" smtClean="0">
                <a:solidFill>
                  <a:schemeClr val="tx1"/>
                </a:solidFill>
                <a:latin typeface="Georgia" pitchFamily="18" charset="0"/>
                <a:ea typeface="+mn-ea"/>
                <a:cs typeface="+mn-cs"/>
              </a:defRPr>
            </a:lvl7pPr>
            <a:lvl8pPr marL="694800" indent="-228600" algn="l" defTabSz="1018824" rtl="0" eaLnBrk="1" latinLnBrk="0" hangingPunct="1">
              <a:lnSpc>
                <a:spcPct val="100000"/>
              </a:lnSpc>
              <a:spcBef>
                <a:spcPts val="0"/>
              </a:spcBef>
              <a:spcAft>
                <a:spcPts val="0"/>
              </a:spcAft>
              <a:buFont typeface="+mj-lt"/>
              <a:buAutoNum type="romanLcPeriod"/>
              <a:defRPr lang="en-GB" sz="2000" kern="1200" baseline="0" noProof="0" dirty="0" smtClean="0">
                <a:solidFill>
                  <a:schemeClr val="tx1"/>
                </a:solidFill>
                <a:latin typeface="Georgia" pitchFamily="18" charset="0"/>
                <a:ea typeface="+mn-ea"/>
                <a:cs typeface="+mn-cs"/>
              </a:defRPr>
            </a:lvl8pPr>
            <a:lvl9pPr marL="0" indent="0" algn="l" defTabSz="1018824" rtl="0" eaLnBrk="1" latinLnBrk="0" hangingPunct="1">
              <a:lnSpc>
                <a:spcPct val="100000"/>
              </a:lnSpc>
              <a:spcBef>
                <a:spcPts val="0"/>
              </a:spcBef>
              <a:spcAft>
                <a:spcPts val="600"/>
              </a:spcAft>
              <a:buFont typeface="Arial" pitchFamily="34" charset="0"/>
              <a:buNone/>
              <a:defRPr lang="en-GB" sz="2000" b="1" kern="1200" baseline="0" noProof="0" dirty="0" smtClean="0">
                <a:solidFill>
                  <a:schemeClr val="tx2"/>
                </a:solidFill>
                <a:latin typeface="Georgia" pitchFamily="18" charset="0"/>
                <a:ea typeface="+mn-ea"/>
                <a:cs typeface="+mn-cs"/>
              </a:defRPr>
            </a:lvl9pPr>
          </a:lstStyle>
          <a:p>
            <a:pPr lvl="0" indent="-274320">
              <a:defRPr/>
            </a:pPr>
            <a:r>
              <a:rPr lang="en-GB" sz="1400" dirty="0" smtClean="0"/>
              <a:t>© 2018 PricewaterhouseCoopers Ltd. All rights reserved. PwC refers to the China member firm, and may sometimes refer to the PwC network. Each member firm is a separate legal entity. Please see www.pwc.com/structure for further details. </a:t>
            </a:r>
          </a:p>
          <a:p>
            <a:pPr lvl="0" indent="-274320">
              <a:defRPr/>
            </a:pPr>
            <a:r>
              <a:rPr lang="en-GB" sz="1400" dirty="0" smtClean="0"/>
              <a:t>The information contained in this presentation is of a general nature only. It is not meant to be comprehensive and does not constitute the rendering of legal, tax or other professional advice or service by PricewaterhouseCoopers Ltd or any other entity within the PwC network. PwC has no obligation to update the information as law and practices change. The application and impact of laws can vary widely based on the specific facts involved. Before taking any action, please ensure that you obtain advice specific to your circumstances from your usual PwC client service team or your other advisers. </a:t>
            </a:r>
          </a:p>
          <a:p>
            <a:pPr lvl="0" indent="-274320">
              <a:defRPr/>
            </a:pPr>
            <a:r>
              <a:rPr lang="en-GB" sz="1400" dirty="0" smtClean="0"/>
              <a:t>The materials contained in this presentation were assembled in August 2018 and were based on information available at that time. </a:t>
            </a:r>
            <a:endParaRPr lang="en-GB" sz="1400" dirty="0"/>
          </a:p>
        </p:txBody>
      </p:sp>
    </p:spTree>
    <p:custDataLst>
      <p:tags r:id="rId1"/>
    </p:custData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id" hidden="1"/>
          <p:cNvGrpSpPr/>
          <p:nvPr>
            <p:custDataLst>
              <p:tags r:id="rId2"/>
            </p:custDataLst>
          </p:nvPr>
        </p:nvGrpSpPr>
        <p:grpSpPr>
          <a:xfrm>
            <a:off x="530351" y="612648"/>
            <a:ext cx="8997696" cy="6848856"/>
            <a:chOff x="530352" y="612648"/>
            <a:chExt cx="8997696" cy="6848856"/>
          </a:xfrm>
        </p:grpSpPr>
        <p:grpSp>
          <p:nvGrpSpPr>
            <p:cNvPr id="4" name="Group 107" hidden="1"/>
            <p:cNvGrpSpPr/>
            <p:nvPr/>
          </p:nvGrpSpPr>
          <p:grpSpPr>
            <a:xfrm>
              <a:off x="530352" y="7159752"/>
              <a:ext cx="8997696" cy="301752"/>
              <a:chOff x="530352" y="7159752"/>
              <a:chExt cx="8997696" cy="301752"/>
            </a:xfrm>
          </p:grpSpPr>
          <p:sp>
            <p:nvSpPr>
              <p:cNvPr id="51"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2"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3"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grpSp>
        <p:grpSp>
          <p:nvGrpSpPr>
            <p:cNvPr id="5" name="Group 106" hidden="1"/>
            <p:cNvGrpSpPr/>
            <p:nvPr/>
          </p:nvGrpSpPr>
          <p:grpSpPr>
            <a:xfrm>
              <a:off x="530352" y="1066800"/>
              <a:ext cx="8997696" cy="835152"/>
              <a:chOff x="530352" y="1066800"/>
              <a:chExt cx="8997696" cy="835152"/>
            </a:xfrm>
          </p:grpSpPr>
          <p:sp>
            <p:nvSpPr>
              <p:cNvPr id="49" name="Title block" hidden="1"/>
              <p:cNvSpPr>
                <a:spLocks noChangeArrowheads="1"/>
              </p:cNvSpPr>
              <p:nvPr/>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sp>
            <p:nvSpPr>
              <p:cNvPr id="50"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grpSp>
        <p:sp>
          <p:nvSpPr>
            <p:cNvPr id="6" name="Header block" hidden="1"/>
            <p:cNvSpPr>
              <a:spLocks noChangeArrowheads="1"/>
            </p:cNvSpPr>
            <p:nvPr/>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en-GB" sz="1400" dirty="0">
                <a:solidFill>
                  <a:schemeClr val="folHlink"/>
                </a:solidFill>
                <a:cs typeface="Arial" charset="0"/>
              </a:endParaRPr>
            </a:p>
          </p:txBody>
        </p:sp>
        <p:grpSp>
          <p:nvGrpSpPr>
            <p:cNvPr id="7" name="Group 600" hidden="1"/>
            <p:cNvGrpSpPr/>
            <p:nvPr/>
          </p:nvGrpSpPr>
          <p:grpSpPr>
            <a:xfrm>
              <a:off x="533400" y="6245352"/>
              <a:ext cx="8994648" cy="688848"/>
              <a:chOff x="533400" y="6013704"/>
              <a:chExt cx="8994648" cy="688848"/>
            </a:xfrm>
          </p:grpSpPr>
          <p:sp>
            <p:nvSpPr>
              <p:cNvPr id="43" name="Content block 606" hidden="1"/>
              <p:cNvSpPr>
                <a:spLocks noChangeArrowheads="1"/>
              </p:cNvSpPr>
              <p:nvPr/>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4" name="Content block 605" hidden="1"/>
              <p:cNvSpPr>
                <a:spLocks noChangeArrowheads="1"/>
              </p:cNvSpPr>
              <p:nvPr/>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5"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6"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7"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8"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8" name="Group 500" hidden="1"/>
            <p:cNvGrpSpPr/>
            <p:nvPr/>
          </p:nvGrpSpPr>
          <p:grpSpPr>
            <a:xfrm>
              <a:off x="533400" y="5407152"/>
              <a:ext cx="8994648" cy="688848"/>
              <a:chOff x="533400" y="5026152"/>
              <a:chExt cx="8994648" cy="688848"/>
            </a:xfrm>
          </p:grpSpPr>
          <p:sp>
            <p:nvSpPr>
              <p:cNvPr id="37" name="Content block 506" hidden="1"/>
              <p:cNvSpPr>
                <a:spLocks noChangeArrowheads="1"/>
              </p:cNvSpPr>
              <p:nvPr/>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8" name="Content block 505" hidden="1"/>
              <p:cNvSpPr>
                <a:spLocks noChangeArrowheads="1"/>
              </p:cNvSpPr>
              <p:nvPr/>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9"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0"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1"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2"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9" name="Group 400" hidden="1"/>
            <p:cNvGrpSpPr/>
            <p:nvPr/>
          </p:nvGrpSpPr>
          <p:grpSpPr>
            <a:xfrm>
              <a:off x="533400" y="4568952"/>
              <a:ext cx="8994648" cy="688848"/>
              <a:chOff x="533400" y="4038600"/>
              <a:chExt cx="8994648" cy="688848"/>
            </a:xfrm>
          </p:grpSpPr>
          <p:sp>
            <p:nvSpPr>
              <p:cNvPr id="31" name="Content block 406" hidden="1"/>
              <p:cNvSpPr>
                <a:spLocks noChangeArrowheads="1"/>
              </p:cNvSpPr>
              <p:nvPr/>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2" name="Content block 405" hidden="1"/>
              <p:cNvSpPr>
                <a:spLocks noChangeArrowheads="1"/>
              </p:cNvSpPr>
              <p:nvPr/>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3"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4"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5"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6"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 name="Group 300" hidden="1"/>
            <p:cNvGrpSpPr/>
            <p:nvPr/>
          </p:nvGrpSpPr>
          <p:grpSpPr>
            <a:xfrm>
              <a:off x="533400" y="3730752"/>
              <a:ext cx="8994648" cy="688848"/>
              <a:chOff x="533400" y="3041904"/>
              <a:chExt cx="8994648" cy="688848"/>
            </a:xfrm>
          </p:grpSpPr>
          <p:sp>
            <p:nvSpPr>
              <p:cNvPr id="25" name="Content block 306" hidden="1"/>
              <p:cNvSpPr>
                <a:spLocks noChangeArrowheads="1"/>
              </p:cNvSpPr>
              <p:nvPr/>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6" name="Content block 305" hidden="1"/>
              <p:cNvSpPr>
                <a:spLocks noChangeArrowheads="1"/>
              </p:cNvSpPr>
              <p:nvPr/>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7"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8"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9"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0"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1" name="Group 200" hidden="1"/>
            <p:cNvGrpSpPr/>
            <p:nvPr/>
          </p:nvGrpSpPr>
          <p:grpSpPr>
            <a:xfrm>
              <a:off x="533400" y="2892552"/>
              <a:ext cx="8994648" cy="688848"/>
              <a:chOff x="533400" y="1066800"/>
              <a:chExt cx="8994648" cy="688848"/>
            </a:xfrm>
          </p:grpSpPr>
          <p:sp>
            <p:nvSpPr>
              <p:cNvPr id="19" name="Content block 206" hidden="1"/>
              <p:cNvSpPr>
                <a:spLocks noChangeArrowheads="1"/>
              </p:cNvSpPr>
              <p:nvPr/>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0" name="Content block 205" hidden="1"/>
              <p:cNvSpPr>
                <a:spLocks noChangeArrowheads="1"/>
              </p:cNvSpPr>
              <p:nvPr/>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1"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2"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3"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4"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2" name="Group 100" hidden="1"/>
            <p:cNvGrpSpPr/>
            <p:nvPr/>
          </p:nvGrpSpPr>
          <p:grpSpPr>
            <a:xfrm>
              <a:off x="533400" y="2054352"/>
              <a:ext cx="8994648" cy="688848"/>
              <a:chOff x="533400" y="2054352"/>
              <a:chExt cx="8994648" cy="688848"/>
            </a:xfrm>
          </p:grpSpPr>
          <p:sp>
            <p:nvSpPr>
              <p:cNvPr id="13" name="Content block 106" hidden="1"/>
              <p:cNvSpPr>
                <a:spLocks noChangeArrowheads="1"/>
              </p:cNvSpPr>
              <p:nvPr/>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4" name="Content block 105" hidden="1"/>
              <p:cNvSpPr>
                <a:spLocks noChangeArrowheads="1"/>
              </p:cNvSpPr>
              <p:nvPr/>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5"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6"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7"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8"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sp>
        <p:nvSpPr>
          <p:cNvPr id="2" name="Title 1"/>
          <p:cNvSpPr>
            <a:spLocks noGrp="1"/>
          </p:cNvSpPr>
          <p:nvPr>
            <p:ph type="title"/>
            <p:custDataLst>
              <p:tags r:id="rId3"/>
            </p:custDataLst>
          </p:nvPr>
        </p:nvSpPr>
        <p:spPr>
          <a:xfrm>
            <a:off x="529004" y="1221904"/>
            <a:ext cx="8688148" cy="492443"/>
          </a:xfrm>
        </p:spPr>
        <p:txBody>
          <a:bodyPr/>
          <a:lstStyle/>
          <a:p>
            <a:r>
              <a:rPr lang="en-GB" altLang="zh-CN" dirty="0" smtClean="0"/>
              <a:t>Part I  Brief Introduction to PRC GAAR</a:t>
            </a:r>
            <a:endParaRPr lang="en-GB" dirty="0"/>
          </a:p>
        </p:txBody>
      </p:sp>
      <p:sp>
        <p:nvSpPr>
          <p:cNvPr id="75" name="Section Header" hidden="1"/>
          <p:cNvSpPr txBox="1"/>
          <p:nvPr>
            <p:custDataLst>
              <p:tags r:id="rId4"/>
            </p:custDataLst>
          </p:nvPr>
        </p:nvSpPr>
        <p:spPr>
          <a:xfrm>
            <a:off x="530351" y="704087"/>
            <a:ext cx="3034379" cy="137160"/>
          </a:xfrm>
          <a:prstGeom prst="rect">
            <a:avLst/>
          </a:prstGeom>
          <a:noFill/>
        </p:spPr>
        <p:txBody>
          <a:bodyPr wrap="square" lIns="0" tIns="0" rIns="0" bIns="0" rtlCol="0" anchor="b" anchorCtr="0">
            <a:noAutofit/>
          </a:bodyPr>
          <a:lstStyle/>
          <a:p>
            <a:r>
              <a:rPr lang="en-GB" altLang="zh-CN" sz="900" noProof="1" smtClean="0">
                <a:solidFill>
                  <a:schemeClr val="tx1"/>
                </a:solidFill>
              </a:rPr>
              <a:t>-1 Part I  Brief Introduction to PRC GAAR</a:t>
            </a:r>
            <a:endParaRPr lang="en-GB" sz="900" noProof="1" smtClean="0">
              <a:solidFill>
                <a:schemeClr val="tx1"/>
              </a:solidFill>
            </a:endParaRPr>
          </a:p>
        </p:txBody>
      </p:sp>
      <p:sp>
        <p:nvSpPr>
          <p:cNvPr id="157" name="Page Number"/>
          <p:cNvSpPr txBox="1"/>
          <p:nvPr>
            <p:custDataLst>
              <p:tags r:id="rId5"/>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en-GB" sz="1100" noProof="1" smtClean="0"/>
              <a:t>3</a:t>
            </a:r>
            <a:endParaRPr lang="en-GB" sz="1100" noProof="1" smtClean="0"/>
          </a:p>
        </p:txBody>
      </p:sp>
      <p:sp>
        <p:nvSpPr>
          <p:cNvPr id="158" name="Section Footer"/>
          <p:cNvSpPr txBox="1"/>
          <p:nvPr>
            <p:custDataLst>
              <p:tags r:id="rId6"/>
            </p:custDataLst>
          </p:nvPr>
        </p:nvSpPr>
        <p:spPr>
          <a:xfrm>
            <a:off x="530351" y="7128974"/>
            <a:ext cx="2898648" cy="169277"/>
          </a:xfrm>
          <a:prstGeom prst="rect">
            <a:avLst/>
          </a:prstGeom>
          <a:noFill/>
          <a:ln>
            <a:noFill/>
          </a:ln>
        </p:spPr>
        <p:txBody>
          <a:bodyPr wrap="square" lIns="0" tIns="0" rIns="0" bIns="0" rtlCol="0" anchor="b" anchorCtr="0">
            <a:spAutoFit/>
          </a:bodyPr>
          <a:lstStyle/>
          <a:p>
            <a:r>
              <a:rPr lang="en-GB" altLang="zh-CN" sz="1100" noProof="1" smtClean="0">
                <a:solidFill>
                  <a:schemeClr val="tx1"/>
                </a:solidFill>
                <a:latin typeface="+mj-lt"/>
                <a:ea typeface="宋体" panose="02010600030101010101" pitchFamily="2" charset="-122"/>
              </a:rPr>
              <a:t>Overview of PRC GAAR</a:t>
            </a:r>
            <a:endParaRPr lang="en-GB" sz="1100" noProof="1" smtClean="0">
              <a:solidFill>
                <a:schemeClr val="tx1"/>
              </a:solidFill>
              <a:latin typeface="+mj-lt"/>
              <a:ea typeface="宋体" panose="02010600030101010101" pitchFamily="2" charset="-122"/>
            </a:endParaRPr>
          </a:p>
        </p:txBody>
      </p:sp>
      <p:grpSp>
        <p:nvGrpSpPr>
          <p:cNvPr id="57" name="Group 56"/>
          <p:cNvGrpSpPr/>
          <p:nvPr>
            <p:custDataLst>
              <p:tags r:id="rId7"/>
            </p:custDataLst>
          </p:nvPr>
        </p:nvGrpSpPr>
        <p:grpSpPr>
          <a:xfrm>
            <a:off x="5283980" y="704088"/>
            <a:ext cx="4236835" cy="138499"/>
            <a:chOff x="5283980" y="704088"/>
            <a:chExt cx="4236835" cy="138499"/>
          </a:xfrm>
        </p:grpSpPr>
        <p:sp>
          <p:nvSpPr>
            <p:cNvPr id="83" name="745">
              <a:hlinkClick r:id="rId14" action="ppaction://hlinksldjump"/>
            </p:cNvPr>
            <p:cNvSpPr txBox="1"/>
            <p:nvPr>
              <p:custDataLst>
                <p:tags r:id="rId8"/>
              </p:custDataLst>
            </p:nvPr>
          </p:nvSpPr>
          <p:spPr>
            <a:xfrm>
              <a:off x="7868824" y="704088"/>
              <a:ext cx="1651991" cy="138499"/>
            </a:xfrm>
            <a:prstGeom prst="rect">
              <a:avLst/>
            </a:prstGeom>
            <a:noFill/>
            <a:ln>
              <a:noFill/>
            </a:ln>
          </p:spPr>
          <p:txBody>
            <a:bodyPr wrap="none" lIns="27432" tIns="0" rIns="27432" bIns="0" rtlCol="0">
              <a:spAutoFit/>
            </a:bodyPr>
            <a:lstStyle/>
            <a:p>
              <a:r>
                <a:rPr lang="en-US" sz="900" noProof="1" smtClean="0">
                  <a:solidFill>
                    <a:schemeClr val="tx1"/>
                  </a:solidFill>
                  <a:latin typeface="+mn-lt"/>
                  <a:cs typeface="Arial" pitchFamily="34" charset="0"/>
                </a:rPr>
                <a:t>Part II  Indirect Equity Transfer </a:t>
              </a:r>
              <a:endParaRPr lang="en-GB" sz="900" noProof="1" smtClean="0">
                <a:solidFill>
                  <a:schemeClr val="tx1"/>
                </a:solidFill>
                <a:latin typeface="+mn-lt"/>
                <a:cs typeface="Arial" pitchFamily="34" charset="0"/>
              </a:endParaRPr>
            </a:p>
          </p:txBody>
        </p:sp>
        <p:cxnSp>
          <p:nvCxnSpPr>
            <p:cNvPr id="85" name="Divider1"/>
            <p:cNvCxnSpPr/>
            <p:nvPr>
              <p:custDataLst>
                <p:tags r:id="rId9"/>
              </p:custDataLst>
            </p:nvPr>
          </p:nvCxnSpPr>
          <p:spPr>
            <a:xfrm>
              <a:off x="7843424"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86" name="638">
              <a:hlinkClick r:id="rId15" action="ppaction://hlinksldjump"/>
            </p:cNvPr>
            <p:cNvSpPr txBox="1"/>
            <p:nvPr>
              <p:custDataLst>
                <p:tags r:id="rId10"/>
              </p:custDataLst>
            </p:nvPr>
          </p:nvSpPr>
          <p:spPr>
            <a:xfrm>
              <a:off x="5787725" y="704088"/>
              <a:ext cx="2030299" cy="138499"/>
            </a:xfrm>
            <a:prstGeom prst="rect">
              <a:avLst/>
            </a:prstGeom>
            <a:noFill/>
            <a:ln>
              <a:noFill/>
            </a:ln>
          </p:spPr>
          <p:txBody>
            <a:bodyPr wrap="none" lIns="27432" tIns="0" rIns="27432" bIns="0" rtlCol="0">
              <a:spAutoFit/>
            </a:bodyPr>
            <a:lstStyle/>
            <a:p>
              <a:r>
                <a:rPr lang="en-US" sz="900" noProof="1" smtClean="0">
                  <a:solidFill>
                    <a:schemeClr val="tx2"/>
                  </a:solidFill>
                  <a:cs typeface="Arial" pitchFamily="34" charset="0"/>
                </a:rPr>
                <a:t>Part I  Brief Introduction to PRC GAAR</a:t>
              </a:r>
              <a:endParaRPr lang="en-GB" sz="900" noProof="1" smtClean="0">
                <a:solidFill>
                  <a:schemeClr val="tx2"/>
                </a:solidFill>
                <a:cs typeface="Arial" pitchFamily="34" charset="0"/>
              </a:endParaRPr>
            </a:p>
          </p:txBody>
        </p:sp>
        <p:cxnSp>
          <p:nvCxnSpPr>
            <p:cNvPr id="88" name="Divider2"/>
            <p:cNvCxnSpPr/>
            <p:nvPr>
              <p:custDataLst>
                <p:tags r:id="rId11"/>
              </p:custDataLst>
            </p:nvPr>
          </p:nvCxnSpPr>
          <p:spPr>
            <a:xfrm>
              <a:off x="5762325"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89" name="735">
              <a:hlinkClick r:id="rId16" action="ppaction://hlinksldjump"/>
            </p:cNvPr>
            <p:cNvSpPr txBox="1"/>
            <p:nvPr>
              <p:custDataLst>
                <p:tags r:id="rId12"/>
              </p:custDataLst>
            </p:nvPr>
          </p:nvSpPr>
          <p:spPr>
            <a:xfrm>
              <a:off x="5283980" y="704088"/>
              <a:ext cx="452945" cy="138499"/>
            </a:xfrm>
            <a:prstGeom prst="rect">
              <a:avLst/>
            </a:prstGeom>
            <a:noFill/>
            <a:ln>
              <a:noFill/>
            </a:ln>
          </p:spPr>
          <p:txBody>
            <a:bodyPr wrap="none" lIns="27432" tIns="0" rIns="27432" bIns="0" rtlCol="0">
              <a:spAutoFit/>
            </a:bodyPr>
            <a:lstStyle/>
            <a:p>
              <a:r>
                <a:rPr lang="en-GB" sz="900" noProof="1" smtClean="0">
                  <a:solidFill>
                    <a:schemeClr val="tx1"/>
                  </a:solidFill>
                  <a:latin typeface="+mn-lt"/>
                  <a:cs typeface="Arial" pitchFamily="34" charset="0"/>
                </a:rPr>
                <a:t>Agenda</a:t>
              </a:r>
              <a:endParaRPr lang="en-GB" sz="900" noProof="1" smtClean="0">
                <a:solidFill>
                  <a:schemeClr val="tx1"/>
                </a:solidFill>
                <a:latin typeface="+mn-lt"/>
                <a:cs typeface="Arial" pitchFamily="34" charset="0"/>
              </a:endParaRPr>
            </a:p>
          </p:txBody>
        </p:sp>
      </p:grpSp>
    </p:spTree>
    <p:custDataLst>
      <p:tags r:id="rId1"/>
    </p:custData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Freeform 28"/>
          <p:cNvSpPr>
            <a:spLocks/>
          </p:cNvSpPr>
          <p:nvPr/>
        </p:nvSpPr>
        <p:spPr bwMode="auto">
          <a:xfrm>
            <a:off x="2520202" y="4590487"/>
            <a:ext cx="1950989" cy="1614551"/>
          </a:xfrm>
          <a:custGeom>
            <a:avLst/>
            <a:gdLst/>
            <a:ahLst/>
            <a:cxnLst>
              <a:cxn ang="0">
                <a:pos x="545" y="0"/>
              </a:cxn>
              <a:cxn ang="0">
                <a:pos x="181" y="0"/>
              </a:cxn>
              <a:cxn ang="0">
                <a:pos x="0" y="313"/>
              </a:cxn>
              <a:cxn ang="0">
                <a:pos x="181" y="626"/>
              </a:cxn>
              <a:cxn ang="0">
                <a:pos x="545" y="626"/>
              </a:cxn>
              <a:cxn ang="0">
                <a:pos x="726" y="313"/>
              </a:cxn>
              <a:cxn ang="0">
                <a:pos x="545" y="0"/>
              </a:cxn>
              <a:cxn ang="0">
                <a:pos x="545" y="0"/>
              </a:cxn>
            </a:cxnLst>
            <a:rect l="0" t="0" r="r" b="b"/>
            <a:pathLst>
              <a:path w="726" h="626">
                <a:moveTo>
                  <a:pt x="545" y="0"/>
                </a:moveTo>
                <a:lnTo>
                  <a:pt x="181" y="0"/>
                </a:lnTo>
                <a:lnTo>
                  <a:pt x="0" y="313"/>
                </a:lnTo>
                <a:lnTo>
                  <a:pt x="181" y="626"/>
                </a:lnTo>
                <a:lnTo>
                  <a:pt x="545" y="626"/>
                </a:lnTo>
                <a:lnTo>
                  <a:pt x="726" y="313"/>
                </a:lnTo>
                <a:lnTo>
                  <a:pt x="545" y="0"/>
                </a:lnTo>
                <a:lnTo>
                  <a:pt x="545" y="0"/>
                </a:lnTo>
                <a:close/>
              </a:path>
            </a:pathLst>
          </a:custGeom>
          <a:solidFill>
            <a:schemeClr val="accent2"/>
          </a:solidFill>
          <a:ln>
            <a:headEnd/>
            <a:tailEnd/>
          </a:ln>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GB" dirty="0"/>
          </a:p>
        </p:txBody>
      </p:sp>
      <p:sp>
        <p:nvSpPr>
          <p:cNvPr id="144" name="Freeform 28"/>
          <p:cNvSpPr>
            <a:spLocks/>
          </p:cNvSpPr>
          <p:nvPr/>
        </p:nvSpPr>
        <p:spPr bwMode="auto">
          <a:xfrm>
            <a:off x="4024804" y="5441124"/>
            <a:ext cx="1950989" cy="1614551"/>
          </a:xfrm>
          <a:custGeom>
            <a:avLst/>
            <a:gdLst/>
            <a:ahLst/>
            <a:cxnLst>
              <a:cxn ang="0">
                <a:pos x="545" y="0"/>
              </a:cxn>
              <a:cxn ang="0">
                <a:pos x="181" y="0"/>
              </a:cxn>
              <a:cxn ang="0">
                <a:pos x="0" y="313"/>
              </a:cxn>
              <a:cxn ang="0">
                <a:pos x="181" y="626"/>
              </a:cxn>
              <a:cxn ang="0">
                <a:pos x="545" y="626"/>
              </a:cxn>
              <a:cxn ang="0">
                <a:pos x="726" y="313"/>
              </a:cxn>
              <a:cxn ang="0">
                <a:pos x="545" y="0"/>
              </a:cxn>
              <a:cxn ang="0">
                <a:pos x="545" y="0"/>
              </a:cxn>
            </a:cxnLst>
            <a:rect l="0" t="0" r="r" b="b"/>
            <a:pathLst>
              <a:path w="726" h="626">
                <a:moveTo>
                  <a:pt x="545" y="0"/>
                </a:moveTo>
                <a:lnTo>
                  <a:pt x="181" y="0"/>
                </a:lnTo>
                <a:lnTo>
                  <a:pt x="0" y="313"/>
                </a:lnTo>
                <a:lnTo>
                  <a:pt x="181" y="626"/>
                </a:lnTo>
                <a:lnTo>
                  <a:pt x="545" y="626"/>
                </a:lnTo>
                <a:lnTo>
                  <a:pt x="726" y="313"/>
                </a:lnTo>
                <a:lnTo>
                  <a:pt x="545" y="0"/>
                </a:lnTo>
                <a:lnTo>
                  <a:pt x="545" y="0"/>
                </a:lnTo>
                <a:close/>
              </a:path>
            </a:pathLst>
          </a:custGeom>
          <a:ln>
            <a:headEnd/>
            <a:tailEnd/>
          </a:ln>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anchor="t" anchorCtr="0" compatLnSpc="1">
            <a:prstTxWarp prst="textNoShape">
              <a:avLst/>
            </a:prstTxWarp>
          </a:bodyPr>
          <a:lstStyle/>
          <a:p>
            <a:endParaRPr lang="en-GB" dirty="0"/>
          </a:p>
        </p:txBody>
      </p:sp>
      <p:sp>
        <p:nvSpPr>
          <p:cNvPr id="145" name="Freeform 28"/>
          <p:cNvSpPr>
            <a:spLocks/>
          </p:cNvSpPr>
          <p:nvPr/>
        </p:nvSpPr>
        <p:spPr bwMode="auto">
          <a:xfrm>
            <a:off x="2530123" y="2924890"/>
            <a:ext cx="1950989" cy="1614551"/>
          </a:xfrm>
          <a:custGeom>
            <a:avLst/>
            <a:gdLst/>
            <a:ahLst/>
            <a:cxnLst>
              <a:cxn ang="0">
                <a:pos x="545" y="0"/>
              </a:cxn>
              <a:cxn ang="0">
                <a:pos x="181" y="0"/>
              </a:cxn>
              <a:cxn ang="0">
                <a:pos x="0" y="313"/>
              </a:cxn>
              <a:cxn ang="0">
                <a:pos x="181" y="626"/>
              </a:cxn>
              <a:cxn ang="0">
                <a:pos x="545" y="626"/>
              </a:cxn>
              <a:cxn ang="0">
                <a:pos x="726" y="313"/>
              </a:cxn>
              <a:cxn ang="0">
                <a:pos x="545" y="0"/>
              </a:cxn>
              <a:cxn ang="0">
                <a:pos x="545" y="0"/>
              </a:cxn>
            </a:cxnLst>
            <a:rect l="0" t="0" r="r" b="b"/>
            <a:pathLst>
              <a:path w="726" h="626">
                <a:moveTo>
                  <a:pt x="545" y="0"/>
                </a:moveTo>
                <a:lnTo>
                  <a:pt x="181" y="0"/>
                </a:lnTo>
                <a:lnTo>
                  <a:pt x="0" y="313"/>
                </a:lnTo>
                <a:lnTo>
                  <a:pt x="181" y="626"/>
                </a:lnTo>
                <a:lnTo>
                  <a:pt x="545" y="626"/>
                </a:lnTo>
                <a:lnTo>
                  <a:pt x="726" y="313"/>
                </a:lnTo>
                <a:lnTo>
                  <a:pt x="545" y="0"/>
                </a:lnTo>
                <a:lnTo>
                  <a:pt x="545" y="0"/>
                </a:lnTo>
                <a:close/>
              </a:path>
            </a:pathLst>
          </a:custGeom>
          <a:solidFill>
            <a:schemeClr val="accent2"/>
          </a:solidFill>
          <a:ln>
            <a:headEnd/>
            <a:tailEnd/>
          </a:ln>
        </p:spPr>
        <p:style>
          <a:lnRef idx="1">
            <a:schemeClr val="accent6"/>
          </a:lnRef>
          <a:fillRef idx="3">
            <a:schemeClr val="accent6"/>
          </a:fillRef>
          <a:effectRef idx="2">
            <a:schemeClr val="accent6"/>
          </a:effectRef>
          <a:fontRef idx="minor">
            <a:schemeClr val="lt1"/>
          </a:fontRef>
        </p:style>
        <p:txBody>
          <a:bodyPr vert="horz" wrap="square" lIns="91440" tIns="45720" rIns="91440" bIns="45720" numCol="1" anchor="t" anchorCtr="0" compatLnSpc="1">
            <a:prstTxWarp prst="textNoShape">
              <a:avLst/>
            </a:prstTxWarp>
          </a:bodyPr>
          <a:lstStyle/>
          <a:p>
            <a:endParaRPr lang="en-GB" dirty="0"/>
          </a:p>
        </p:txBody>
      </p:sp>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en-GB"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sp>
        <p:nvSpPr>
          <p:cNvPr id="3" name="Title 2"/>
          <p:cNvSpPr>
            <a:spLocks noGrp="1"/>
          </p:cNvSpPr>
          <p:nvPr>
            <p:ph type="title"/>
          </p:nvPr>
        </p:nvSpPr>
        <p:spPr/>
        <p:txBody>
          <a:bodyPr/>
          <a:lstStyle/>
          <a:p>
            <a:r>
              <a:rPr lang="en-GB" altLang="zh-CN" dirty="0" smtClean="0">
                <a:ea typeface="宋体" panose="02010600030101010101" pitchFamily="2" charset="-122"/>
              </a:rPr>
              <a:t>Overview </a:t>
            </a:r>
            <a:endParaRPr lang="en-GB" dirty="0">
              <a:ea typeface="宋体" panose="02010600030101010101" pitchFamily="2" charset="-122"/>
            </a:endParaRPr>
          </a:p>
        </p:txBody>
      </p:sp>
      <p:sp>
        <p:nvSpPr>
          <p:cNvPr id="55" name="Page Number"/>
          <p:cNvSpPr txBox="1"/>
          <p:nvPr>
            <p:custDataLst>
              <p:tags r:id="rId3"/>
            </p:custDataLst>
          </p:nvPr>
        </p:nvSpPr>
        <p:spPr>
          <a:xfrm>
            <a:off x="9198864" y="7315586"/>
            <a:ext cx="320040" cy="155448"/>
          </a:xfrm>
          <a:prstGeom prst="rect">
            <a:avLst/>
          </a:prstGeom>
          <a:noFill/>
        </p:spPr>
        <p:txBody>
          <a:bodyPr wrap="none" lIns="0" tIns="0" rIns="0" bIns="0" rtlCol="0">
            <a:noAutofit/>
          </a:bodyPr>
          <a:lstStyle/>
          <a:p>
            <a:pPr algn="r">
              <a:lnSpc>
                <a:spcPts val="1000"/>
              </a:lnSpc>
            </a:pPr>
            <a:r>
              <a:rPr lang="en-GB" sz="1100" noProof="1" smtClean="0"/>
              <a:t>4</a:t>
            </a:r>
            <a:endParaRPr lang="en-GB" sz="1100" noProof="1" smtClean="0"/>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en-GB" altLang="zh-CN" sz="1100" noProof="1" smtClean="0">
                <a:solidFill>
                  <a:schemeClr val="tx1"/>
                </a:solidFill>
                <a:latin typeface="+mj-lt"/>
                <a:ea typeface="宋体" panose="02010600030101010101" pitchFamily="2" charset="-122"/>
              </a:rPr>
              <a:t>Overview of PRC GAAR</a:t>
            </a:r>
            <a:endParaRPr lang="en-GB" sz="1100" noProof="1" smtClean="0">
              <a:solidFill>
                <a:schemeClr val="tx1"/>
              </a:solidFill>
              <a:latin typeface="+mj-lt"/>
              <a:ea typeface="宋体" panose="02010600030101010101" pitchFamily="2" charset="-122"/>
            </a:endParaRP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en-GB" altLang="zh-CN" sz="900" noProof="1" smtClean="0">
                <a:solidFill>
                  <a:schemeClr val="tx1"/>
                </a:solidFill>
              </a:rPr>
              <a:t>-1 Part I  Brief Introduction to PRC GAAR</a:t>
            </a:r>
            <a:endParaRPr lang="en-GB" sz="900" noProof="1" smtClean="0">
              <a:solidFill>
                <a:schemeClr val="tx1"/>
              </a:solidFill>
            </a:endParaRPr>
          </a:p>
        </p:txBody>
      </p:sp>
      <p:grpSp>
        <p:nvGrpSpPr>
          <p:cNvPr id="126" name="Group 125"/>
          <p:cNvGrpSpPr/>
          <p:nvPr/>
        </p:nvGrpSpPr>
        <p:grpSpPr>
          <a:xfrm>
            <a:off x="526205" y="2077537"/>
            <a:ext cx="9429073" cy="4900820"/>
            <a:chOff x="526205" y="2077537"/>
            <a:chExt cx="9429073" cy="4900820"/>
          </a:xfrm>
        </p:grpSpPr>
        <p:sp>
          <p:nvSpPr>
            <p:cNvPr id="127" name="Freeform 186"/>
            <p:cNvSpPr>
              <a:spLocks/>
            </p:cNvSpPr>
            <p:nvPr/>
          </p:nvSpPr>
          <p:spPr bwMode="auto">
            <a:xfrm>
              <a:off x="526205" y="4692132"/>
              <a:ext cx="2289370" cy="1418646"/>
            </a:xfrm>
            <a:custGeom>
              <a:avLst/>
              <a:gdLst>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7730 w 10000"/>
                <a:gd name="connsiteY4" fmla="*/ 500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03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29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363 w 10000"/>
                <a:gd name="connsiteY4" fmla="*/ 515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9 w 10000"/>
                <a:gd name="connsiteY4" fmla="*/ 509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291 w 10000"/>
                <a:gd name="connsiteY4" fmla="*/ 491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7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75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0 w 10000"/>
                <a:gd name="connsiteY4" fmla="*/ 486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48 w 10000"/>
                <a:gd name="connsiteY4" fmla="*/ 515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6 w 10000"/>
                <a:gd name="connsiteY4" fmla="*/ 4920 h 10000"/>
                <a:gd name="connsiteX5" fmla="*/ 10000 w 10000"/>
                <a:gd name="connsiteY5" fmla="*/ 0 h 10000"/>
                <a:gd name="connsiteX6" fmla="*/ 0 w 10000"/>
                <a:gd name="connsiteY6" fmla="*/ 0 h 10000"/>
                <a:gd name="connsiteX7" fmla="*/ 0 w 10000"/>
                <a:gd name="connsiteY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000">
                  <a:moveTo>
                    <a:pt x="0" y="0"/>
                  </a:moveTo>
                  <a:lnTo>
                    <a:pt x="0" y="10000"/>
                  </a:lnTo>
                  <a:lnTo>
                    <a:pt x="10000" y="10000"/>
                  </a:lnTo>
                  <a:lnTo>
                    <a:pt x="10000" y="10000"/>
                  </a:lnTo>
                  <a:lnTo>
                    <a:pt x="8416" y="4920"/>
                  </a:lnTo>
                  <a:lnTo>
                    <a:pt x="10000" y="0"/>
                  </a:lnTo>
                  <a:lnTo>
                    <a:pt x="0" y="0"/>
                  </a:lnTo>
                  <a:lnTo>
                    <a:pt x="0" y="0"/>
                  </a:lnTo>
                  <a:close/>
                </a:path>
              </a:pathLst>
            </a:custGeom>
            <a:ln>
              <a:noFill/>
              <a:headEnd/>
              <a:tailEnd/>
            </a:ln>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endParaRPr lang="en-GB" dirty="0"/>
            </a:p>
          </p:txBody>
        </p:sp>
        <p:sp>
          <p:nvSpPr>
            <p:cNvPr id="128" name="Freeform 156"/>
            <p:cNvSpPr>
              <a:spLocks/>
            </p:cNvSpPr>
            <p:nvPr/>
          </p:nvSpPr>
          <p:spPr bwMode="auto">
            <a:xfrm rot="10800000">
              <a:off x="5605128" y="2115575"/>
              <a:ext cx="4007402" cy="680047"/>
            </a:xfrm>
            <a:custGeom>
              <a:avLst/>
              <a:gdLst>
                <a:gd name="connsiteX0" fmla="*/ 0 w 10000"/>
                <a:gd name="connsiteY0" fmla="*/ 0 h 10000"/>
                <a:gd name="connsiteX1" fmla="*/ 0 w 10000"/>
                <a:gd name="connsiteY1" fmla="*/ 10000 h 10000"/>
                <a:gd name="connsiteX2" fmla="*/ 10000 w 10000"/>
                <a:gd name="connsiteY2" fmla="*/ 10000 h 10000"/>
                <a:gd name="connsiteX3" fmla="*/ 8704 w 10000"/>
                <a:gd name="connsiteY3" fmla="*/ 26 h 10000"/>
                <a:gd name="connsiteX4" fmla="*/ 0 w 10000"/>
                <a:gd name="connsiteY4" fmla="*/ 0 h 10000"/>
                <a:gd name="connsiteX5" fmla="*/ 0 w 10000"/>
                <a:gd name="connsiteY5" fmla="*/ 0 h 10000"/>
                <a:gd name="connsiteX0" fmla="*/ 0 w 10000"/>
                <a:gd name="connsiteY0" fmla="*/ 0 h 10000"/>
                <a:gd name="connsiteX1" fmla="*/ 0 w 10000"/>
                <a:gd name="connsiteY1" fmla="*/ 10000 h 10000"/>
                <a:gd name="connsiteX2" fmla="*/ 10000 w 10000"/>
                <a:gd name="connsiteY2" fmla="*/ 10000 h 10000"/>
                <a:gd name="connsiteX3" fmla="*/ 8916 w 10000"/>
                <a:gd name="connsiteY3" fmla="*/ 151 h 10000"/>
                <a:gd name="connsiteX4" fmla="*/ 0 w 10000"/>
                <a:gd name="connsiteY4" fmla="*/ 0 h 10000"/>
                <a:gd name="connsiteX5" fmla="*/ 0 w 10000"/>
                <a:gd name="connsiteY5" fmla="*/ 0 h 10000"/>
                <a:gd name="connsiteX0" fmla="*/ 0 w 10000"/>
                <a:gd name="connsiteY0" fmla="*/ 98 h 10098"/>
                <a:gd name="connsiteX1" fmla="*/ 0 w 10000"/>
                <a:gd name="connsiteY1" fmla="*/ 10098 h 10098"/>
                <a:gd name="connsiteX2" fmla="*/ 10000 w 10000"/>
                <a:gd name="connsiteY2" fmla="*/ 10098 h 10098"/>
                <a:gd name="connsiteX3" fmla="*/ 8937 w 10000"/>
                <a:gd name="connsiteY3" fmla="*/ 0 h 10098"/>
                <a:gd name="connsiteX4" fmla="*/ 0 w 10000"/>
                <a:gd name="connsiteY4" fmla="*/ 98 h 10098"/>
                <a:gd name="connsiteX5" fmla="*/ 0 w 10000"/>
                <a:gd name="connsiteY5" fmla="*/ 98 h 10098"/>
                <a:gd name="connsiteX0" fmla="*/ 0 w 10000"/>
                <a:gd name="connsiteY0" fmla="*/ 98 h 10098"/>
                <a:gd name="connsiteX1" fmla="*/ 0 w 10000"/>
                <a:gd name="connsiteY1" fmla="*/ 10098 h 10098"/>
                <a:gd name="connsiteX2" fmla="*/ 10000 w 10000"/>
                <a:gd name="connsiteY2" fmla="*/ 10098 h 10098"/>
                <a:gd name="connsiteX3" fmla="*/ 8980 w 10000"/>
                <a:gd name="connsiteY3" fmla="*/ 0 h 10098"/>
                <a:gd name="connsiteX4" fmla="*/ 0 w 10000"/>
                <a:gd name="connsiteY4" fmla="*/ 98 h 10098"/>
                <a:gd name="connsiteX5" fmla="*/ 0 w 10000"/>
                <a:gd name="connsiteY5" fmla="*/ 98 h 10098"/>
                <a:gd name="connsiteX0" fmla="*/ 0 w 10000"/>
                <a:gd name="connsiteY0" fmla="*/ 0 h 10000"/>
                <a:gd name="connsiteX1" fmla="*/ 0 w 10000"/>
                <a:gd name="connsiteY1" fmla="*/ 10000 h 10000"/>
                <a:gd name="connsiteX2" fmla="*/ 10000 w 10000"/>
                <a:gd name="connsiteY2" fmla="*/ 10000 h 10000"/>
                <a:gd name="connsiteX3" fmla="*/ 9001 w 10000"/>
                <a:gd name="connsiteY3" fmla="*/ 27 h 10000"/>
                <a:gd name="connsiteX4" fmla="*/ 0 w 10000"/>
                <a:gd name="connsiteY4" fmla="*/ 0 h 10000"/>
                <a:gd name="connsiteX5" fmla="*/ 0 w 1000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0"/>
                  </a:moveTo>
                  <a:lnTo>
                    <a:pt x="0" y="10000"/>
                  </a:lnTo>
                  <a:lnTo>
                    <a:pt x="10000" y="10000"/>
                  </a:lnTo>
                  <a:lnTo>
                    <a:pt x="9001" y="27"/>
                  </a:lnTo>
                  <a:lnTo>
                    <a:pt x="0" y="0"/>
                  </a:lnTo>
                  <a:lnTo>
                    <a:pt x="0" y="0"/>
                  </a:lnTo>
                  <a:close/>
                </a:path>
              </a:pathLst>
            </a:custGeom>
            <a:ln>
              <a:noFill/>
              <a:headEnd/>
              <a:tailEnd/>
            </a:ln>
          </p:spPr>
          <p:style>
            <a:lnRef idx="1">
              <a:schemeClr val="accent1"/>
            </a:lnRef>
            <a:fillRef idx="2">
              <a:schemeClr val="accent1"/>
            </a:fillRef>
            <a:effectRef idx="1">
              <a:schemeClr val="accent1"/>
            </a:effectRef>
            <a:fontRef idx="minor">
              <a:schemeClr val="dk1"/>
            </a:fontRef>
          </p:style>
          <p:txBody>
            <a:bodyPr vert="horz" wrap="square" lIns="91440" tIns="45720" rIns="91440" bIns="45720" numCol="1" anchor="t" anchorCtr="0" compatLnSpc="1">
              <a:prstTxWarp prst="textNoShape">
                <a:avLst/>
              </a:prstTxWarp>
            </a:bodyPr>
            <a:lstStyle/>
            <a:p>
              <a:endParaRPr lang="en-GB" dirty="0"/>
            </a:p>
          </p:txBody>
        </p:sp>
        <p:sp>
          <p:nvSpPr>
            <p:cNvPr id="129" name="Freeform 186"/>
            <p:cNvSpPr>
              <a:spLocks/>
            </p:cNvSpPr>
            <p:nvPr/>
          </p:nvSpPr>
          <p:spPr bwMode="auto">
            <a:xfrm rot="10800000">
              <a:off x="7179234" y="4667051"/>
              <a:ext cx="2408742" cy="1418646"/>
            </a:xfrm>
            <a:custGeom>
              <a:avLst/>
              <a:gdLst>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7730 w 10000"/>
                <a:gd name="connsiteY4" fmla="*/ 500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03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29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363 w 10000"/>
                <a:gd name="connsiteY4" fmla="*/ 515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9 w 10000"/>
                <a:gd name="connsiteY4" fmla="*/ 509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291 w 10000"/>
                <a:gd name="connsiteY4" fmla="*/ 491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7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75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0 w 10000"/>
                <a:gd name="connsiteY4" fmla="*/ 486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48 w 10000"/>
                <a:gd name="connsiteY4" fmla="*/ 515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6 w 10000"/>
                <a:gd name="connsiteY4" fmla="*/ 4920 h 10000"/>
                <a:gd name="connsiteX5" fmla="*/ 10000 w 10000"/>
                <a:gd name="connsiteY5" fmla="*/ 0 h 10000"/>
                <a:gd name="connsiteX6" fmla="*/ 0 w 10000"/>
                <a:gd name="connsiteY6" fmla="*/ 0 h 10000"/>
                <a:gd name="connsiteX7" fmla="*/ 0 w 10000"/>
                <a:gd name="connsiteY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000">
                  <a:moveTo>
                    <a:pt x="0" y="0"/>
                  </a:moveTo>
                  <a:lnTo>
                    <a:pt x="0" y="10000"/>
                  </a:lnTo>
                  <a:lnTo>
                    <a:pt x="10000" y="10000"/>
                  </a:lnTo>
                  <a:lnTo>
                    <a:pt x="10000" y="10000"/>
                  </a:lnTo>
                  <a:lnTo>
                    <a:pt x="8416" y="4920"/>
                  </a:lnTo>
                  <a:lnTo>
                    <a:pt x="10000" y="0"/>
                  </a:lnTo>
                  <a:lnTo>
                    <a:pt x="0" y="0"/>
                  </a:lnTo>
                  <a:lnTo>
                    <a:pt x="0" y="0"/>
                  </a:lnTo>
                  <a:close/>
                </a:path>
              </a:pathLst>
            </a:custGeom>
            <a:ln>
              <a:noFill/>
              <a:headEnd/>
              <a:tailEnd/>
            </a:ln>
          </p:spPr>
          <p:style>
            <a:lnRef idx="1">
              <a:schemeClr val="accent4"/>
            </a:lnRef>
            <a:fillRef idx="2">
              <a:schemeClr val="accent4"/>
            </a:fillRef>
            <a:effectRef idx="1">
              <a:schemeClr val="accent4"/>
            </a:effectRef>
            <a:fontRef idx="minor">
              <a:schemeClr val="dk1"/>
            </a:fontRef>
          </p:style>
          <p:txBody>
            <a:bodyPr vert="horz" wrap="square" lIns="91440" tIns="45720" rIns="91440" bIns="45720" numCol="1" anchor="t" anchorCtr="0" compatLnSpc="1">
              <a:prstTxWarp prst="textNoShape">
                <a:avLst/>
              </a:prstTxWarp>
            </a:bodyPr>
            <a:lstStyle/>
            <a:p>
              <a:endParaRPr lang="en-GB" dirty="0"/>
            </a:p>
          </p:txBody>
        </p:sp>
        <p:sp>
          <p:nvSpPr>
            <p:cNvPr id="131" name="Freeform 28"/>
            <p:cNvSpPr>
              <a:spLocks/>
            </p:cNvSpPr>
            <p:nvPr/>
          </p:nvSpPr>
          <p:spPr bwMode="auto">
            <a:xfrm>
              <a:off x="4023390" y="2077537"/>
              <a:ext cx="1950989" cy="1614551"/>
            </a:xfrm>
            <a:custGeom>
              <a:avLst/>
              <a:gdLst/>
              <a:ahLst/>
              <a:cxnLst>
                <a:cxn ang="0">
                  <a:pos x="545" y="0"/>
                </a:cxn>
                <a:cxn ang="0">
                  <a:pos x="181" y="0"/>
                </a:cxn>
                <a:cxn ang="0">
                  <a:pos x="0" y="313"/>
                </a:cxn>
                <a:cxn ang="0">
                  <a:pos x="181" y="626"/>
                </a:cxn>
                <a:cxn ang="0">
                  <a:pos x="545" y="626"/>
                </a:cxn>
                <a:cxn ang="0">
                  <a:pos x="726" y="313"/>
                </a:cxn>
                <a:cxn ang="0">
                  <a:pos x="545" y="0"/>
                </a:cxn>
                <a:cxn ang="0">
                  <a:pos x="545" y="0"/>
                </a:cxn>
              </a:cxnLst>
              <a:rect l="0" t="0" r="r" b="b"/>
              <a:pathLst>
                <a:path w="726" h="626">
                  <a:moveTo>
                    <a:pt x="545" y="0"/>
                  </a:moveTo>
                  <a:lnTo>
                    <a:pt x="181" y="0"/>
                  </a:lnTo>
                  <a:lnTo>
                    <a:pt x="0" y="313"/>
                  </a:lnTo>
                  <a:lnTo>
                    <a:pt x="181" y="626"/>
                  </a:lnTo>
                  <a:lnTo>
                    <a:pt x="545" y="626"/>
                  </a:lnTo>
                  <a:lnTo>
                    <a:pt x="726" y="313"/>
                  </a:lnTo>
                  <a:lnTo>
                    <a:pt x="545" y="0"/>
                  </a:lnTo>
                  <a:lnTo>
                    <a:pt x="545" y="0"/>
                  </a:lnTo>
                  <a:close/>
                </a:path>
              </a:pathLst>
            </a:custGeom>
            <a:ln>
              <a:headEnd/>
              <a:tailEnd/>
            </a:ln>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en-GB" dirty="0"/>
            </a:p>
          </p:txBody>
        </p:sp>
        <p:sp>
          <p:nvSpPr>
            <p:cNvPr id="132" name="Freeform 156"/>
            <p:cNvSpPr>
              <a:spLocks/>
            </p:cNvSpPr>
            <p:nvPr/>
          </p:nvSpPr>
          <p:spPr bwMode="auto">
            <a:xfrm flipH="1">
              <a:off x="5604697" y="6298310"/>
              <a:ext cx="3992705" cy="680047"/>
            </a:xfrm>
            <a:custGeom>
              <a:avLst/>
              <a:gdLst>
                <a:gd name="connsiteX0" fmla="*/ 0 w 10000"/>
                <a:gd name="connsiteY0" fmla="*/ 0 h 10000"/>
                <a:gd name="connsiteX1" fmla="*/ 0 w 10000"/>
                <a:gd name="connsiteY1" fmla="*/ 10000 h 10000"/>
                <a:gd name="connsiteX2" fmla="*/ 10000 w 10000"/>
                <a:gd name="connsiteY2" fmla="*/ 10000 h 10000"/>
                <a:gd name="connsiteX3" fmla="*/ 8704 w 10000"/>
                <a:gd name="connsiteY3" fmla="*/ 26 h 10000"/>
                <a:gd name="connsiteX4" fmla="*/ 0 w 10000"/>
                <a:gd name="connsiteY4" fmla="*/ 0 h 10000"/>
                <a:gd name="connsiteX5" fmla="*/ 0 w 10000"/>
                <a:gd name="connsiteY5" fmla="*/ 0 h 10000"/>
                <a:gd name="connsiteX0" fmla="*/ 0 w 10000"/>
                <a:gd name="connsiteY0" fmla="*/ 0 h 10000"/>
                <a:gd name="connsiteX1" fmla="*/ 0 w 10000"/>
                <a:gd name="connsiteY1" fmla="*/ 10000 h 10000"/>
                <a:gd name="connsiteX2" fmla="*/ 10000 w 10000"/>
                <a:gd name="connsiteY2" fmla="*/ 10000 h 10000"/>
                <a:gd name="connsiteX3" fmla="*/ 8916 w 10000"/>
                <a:gd name="connsiteY3" fmla="*/ 151 h 10000"/>
                <a:gd name="connsiteX4" fmla="*/ 0 w 10000"/>
                <a:gd name="connsiteY4" fmla="*/ 0 h 10000"/>
                <a:gd name="connsiteX5" fmla="*/ 0 w 10000"/>
                <a:gd name="connsiteY5" fmla="*/ 0 h 10000"/>
                <a:gd name="connsiteX0" fmla="*/ 0 w 10000"/>
                <a:gd name="connsiteY0" fmla="*/ 98 h 10098"/>
                <a:gd name="connsiteX1" fmla="*/ 0 w 10000"/>
                <a:gd name="connsiteY1" fmla="*/ 10098 h 10098"/>
                <a:gd name="connsiteX2" fmla="*/ 10000 w 10000"/>
                <a:gd name="connsiteY2" fmla="*/ 10098 h 10098"/>
                <a:gd name="connsiteX3" fmla="*/ 8937 w 10000"/>
                <a:gd name="connsiteY3" fmla="*/ 0 h 10098"/>
                <a:gd name="connsiteX4" fmla="*/ 0 w 10000"/>
                <a:gd name="connsiteY4" fmla="*/ 98 h 10098"/>
                <a:gd name="connsiteX5" fmla="*/ 0 w 10000"/>
                <a:gd name="connsiteY5" fmla="*/ 98 h 10098"/>
                <a:gd name="connsiteX0" fmla="*/ 0 w 10000"/>
                <a:gd name="connsiteY0" fmla="*/ 98 h 10098"/>
                <a:gd name="connsiteX1" fmla="*/ 0 w 10000"/>
                <a:gd name="connsiteY1" fmla="*/ 10098 h 10098"/>
                <a:gd name="connsiteX2" fmla="*/ 10000 w 10000"/>
                <a:gd name="connsiteY2" fmla="*/ 10098 h 10098"/>
                <a:gd name="connsiteX3" fmla="*/ 8980 w 10000"/>
                <a:gd name="connsiteY3" fmla="*/ 0 h 10098"/>
                <a:gd name="connsiteX4" fmla="*/ 0 w 10000"/>
                <a:gd name="connsiteY4" fmla="*/ 98 h 10098"/>
                <a:gd name="connsiteX5" fmla="*/ 0 w 10000"/>
                <a:gd name="connsiteY5" fmla="*/ 98 h 10098"/>
                <a:gd name="connsiteX0" fmla="*/ 0 w 10000"/>
                <a:gd name="connsiteY0" fmla="*/ 0 h 10000"/>
                <a:gd name="connsiteX1" fmla="*/ 0 w 10000"/>
                <a:gd name="connsiteY1" fmla="*/ 10000 h 10000"/>
                <a:gd name="connsiteX2" fmla="*/ 10000 w 10000"/>
                <a:gd name="connsiteY2" fmla="*/ 10000 h 10000"/>
                <a:gd name="connsiteX3" fmla="*/ 9001 w 10000"/>
                <a:gd name="connsiteY3" fmla="*/ 27 h 10000"/>
                <a:gd name="connsiteX4" fmla="*/ 0 w 10000"/>
                <a:gd name="connsiteY4" fmla="*/ 0 h 10000"/>
                <a:gd name="connsiteX5" fmla="*/ 0 w 10000"/>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00">
                  <a:moveTo>
                    <a:pt x="0" y="0"/>
                  </a:moveTo>
                  <a:lnTo>
                    <a:pt x="0" y="10000"/>
                  </a:lnTo>
                  <a:lnTo>
                    <a:pt x="10000" y="10000"/>
                  </a:lnTo>
                  <a:lnTo>
                    <a:pt x="9001" y="27"/>
                  </a:lnTo>
                  <a:lnTo>
                    <a:pt x="0" y="0"/>
                  </a:lnTo>
                  <a:lnTo>
                    <a:pt x="0" y="0"/>
                  </a:lnTo>
                  <a:close/>
                </a:path>
              </a:pathLst>
            </a:custGeom>
            <a:ln>
              <a:noFill/>
              <a:headEnd/>
              <a:tailEnd/>
            </a:ln>
          </p:spPr>
          <p:style>
            <a:lnRef idx="1">
              <a:schemeClr val="accent4"/>
            </a:lnRef>
            <a:fillRef idx="2">
              <a:schemeClr val="accent4"/>
            </a:fillRef>
            <a:effectRef idx="1">
              <a:schemeClr val="accent4"/>
            </a:effectRef>
            <a:fontRef idx="minor">
              <a:schemeClr val="dk1"/>
            </a:fontRef>
          </p:style>
          <p:txBody>
            <a:bodyPr vert="horz" wrap="square" lIns="91440" tIns="45720" rIns="91440" bIns="45720" numCol="1" anchor="t" anchorCtr="0" compatLnSpc="1">
              <a:prstTxWarp prst="textNoShape">
                <a:avLst/>
              </a:prstTxWarp>
            </a:bodyPr>
            <a:lstStyle/>
            <a:p>
              <a:endParaRPr lang="en-GB" dirty="0"/>
            </a:p>
          </p:txBody>
        </p:sp>
        <p:sp>
          <p:nvSpPr>
            <p:cNvPr id="133" name="Freeform 186"/>
            <p:cNvSpPr>
              <a:spLocks/>
            </p:cNvSpPr>
            <p:nvPr/>
          </p:nvSpPr>
          <p:spPr bwMode="auto">
            <a:xfrm>
              <a:off x="530351" y="3024477"/>
              <a:ext cx="2295509" cy="1418646"/>
            </a:xfrm>
            <a:custGeom>
              <a:avLst/>
              <a:gdLst>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7730 w 10000"/>
                <a:gd name="connsiteY4" fmla="*/ 500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03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29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363 w 10000"/>
                <a:gd name="connsiteY4" fmla="*/ 515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9 w 10000"/>
                <a:gd name="connsiteY4" fmla="*/ 509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291 w 10000"/>
                <a:gd name="connsiteY4" fmla="*/ 491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7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75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0 w 10000"/>
                <a:gd name="connsiteY4" fmla="*/ 486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48 w 10000"/>
                <a:gd name="connsiteY4" fmla="*/ 515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6 w 10000"/>
                <a:gd name="connsiteY4" fmla="*/ 4920 h 10000"/>
                <a:gd name="connsiteX5" fmla="*/ 10000 w 10000"/>
                <a:gd name="connsiteY5" fmla="*/ 0 h 10000"/>
                <a:gd name="connsiteX6" fmla="*/ 0 w 10000"/>
                <a:gd name="connsiteY6" fmla="*/ 0 h 10000"/>
                <a:gd name="connsiteX7" fmla="*/ 0 w 10000"/>
                <a:gd name="connsiteY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000">
                  <a:moveTo>
                    <a:pt x="0" y="0"/>
                  </a:moveTo>
                  <a:lnTo>
                    <a:pt x="0" y="10000"/>
                  </a:lnTo>
                  <a:lnTo>
                    <a:pt x="10000" y="10000"/>
                  </a:lnTo>
                  <a:lnTo>
                    <a:pt x="10000" y="10000"/>
                  </a:lnTo>
                  <a:lnTo>
                    <a:pt x="8416" y="4920"/>
                  </a:lnTo>
                  <a:lnTo>
                    <a:pt x="10000" y="0"/>
                  </a:lnTo>
                  <a:lnTo>
                    <a:pt x="0" y="0"/>
                  </a:lnTo>
                  <a:lnTo>
                    <a:pt x="0" y="0"/>
                  </a:lnTo>
                  <a:close/>
                </a:path>
              </a:pathLst>
            </a:custGeom>
            <a:ln>
              <a:noFill/>
              <a:headEnd/>
              <a:tailEnd/>
            </a:ln>
          </p:spPr>
          <p:style>
            <a:lnRef idx="1">
              <a:schemeClr val="accent2"/>
            </a:lnRef>
            <a:fillRef idx="2">
              <a:schemeClr val="accent2"/>
            </a:fillRef>
            <a:effectRef idx="1">
              <a:schemeClr val="accent2"/>
            </a:effectRef>
            <a:fontRef idx="minor">
              <a:schemeClr val="dk1"/>
            </a:fontRef>
          </p:style>
          <p:txBody>
            <a:bodyPr vert="horz" wrap="square" lIns="91440" tIns="45720" rIns="91440" bIns="45720" numCol="1" anchor="t" anchorCtr="0" compatLnSpc="1">
              <a:prstTxWarp prst="textNoShape">
                <a:avLst/>
              </a:prstTxWarp>
            </a:bodyPr>
            <a:lstStyle/>
            <a:p>
              <a:endParaRPr lang="en-GB" dirty="0"/>
            </a:p>
          </p:txBody>
        </p:sp>
        <p:sp>
          <p:nvSpPr>
            <p:cNvPr id="134" name="Text Box 17"/>
            <p:cNvSpPr txBox="1">
              <a:spLocks noChangeArrowheads="1"/>
            </p:cNvSpPr>
            <p:nvPr/>
          </p:nvSpPr>
          <p:spPr bwMode="blackWhite">
            <a:xfrm>
              <a:off x="4196068" y="2481862"/>
              <a:ext cx="1632955" cy="923330"/>
            </a:xfrm>
            <a:prstGeom prst="rect">
              <a:avLst/>
            </a:prstGeom>
            <a:noFill/>
            <a:ln w="9525" algn="ctr">
              <a:noFill/>
              <a:miter lim="800000"/>
              <a:headEnd/>
              <a:tailEnd/>
            </a:ln>
          </p:spPr>
          <p:txBody>
            <a:bodyPr wrap="square" lIns="0" tIns="0" rIns="0" bIns="0">
              <a:spAutoFit/>
            </a:bodyPr>
            <a:lstStyle/>
            <a:p>
              <a:pPr algn="ctr"/>
              <a:r>
                <a:rPr lang="en-GB" altLang="zh-CN" sz="1200" b="1" dirty="0" smtClean="0">
                  <a:solidFill>
                    <a:schemeClr val="bg1"/>
                  </a:solidFill>
                  <a:latin typeface="+mj-lt"/>
                  <a:ea typeface="宋体" panose="02010600030101010101" pitchFamily="2" charset="-122"/>
                </a:rPr>
                <a:t>Corporate Income Tax </a:t>
              </a:r>
              <a:r>
                <a:rPr lang="en-GB" altLang="zh-CN" sz="1200" b="1" dirty="0" smtClean="0">
                  <a:solidFill>
                    <a:schemeClr val="bg1"/>
                  </a:solidFill>
                  <a:latin typeface="+mj-lt"/>
                  <a:ea typeface="宋体" panose="02010600030101010101" pitchFamily="2" charset="-122"/>
                </a:rPr>
                <a:t>(CIT) </a:t>
              </a:r>
              <a:r>
                <a:rPr lang="en-GB" altLang="zh-CN" sz="1200" b="1" dirty="0" smtClean="0">
                  <a:solidFill>
                    <a:schemeClr val="bg1"/>
                  </a:solidFill>
                  <a:latin typeface="+mj-lt"/>
                  <a:ea typeface="宋体" panose="02010600030101010101" pitchFamily="2" charset="-122"/>
                </a:rPr>
                <a:t>law and its implementation rules</a:t>
              </a:r>
            </a:p>
            <a:p>
              <a:pPr algn="ctr"/>
              <a:r>
                <a:rPr lang="zh-CN" altLang="en-GB" sz="1200" b="1" dirty="0" smtClean="0">
                  <a:solidFill>
                    <a:schemeClr val="bg1"/>
                  </a:solidFill>
                  <a:latin typeface="+mj-lt"/>
                  <a:ea typeface="宋体" panose="02010600030101010101" pitchFamily="2" charset="-122"/>
                </a:rPr>
                <a:t>（</a:t>
              </a:r>
              <a:r>
                <a:rPr lang="en-GB" altLang="zh-CN" sz="1200" b="1" dirty="0" smtClean="0">
                  <a:solidFill>
                    <a:schemeClr val="bg1"/>
                  </a:solidFill>
                  <a:latin typeface="+mj-lt"/>
                  <a:ea typeface="宋体" panose="02010600030101010101" pitchFamily="2" charset="-122"/>
                </a:rPr>
                <a:t>2008</a:t>
              </a:r>
              <a:r>
                <a:rPr lang="zh-CN" altLang="en-GB" sz="1200" b="1" dirty="0" smtClean="0">
                  <a:solidFill>
                    <a:schemeClr val="bg1"/>
                  </a:solidFill>
                  <a:latin typeface="+mj-lt"/>
                  <a:ea typeface="宋体" panose="02010600030101010101" pitchFamily="2" charset="-122"/>
                </a:rPr>
                <a:t>）</a:t>
              </a:r>
              <a:endParaRPr lang="en-GB" altLang="zh-CN" sz="1200" b="1" dirty="0">
                <a:solidFill>
                  <a:schemeClr val="bg1"/>
                </a:solidFill>
                <a:latin typeface="+mj-lt"/>
                <a:ea typeface="宋体" panose="02010600030101010101" pitchFamily="2" charset="-122"/>
              </a:endParaRPr>
            </a:p>
          </p:txBody>
        </p:sp>
        <p:sp>
          <p:nvSpPr>
            <p:cNvPr id="135" name="Text Box 16"/>
            <p:cNvSpPr txBox="1">
              <a:spLocks noChangeArrowheads="1"/>
            </p:cNvSpPr>
            <p:nvPr/>
          </p:nvSpPr>
          <p:spPr bwMode="blackWhite">
            <a:xfrm>
              <a:off x="2692064" y="3150789"/>
              <a:ext cx="1645331" cy="1292662"/>
            </a:xfrm>
            <a:prstGeom prst="rect">
              <a:avLst/>
            </a:prstGeom>
            <a:noFill/>
            <a:ln w="9525" algn="ctr">
              <a:noFill/>
              <a:miter lim="800000"/>
              <a:headEnd/>
              <a:tailEnd/>
            </a:ln>
          </p:spPr>
          <p:txBody>
            <a:bodyPr wrap="square" lIns="0" tIns="0" rIns="0" bIns="0">
              <a:spAutoFit/>
            </a:bodyPr>
            <a:lstStyle/>
            <a:p>
              <a:pPr lvl="0" algn="ctr"/>
              <a:r>
                <a:rPr lang="en-GB" altLang="zh-CN" sz="1200" b="1" dirty="0" smtClean="0">
                  <a:solidFill>
                    <a:schemeClr val="bg1"/>
                  </a:solidFill>
                  <a:latin typeface="+mj-lt"/>
                  <a:ea typeface="宋体" panose="02010600030101010101" pitchFamily="2" charset="-122"/>
                </a:rPr>
                <a:t>Measures for the Implementation of Special Tax Adjustments (trial) </a:t>
              </a:r>
            </a:p>
            <a:p>
              <a:pPr lvl="0" algn="ctr"/>
              <a:r>
                <a:rPr lang="en-GB" altLang="zh-CN" sz="1200" b="1" dirty="0" smtClean="0">
                  <a:solidFill>
                    <a:schemeClr val="bg1"/>
                  </a:solidFill>
                  <a:latin typeface="+mj-lt"/>
                  <a:ea typeface="宋体" panose="02010600030101010101" pitchFamily="2" charset="-122"/>
                </a:rPr>
                <a:t>(</a:t>
              </a:r>
              <a:r>
                <a:rPr lang="en-GB" altLang="zh-CN" sz="1200" b="1" dirty="0" err="1" smtClean="0">
                  <a:solidFill>
                    <a:schemeClr val="bg1"/>
                  </a:solidFill>
                  <a:latin typeface="+mj-lt"/>
                  <a:ea typeface="宋体" panose="02010600030101010101" pitchFamily="2" charset="-122"/>
                </a:rPr>
                <a:t>Guoshuifa</a:t>
              </a:r>
              <a:r>
                <a:rPr lang="en-GB" altLang="zh-CN" sz="1200" b="1" dirty="0" smtClean="0">
                  <a:solidFill>
                    <a:schemeClr val="bg1"/>
                  </a:solidFill>
                  <a:latin typeface="+mj-lt"/>
                  <a:ea typeface="宋体" panose="02010600030101010101" pitchFamily="2" charset="-122"/>
                </a:rPr>
                <a:t>[2009] </a:t>
              </a:r>
              <a:r>
                <a:rPr lang="en-GB" altLang="zh-CN" sz="1200" b="1" dirty="0" smtClean="0">
                  <a:solidFill>
                    <a:schemeClr val="bg1"/>
                  </a:solidFill>
                  <a:latin typeface="+mj-lt"/>
                  <a:ea typeface="宋体" panose="02010600030101010101" pitchFamily="2" charset="-122"/>
                </a:rPr>
                <a:t>No.2 </a:t>
              </a:r>
              <a:endParaRPr lang="en-GB" altLang="zh-CN" sz="1200" b="1" dirty="0" smtClean="0">
                <a:solidFill>
                  <a:schemeClr val="bg1"/>
                </a:solidFill>
                <a:latin typeface="+mj-lt"/>
                <a:ea typeface="宋体" panose="02010600030101010101" pitchFamily="2" charset="-122"/>
              </a:endParaRPr>
            </a:p>
            <a:p>
              <a:pPr lvl="0" algn="ctr"/>
              <a:r>
                <a:rPr lang="zh-CN" altLang="en-US" sz="1200" b="1" dirty="0" smtClean="0">
                  <a:solidFill>
                    <a:schemeClr val="bg1"/>
                  </a:solidFill>
                  <a:latin typeface="+mj-lt"/>
                  <a:ea typeface="宋体" panose="02010600030101010101" pitchFamily="2" charset="-122"/>
                </a:rPr>
                <a:t>（</a:t>
              </a:r>
              <a:r>
                <a:rPr lang="en-GB" altLang="zh-CN" sz="1200" b="1" dirty="0" smtClean="0">
                  <a:solidFill>
                    <a:schemeClr val="bg1"/>
                  </a:solidFill>
                  <a:latin typeface="+mj-lt"/>
                  <a:ea typeface="宋体" panose="02010600030101010101" pitchFamily="2" charset="-122"/>
                </a:rPr>
                <a:t>Circular No.2</a:t>
              </a:r>
              <a:r>
                <a:rPr lang="en-GB" altLang="zh-CN" sz="1200" b="1" dirty="0" smtClean="0">
                  <a:solidFill>
                    <a:schemeClr val="bg1"/>
                  </a:solidFill>
                  <a:latin typeface="宋体" panose="02010600030101010101" pitchFamily="2" charset="-122"/>
                  <a:ea typeface="宋体" panose="02010600030101010101" pitchFamily="2" charset="-122"/>
                </a:rPr>
                <a:t>)</a:t>
              </a:r>
              <a:endParaRPr lang="en-GB" altLang="zh-CN" sz="1200" b="1" dirty="0">
                <a:solidFill>
                  <a:schemeClr val="bg1"/>
                </a:solidFill>
                <a:latin typeface="宋体" panose="02010600030101010101" pitchFamily="2" charset="-122"/>
                <a:ea typeface="宋体" panose="02010600030101010101" pitchFamily="2" charset="-122"/>
              </a:endParaRPr>
            </a:p>
          </p:txBody>
        </p:sp>
        <p:sp>
          <p:nvSpPr>
            <p:cNvPr id="136" name="Text Box 21"/>
            <p:cNvSpPr txBox="1">
              <a:spLocks noChangeArrowheads="1"/>
            </p:cNvSpPr>
            <p:nvPr/>
          </p:nvSpPr>
          <p:spPr bwMode="blackWhite">
            <a:xfrm>
              <a:off x="2762146" y="4853154"/>
              <a:ext cx="1450541" cy="1107996"/>
            </a:xfrm>
            <a:prstGeom prst="rect">
              <a:avLst/>
            </a:prstGeom>
            <a:noFill/>
            <a:ln w="9525" algn="ctr">
              <a:noFill/>
              <a:miter lim="800000"/>
              <a:headEnd/>
              <a:tailEnd/>
            </a:ln>
          </p:spPr>
          <p:txBody>
            <a:bodyPr wrap="square" lIns="0" tIns="0" rIns="0" bIns="0">
              <a:spAutoFit/>
            </a:bodyPr>
            <a:lstStyle/>
            <a:p>
              <a:pPr algn="ctr"/>
              <a:r>
                <a:rPr lang="en-GB" altLang="zh-CN" sz="1200" b="1" dirty="0" smtClean="0">
                  <a:solidFill>
                    <a:schemeClr val="bg1"/>
                  </a:solidFill>
                  <a:latin typeface="+mj-lt"/>
                  <a:ea typeface="宋体" panose="02010600030101010101" pitchFamily="2" charset="-122"/>
                </a:rPr>
                <a:t>Administrative Measures on GAAR (trial) </a:t>
              </a:r>
            </a:p>
            <a:p>
              <a:pPr algn="ctr"/>
              <a:r>
                <a:rPr lang="en-GB" altLang="zh-CN" sz="1200" b="1" dirty="0" smtClean="0">
                  <a:solidFill>
                    <a:schemeClr val="bg1"/>
                  </a:solidFill>
                  <a:latin typeface="+mj-lt"/>
                  <a:ea typeface="宋体" panose="02010600030101010101" pitchFamily="2" charset="-122"/>
                </a:rPr>
                <a:t>(Order </a:t>
              </a:r>
              <a:r>
                <a:rPr lang="en-GB" altLang="zh-CN" sz="1200" b="1" dirty="0" smtClean="0">
                  <a:solidFill>
                    <a:schemeClr val="bg1"/>
                  </a:solidFill>
                  <a:latin typeface="+mj-lt"/>
                  <a:ea typeface="宋体" panose="02010600030101010101" pitchFamily="2" charset="-122"/>
                </a:rPr>
                <a:t>[2014] </a:t>
              </a:r>
              <a:r>
                <a:rPr lang="en-GB" altLang="zh-CN" sz="1200" b="1" dirty="0" smtClean="0">
                  <a:solidFill>
                    <a:schemeClr val="bg1"/>
                  </a:solidFill>
                  <a:latin typeface="+mj-lt"/>
                  <a:ea typeface="宋体" panose="02010600030101010101" pitchFamily="2" charset="-122"/>
                </a:rPr>
                <a:t>No.32</a:t>
              </a:r>
              <a:r>
                <a:rPr lang="zh-CN" altLang="en-US" sz="1200" b="1" dirty="0" smtClean="0">
                  <a:solidFill>
                    <a:schemeClr val="bg1"/>
                  </a:solidFill>
                  <a:latin typeface="+mj-lt"/>
                  <a:ea typeface="宋体" panose="02010600030101010101" pitchFamily="2" charset="-122"/>
                </a:rPr>
                <a:t>）（</a:t>
              </a:r>
              <a:r>
                <a:rPr lang="en-GB" altLang="zh-CN" sz="1200" b="1" dirty="0" smtClean="0">
                  <a:solidFill>
                    <a:schemeClr val="bg1"/>
                  </a:solidFill>
                  <a:latin typeface="+mj-lt"/>
                  <a:ea typeface="宋体" panose="02010600030101010101" pitchFamily="2" charset="-122"/>
                </a:rPr>
                <a:t>the GAAR Measures)</a:t>
              </a:r>
              <a:endParaRPr lang="en-GB" altLang="zh-CN" sz="1200" b="1" dirty="0">
                <a:solidFill>
                  <a:schemeClr val="bg1"/>
                </a:solidFill>
                <a:latin typeface="+mj-lt"/>
                <a:ea typeface="宋体" panose="02010600030101010101" pitchFamily="2" charset="-122"/>
              </a:endParaRPr>
            </a:p>
          </p:txBody>
        </p:sp>
        <p:sp>
          <p:nvSpPr>
            <p:cNvPr id="137" name="Rectangle 6"/>
            <p:cNvSpPr>
              <a:spLocks noChangeArrowheads="1"/>
            </p:cNvSpPr>
            <p:nvPr/>
          </p:nvSpPr>
          <p:spPr bwMode="blackWhite">
            <a:xfrm>
              <a:off x="570544" y="3142023"/>
              <a:ext cx="1936888" cy="346170"/>
            </a:xfrm>
            <a:prstGeom prst="rect">
              <a:avLst/>
            </a:prstGeom>
            <a:noFill/>
            <a:ln w="9525" algn="ctr">
              <a:noFill/>
              <a:miter lim="800000"/>
              <a:headEnd/>
              <a:tailEnd/>
            </a:ln>
          </p:spPr>
          <p:txBody>
            <a:bodyPr wrap="square" lIns="0" tIns="0" rIns="0" bIns="0">
              <a:noAutofit/>
            </a:bodyPr>
            <a:lstStyle/>
            <a:p>
              <a:pPr marL="171450" indent="-171450">
                <a:buFont typeface="Arial" panose="020B0604020202020204" pitchFamily="34" charset="0"/>
                <a:buChar char="•"/>
              </a:pPr>
              <a:r>
                <a:rPr lang="en-GB" altLang="zh-CN" sz="1200" dirty="0" smtClean="0">
                  <a:solidFill>
                    <a:srgbClr val="000000"/>
                  </a:solidFill>
                  <a:latin typeface="+mj-lt"/>
                  <a:ea typeface="宋体" panose="02010600030101010101" pitchFamily="2" charset="-122"/>
                </a:rPr>
                <a:t>Clarify the </a:t>
              </a:r>
              <a:r>
                <a:rPr lang="en-GB" altLang="zh-CN" sz="1200" b="1" dirty="0" smtClean="0">
                  <a:solidFill>
                    <a:srgbClr val="000000"/>
                  </a:solidFill>
                  <a:latin typeface="+mj-lt"/>
                  <a:ea typeface="宋体" panose="02010600030101010101" pitchFamily="2" charset="-122"/>
                </a:rPr>
                <a:t>scope</a:t>
              </a:r>
              <a:r>
                <a:rPr lang="en-GB" altLang="zh-CN" sz="1200" dirty="0" smtClean="0">
                  <a:solidFill>
                    <a:srgbClr val="000000"/>
                  </a:solidFill>
                  <a:latin typeface="+mj-lt"/>
                  <a:ea typeface="宋体" panose="02010600030101010101" pitchFamily="2" charset="-122"/>
                </a:rPr>
                <a:t> of tax avoidance</a:t>
              </a:r>
            </a:p>
            <a:p>
              <a:endParaRPr lang="en-GB" altLang="zh-CN" sz="1200" dirty="0" smtClean="0">
                <a:solidFill>
                  <a:srgbClr val="000000"/>
                </a:solidFill>
                <a:latin typeface="+mj-lt"/>
                <a:ea typeface="宋体" panose="02010600030101010101" pitchFamily="2" charset="-122"/>
              </a:endParaRPr>
            </a:p>
            <a:p>
              <a:pPr marL="171450" indent="-171450">
                <a:buFont typeface="Arial" panose="020B0604020202020204" pitchFamily="34" charset="0"/>
                <a:buChar char="•"/>
              </a:pPr>
              <a:r>
                <a:rPr lang="en-GB" altLang="zh-CN" sz="1200" dirty="0" smtClean="0">
                  <a:solidFill>
                    <a:srgbClr val="000000"/>
                  </a:solidFill>
                  <a:latin typeface="+mj-lt"/>
                  <a:ea typeface="宋体" panose="02010600030101010101" pitchFamily="2" charset="-122"/>
                </a:rPr>
                <a:t>Introduce </a:t>
              </a:r>
              <a:r>
                <a:rPr lang="en-GB" altLang="zh-CN" sz="1200" b="1" dirty="0" smtClean="0">
                  <a:solidFill>
                    <a:srgbClr val="000000"/>
                  </a:solidFill>
                  <a:latin typeface="+mj-lt"/>
                  <a:ea typeface="宋体" panose="02010600030101010101" pitchFamily="2" charset="-122"/>
                </a:rPr>
                <a:t>guidelines</a:t>
              </a:r>
              <a:r>
                <a:rPr lang="en-GB" altLang="zh-CN" sz="1200" dirty="0" smtClean="0">
                  <a:solidFill>
                    <a:srgbClr val="000000"/>
                  </a:solidFill>
                  <a:latin typeface="+mj-lt"/>
                  <a:ea typeface="宋体" panose="02010600030101010101" pitchFamily="2" charset="-122"/>
                </a:rPr>
                <a:t> on the administration of GAAR </a:t>
              </a:r>
              <a:endParaRPr lang="en-GB" altLang="zh-CN" sz="1200" dirty="0">
                <a:solidFill>
                  <a:srgbClr val="000000"/>
                </a:solidFill>
                <a:latin typeface="+mj-lt"/>
                <a:ea typeface="宋体" panose="02010600030101010101" pitchFamily="2" charset="-122"/>
              </a:endParaRPr>
            </a:p>
          </p:txBody>
        </p:sp>
        <p:sp>
          <p:nvSpPr>
            <p:cNvPr id="138" name="Rectangle 6"/>
            <p:cNvSpPr>
              <a:spLocks noChangeArrowheads="1"/>
            </p:cNvSpPr>
            <p:nvPr/>
          </p:nvSpPr>
          <p:spPr bwMode="blackWhite">
            <a:xfrm>
              <a:off x="536235" y="4776690"/>
              <a:ext cx="2283740" cy="572686"/>
            </a:xfrm>
            <a:prstGeom prst="rect">
              <a:avLst/>
            </a:prstGeom>
            <a:noFill/>
            <a:ln w="9525" algn="ctr">
              <a:noFill/>
              <a:miter lim="800000"/>
              <a:headEnd/>
              <a:tailEnd/>
            </a:ln>
          </p:spPr>
          <p:txBody>
            <a:bodyPr wrap="square" lIns="0" tIns="0" rIns="0" bIns="0">
              <a:noAutofit/>
            </a:bodyPr>
            <a:lstStyle/>
            <a:p>
              <a:pPr marL="171450" indent="-171450">
                <a:spcAft>
                  <a:spcPts val="900"/>
                </a:spcAft>
                <a:buFont typeface="Arial" panose="020B0604020202020204" pitchFamily="34" charset="0"/>
                <a:buChar char="•"/>
              </a:pPr>
              <a:r>
                <a:rPr lang="en-GB" altLang="zh-CN" sz="1200" b="1" dirty="0" smtClean="0">
                  <a:solidFill>
                    <a:srgbClr val="000000"/>
                  </a:solidFill>
                  <a:latin typeface="+mj-lt"/>
                  <a:ea typeface="宋体" panose="02010600030101010101" pitchFamily="2" charset="-122"/>
                </a:rPr>
                <a:t>Comprehensive guidance </a:t>
              </a:r>
              <a:r>
                <a:rPr lang="en-GB" altLang="zh-CN" sz="1200" dirty="0" smtClean="0">
                  <a:solidFill>
                    <a:srgbClr val="000000"/>
                  </a:solidFill>
                  <a:latin typeface="+mj-lt"/>
                  <a:ea typeface="宋体" panose="02010600030101010101" pitchFamily="2" charset="-122"/>
                </a:rPr>
                <a:t>on the implementation of GAAR</a:t>
              </a:r>
              <a:endParaRPr lang="en-GB" altLang="zh-CN" sz="1200" dirty="0">
                <a:solidFill>
                  <a:srgbClr val="000000"/>
                </a:solidFill>
                <a:latin typeface="+mj-lt"/>
                <a:ea typeface="宋体" panose="02010600030101010101" pitchFamily="2" charset="-122"/>
              </a:endParaRPr>
            </a:p>
          </p:txBody>
        </p:sp>
        <p:sp>
          <p:nvSpPr>
            <p:cNvPr id="139" name="Text Box 24"/>
            <p:cNvSpPr txBox="1">
              <a:spLocks noChangeArrowheads="1"/>
            </p:cNvSpPr>
            <p:nvPr/>
          </p:nvSpPr>
          <p:spPr bwMode="blackWhite">
            <a:xfrm>
              <a:off x="4179434" y="4148248"/>
              <a:ext cx="1710293" cy="897308"/>
            </a:xfrm>
            <a:prstGeom prst="rect">
              <a:avLst/>
            </a:prstGeom>
            <a:noFill/>
            <a:ln w="9525" algn="ctr">
              <a:noFill/>
              <a:miter lim="800000"/>
              <a:headEnd/>
              <a:tailEnd/>
            </a:ln>
            <a:effectLst>
              <a:outerShdw blurRad="50800" dist="38100" algn="l" rotWithShape="0">
                <a:prstClr val="black">
                  <a:alpha val="40000"/>
                </a:prstClr>
              </a:outerShdw>
            </a:effectLst>
          </p:spPr>
          <p:txBody>
            <a:bodyPr wrap="square" lIns="0" tIns="0" rIns="0" bIns="0" anchor="ctr" anchorCtr="0">
              <a:noAutofit/>
            </a:bodyPr>
            <a:lstStyle/>
            <a:p>
              <a:pPr algn="ctr"/>
              <a:r>
                <a:rPr lang="en-GB" altLang="zh-CN" sz="1800" b="1" dirty="0" smtClean="0">
                  <a:latin typeface="+mj-lt"/>
                </a:rPr>
                <a:t>PRC GAAR System </a:t>
              </a:r>
              <a:endParaRPr lang="en-GB" sz="1800" b="1" dirty="0">
                <a:latin typeface="+mj-lt"/>
              </a:endParaRPr>
            </a:p>
          </p:txBody>
        </p:sp>
        <p:sp>
          <p:nvSpPr>
            <p:cNvPr id="140" name="Rectangle 6"/>
            <p:cNvSpPr>
              <a:spLocks noChangeArrowheads="1"/>
            </p:cNvSpPr>
            <p:nvPr/>
          </p:nvSpPr>
          <p:spPr bwMode="blackWhite">
            <a:xfrm>
              <a:off x="6811931" y="2329417"/>
              <a:ext cx="3143347" cy="325267"/>
            </a:xfrm>
            <a:prstGeom prst="rect">
              <a:avLst/>
            </a:prstGeom>
            <a:noFill/>
            <a:ln w="9525" algn="ctr">
              <a:noFill/>
              <a:miter lim="800000"/>
              <a:headEnd/>
              <a:tailEnd/>
            </a:ln>
          </p:spPr>
          <p:txBody>
            <a:bodyPr wrap="square" lIns="0" tIns="0" rIns="0" bIns="0">
              <a:noAutofit/>
            </a:bodyPr>
            <a:lstStyle/>
            <a:p>
              <a:pPr marL="171450" indent="-171450">
                <a:spcAft>
                  <a:spcPts val="900"/>
                </a:spcAft>
                <a:buFont typeface="Arial" panose="020B0604020202020204" pitchFamily="34" charset="0"/>
                <a:buChar char="•"/>
              </a:pPr>
              <a:r>
                <a:rPr lang="en-GB" altLang="zh-CN" sz="1200" b="1" dirty="0" smtClean="0">
                  <a:solidFill>
                    <a:srgbClr val="000000"/>
                  </a:solidFill>
                  <a:latin typeface="+mj-lt"/>
                  <a:ea typeface="宋体" panose="02010600030101010101" pitchFamily="2" charset="-122"/>
                </a:rPr>
                <a:t>Introduce</a:t>
              </a:r>
              <a:r>
                <a:rPr lang="en-GB" altLang="zh-CN" sz="1200" dirty="0" smtClean="0">
                  <a:solidFill>
                    <a:srgbClr val="000000"/>
                  </a:solidFill>
                  <a:latin typeface="+mj-lt"/>
                  <a:ea typeface="宋体" panose="02010600030101010101" pitchFamily="2" charset="-122"/>
                </a:rPr>
                <a:t> GAAR for the first time </a:t>
              </a:r>
              <a:endParaRPr lang="en-GB" altLang="zh-CN" sz="1200" dirty="0">
                <a:solidFill>
                  <a:srgbClr val="000000"/>
                </a:solidFill>
                <a:latin typeface="+mj-lt"/>
                <a:ea typeface="宋体" panose="02010600030101010101" pitchFamily="2" charset="-122"/>
              </a:endParaRPr>
            </a:p>
          </p:txBody>
        </p:sp>
        <p:sp>
          <p:nvSpPr>
            <p:cNvPr id="142" name="Rectangle 6"/>
            <p:cNvSpPr>
              <a:spLocks noChangeArrowheads="1"/>
            </p:cNvSpPr>
            <p:nvPr/>
          </p:nvSpPr>
          <p:spPr bwMode="blackWhite">
            <a:xfrm>
              <a:off x="7442884" y="4661017"/>
              <a:ext cx="2223864" cy="1300133"/>
            </a:xfrm>
            <a:prstGeom prst="rect">
              <a:avLst/>
            </a:prstGeom>
            <a:noFill/>
            <a:ln w="9525" algn="ctr">
              <a:noFill/>
              <a:miter lim="800000"/>
              <a:headEnd/>
              <a:tailEnd/>
            </a:ln>
          </p:spPr>
          <p:txBody>
            <a:bodyPr wrap="square" lIns="0" tIns="0" rIns="0" bIns="0">
              <a:noAutofit/>
            </a:bodyPr>
            <a:lstStyle/>
            <a:p>
              <a:pPr marL="171450" indent="-171450">
                <a:spcAft>
                  <a:spcPts val="900"/>
                </a:spcAft>
                <a:buFont typeface="Arial" panose="020B0604020202020204" pitchFamily="34" charset="0"/>
                <a:buChar char="•"/>
              </a:pPr>
              <a:r>
                <a:rPr lang="en-GB" altLang="zh-CN" sz="1200" dirty="0" smtClean="0">
                  <a:solidFill>
                    <a:srgbClr val="000000"/>
                  </a:solidFill>
                  <a:latin typeface="+mj-lt"/>
                  <a:ea typeface="宋体" panose="02010600030101010101" pitchFamily="2" charset="-122"/>
                </a:rPr>
                <a:t>Clarify terms for an  indirect equity transfer to fall within tax </a:t>
              </a:r>
              <a:r>
                <a:rPr lang="en-GB" altLang="zh-CN" sz="1200" dirty="0" smtClean="0">
                  <a:solidFill>
                    <a:srgbClr val="000000"/>
                  </a:solidFill>
                  <a:latin typeface="+mj-lt"/>
                  <a:ea typeface="宋体" panose="02010600030101010101" pitchFamily="2" charset="-122"/>
                </a:rPr>
                <a:t>avoidance</a:t>
              </a:r>
              <a:endParaRPr lang="en-GB" altLang="zh-CN" sz="1200" dirty="0" smtClean="0">
                <a:solidFill>
                  <a:srgbClr val="000000"/>
                </a:solidFill>
                <a:latin typeface="+mj-lt"/>
                <a:ea typeface="宋体" panose="02010600030101010101" pitchFamily="2" charset="-122"/>
              </a:endParaRPr>
            </a:p>
            <a:p>
              <a:pPr marL="171450" indent="-171450">
                <a:spcAft>
                  <a:spcPts val="900"/>
                </a:spcAft>
                <a:buFont typeface="Arial" panose="020B0604020202020204" pitchFamily="34" charset="0"/>
                <a:buChar char="•"/>
              </a:pPr>
              <a:r>
                <a:rPr lang="en-GB" altLang="zh-CN" sz="1200" dirty="0" smtClean="0">
                  <a:latin typeface="+mj-lt"/>
                  <a:ea typeface="黑体" panose="02010609060101010101" pitchFamily="49" charset="-122"/>
                </a:rPr>
                <a:t>Strike the balance between  tax base protection and attracting foreign direct investments (FDI)</a:t>
              </a:r>
            </a:p>
            <a:p>
              <a:pPr>
                <a:spcAft>
                  <a:spcPts val="900"/>
                </a:spcAft>
              </a:pPr>
              <a:endParaRPr lang="en-GB" altLang="zh-CN" sz="1200" dirty="0">
                <a:solidFill>
                  <a:srgbClr val="000000"/>
                </a:solidFill>
                <a:latin typeface="+mj-lt"/>
                <a:ea typeface="宋体" panose="02010600030101010101" pitchFamily="2" charset="-122"/>
              </a:endParaRPr>
            </a:p>
          </p:txBody>
        </p:sp>
        <p:sp>
          <p:nvSpPr>
            <p:cNvPr id="130" name="Freeform 186"/>
            <p:cNvSpPr>
              <a:spLocks/>
            </p:cNvSpPr>
            <p:nvPr/>
          </p:nvSpPr>
          <p:spPr bwMode="auto">
            <a:xfrm rot="10800000">
              <a:off x="7184655" y="2991527"/>
              <a:ext cx="2412748" cy="1418646"/>
            </a:xfrm>
            <a:custGeom>
              <a:avLst/>
              <a:gdLst>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7730 w 10000"/>
                <a:gd name="connsiteY4" fmla="*/ 500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03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29 w 10000"/>
                <a:gd name="connsiteY4" fmla="*/ 5047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363 w 10000"/>
                <a:gd name="connsiteY4" fmla="*/ 515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9 w 10000"/>
                <a:gd name="connsiteY4" fmla="*/ 5093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291 w 10000"/>
                <a:gd name="connsiteY4" fmla="*/ 491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7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575 w 10000"/>
                <a:gd name="connsiteY4" fmla="*/ 497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80 w 10000"/>
                <a:gd name="connsiteY4" fmla="*/ 4860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48 w 10000"/>
                <a:gd name="connsiteY4" fmla="*/ 5159 h 10000"/>
                <a:gd name="connsiteX5" fmla="*/ 10000 w 10000"/>
                <a:gd name="connsiteY5" fmla="*/ 0 h 10000"/>
                <a:gd name="connsiteX6" fmla="*/ 0 w 10000"/>
                <a:gd name="connsiteY6" fmla="*/ 0 h 10000"/>
                <a:gd name="connsiteX7" fmla="*/ 0 w 10000"/>
                <a:gd name="connsiteY7" fmla="*/ 0 h 10000"/>
                <a:gd name="connsiteX0" fmla="*/ 0 w 10000"/>
                <a:gd name="connsiteY0" fmla="*/ 0 h 10000"/>
                <a:gd name="connsiteX1" fmla="*/ 0 w 10000"/>
                <a:gd name="connsiteY1" fmla="*/ 10000 h 10000"/>
                <a:gd name="connsiteX2" fmla="*/ 10000 w 10000"/>
                <a:gd name="connsiteY2" fmla="*/ 10000 h 10000"/>
                <a:gd name="connsiteX3" fmla="*/ 10000 w 10000"/>
                <a:gd name="connsiteY3" fmla="*/ 10000 h 10000"/>
                <a:gd name="connsiteX4" fmla="*/ 8416 w 10000"/>
                <a:gd name="connsiteY4" fmla="*/ 4920 h 10000"/>
                <a:gd name="connsiteX5" fmla="*/ 10000 w 10000"/>
                <a:gd name="connsiteY5" fmla="*/ 0 h 10000"/>
                <a:gd name="connsiteX6" fmla="*/ 0 w 10000"/>
                <a:gd name="connsiteY6" fmla="*/ 0 h 10000"/>
                <a:gd name="connsiteX7" fmla="*/ 0 w 10000"/>
                <a:gd name="connsiteY7"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00" h="10000">
                  <a:moveTo>
                    <a:pt x="0" y="0"/>
                  </a:moveTo>
                  <a:lnTo>
                    <a:pt x="0" y="10000"/>
                  </a:lnTo>
                  <a:lnTo>
                    <a:pt x="10000" y="10000"/>
                  </a:lnTo>
                  <a:lnTo>
                    <a:pt x="10000" y="10000"/>
                  </a:lnTo>
                  <a:lnTo>
                    <a:pt x="8416" y="4920"/>
                  </a:lnTo>
                  <a:lnTo>
                    <a:pt x="10000" y="0"/>
                  </a:lnTo>
                  <a:lnTo>
                    <a:pt x="0" y="0"/>
                  </a:lnTo>
                  <a:lnTo>
                    <a:pt x="0" y="0"/>
                  </a:lnTo>
                  <a:close/>
                </a:path>
              </a:pathLst>
            </a:custGeom>
            <a:ln>
              <a:noFill/>
              <a:headEnd/>
              <a:tailEnd/>
            </a:ln>
          </p:spPr>
          <p:style>
            <a:lnRef idx="1">
              <a:schemeClr val="accent4"/>
            </a:lnRef>
            <a:fillRef idx="2">
              <a:schemeClr val="accent4"/>
            </a:fillRef>
            <a:effectRef idx="1">
              <a:schemeClr val="accent4"/>
            </a:effectRef>
            <a:fontRef idx="minor">
              <a:schemeClr val="dk1"/>
            </a:fontRef>
          </p:style>
          <p:txBody>
            <a:bodyPr vert="horz" wrap="square" lIns="91440" tIns="45720" rIns="91440" bIns="45720" numCol="1" anchor="t" anchorCtr="0" compatLnSpc="1">
              <a:prstTxWarp prst="textNoShape">
                <a:avLst/>
              </a:prstTxWarp>
            </a:bodyPr>
            <a:lstStyle/>
            <a:p>
              <a:endParaRPr lang="en-GB" dirty="0"/>
            </a:p>
          </p:txBody>
        </p:sp>
        <p:sp>
          <p:nvSpPr>
            <p:cNvPr id="141" name="Rectangle 6"/>
            <p:cNvSpPr>
              <a:spLocks noChangeArrowheads="1"/>
            </p:cNvSpPr>
            <p:nvPr/>
          </p:nvSpPr>
          <p:spPr bwMode="blackWhite">
            <a:xfrm>
              <a:off x="7464694" y="3069151"/>
              <a:ext cx="1920733" cy="1260405"/>
            </a:xfrm>
            <a:prstGeom prst="rect">
              <a:avLst/>
            </a:prstGeom>
            <a:noFill/>
            <a:ln w="9525" algn="ctr">
              <a:noFill/>
              <a:miter lim="800000"/>
              <a:headEnd/>
              <a:tailEnd/>
            </a:ln>
          </p:spPr>
          <p:txBody>
            <a:bodyPr wrap="square" lIns="0" tIns="0" rIns="0" bIns="0">
              <a:noAutofit/>
            </a:bodyPr>
            <a:lstStyle/>
            <a:p>
              <a:pPr marL="171450" indent="-171450">
                <a:buFont typeface="Arial" panose="020B0604020202020204" pitchFamily="34" charset="0"/>
                <a:buChar char="•"/>
              </a:pPr>
              <a:r>
                <a:rPr lang="en-GB" altLang="zh-CN" sz="1200" dirty="0" smtClean="0">
                  <a:solidFill>
                    <a:srgbClr val="000000"/>
                  </a:solidFill>
                  <a:latin typeface="+mj-lt"/>
                  <a:ea typeface="宋体" panose="02010600030101010101" pitchFamily="2" charset="-122"/>
                </a:rPr>
                <a:t>U</a:t>
              </a:r>
              <a:r>
                <a:rPr lang="en-GB" altLang="zh-CN" sz="1200" dirty="0" smtClean="0">
                  <a:solidFill>
                    <a:srgbClr val="000000"/>
                  </a:solidFill>
                  <a:latin typeface="+mj-lt"/>
                  <a:ea typeface="宋体" panose="02010600030101010101" pitchFamily="2" charset="-122"/>
                </a:rPr>
                <a:t>se GAAR </a:t>
              </a:r>
              <a:r>
                <a:rPr lang="en-GB" altLang="zh-CN" sz="1200" dirty="0" smtClean="0">
                  <a:solidFill>
                    <a:srgbClr val="000000"/>
                  </a:solidFill>
                  <a:latin typeface="+mj-lt"/>
                  <a:ea typeface="宋体" panose="02010600030101010101" pitchFamily="2" charset="-122"/>
                </a:rPr>
                <a:t>to combat tax-avoidance via </a:t>
              </a:r>
              <a:r>
                <a:rPr lang="en-GB" altLang="zh-CN" sz="1200" b="1" dirty="0" smtClean="0">
                  <a:solidFill>
                    <a:srgbClr val="000000"/>
                  </a:solidFill>
                  <a:latin typeface="+mj-lt"/>
                  <a:ea typeface="宋体" panose="02010600030101010101" pitchFamily="2" charset="-122"/>
                </a:rPr>
                <a:t>indirect equity transfers</a:t>
              </a:r>
              <a:endParaRPr lang="en-GB" altLang="zh-CN" sz="1200" dirty="0" smtClean="0">
                <a:solidFill>
                  <a:srgbClr val="000000"/>
                </a:solidFill>
                <a:latin typeface="+mj-lt"/>
                <a:ea typeface="宋体" panose="02010600030101010101" pitchFamily="2" charset="-122"/>
              </a:endParaRPr>
            </a:p>
            <a:p>
              <a:endParaRPr lang="en-GB" altLang="zh-CN" sz="1200" dirty="0" smtClean="0">
                <a:solidFill>
                  <a:srgbClr val="000000"/>
                </a:solidFill>
                <a:latin typeface="+mj-lt"/>
                <a:ea typeface="宋体" panose="02010600030101010101" pitchFamily="2" charset="-122"/>
              </a:endParaRPr>
            </a:p>
            <a:p>
              <a:endParaRPr lang="en-GB" altLang="zh-CN" sz="1200" dirty="0" smtClean="0">
                <a:solidFill>
                  <a:srgbClr val="000000"/>
                </a:solidFill>
                <a:latin typeface="+mj-lt"/>
                <a:ea typeface="宋体" panose="02010600030101010101" pitchFamily="2" charset="-122"/>
              </a:endParaRPr>
            </a:p>
            <a:p>
              <a:pPr marL="171450" indent="-171450">
                <a:buFont typeface="Arial" panose="020B0604020202020204" pitchFamily="34" charset="0"/>
                <a:buChar char="•"/>
              </a:pPr>
              <a:endParaRPr lang="en-GB" altLang="zh-CN" sz="1200" dirty="0" smtClean="0">
                <a:solidFill>
                  <a:srgbClr val="000000"/>
                </a:solidFill>
                <a:latin typeface="+mj-lt"/>
                <a:ea typeface="宋体" panose="02010600030101010101" pitchFamily="2" charset="-122"/>
              </a:endParaRPr>
            </a:p>
            <a:p>
              <a:endParaRPr lang="en-GB" altLang="zh-CN" sz="1200" dirty="0" smtClean="0">
                <a:solidFill>
                  <a:srgbClr val="000000"/>
                </a:solidFill>
                <a:latin typeface="+mj-lt"/>
                <a:ea typeface="宋体" panose="02010600030101010101" pitchFamily="2" charset="-122"/>
              </a:endParaRPr>
            </a:p>
            <a:p>
              <a:pPr marL="171450" indent="-171450">
                <a:buFont typeface="Arial" panose="020B0604020202020204" pitchFamily="34" charset="0"/>
                <a:buChar char="•"/>
              </a:pPr>
              <a:endParaRPr lang="en-GB" altLang="zh-CN" sz="1200" dirty="0" smtClean="0">
                <a:solidFill>
                  <a:srgbClr val="000000"/>
                </a:solidFill>
                <a:latin typeface="+mj-lt"/>
                <a:ea typeface="宋体" panose="02010600030101010101" pitchFamily="2" charset="-122"/>
              </a:endParaRPr>
            </a:p>
          </p:txBody>
        </p:sp>
      </p:grpSp>
      <p:sp>
        <p:nvSpPr>
          <p:cNvPr id="149" name="Text Box 16"/>
          <p:cNvSpPr txBox="1">
            <a:spLocks noChangeArrowheads="1"/>
          </p:cNvSpPr>
          <p:nvPr/>
        </p:nvSpPr>
        <p:spPr bwMode="blackWhite">
          <a:xfrm>
            <a:off x="4242642" y="5904217"/>
            <a:ext cx="1544321" cy="923330"/>
          </a:xfrm>
          <a:prstGeom prst="rect">
            <a:avLst/>
          </a:prstGeom>
          <a:noFill/>
          <a:ln w="9525" algn="ctr">
            <a:noFill/>
            <a:miter lim="800000"/>
            <a:headEnd/>
            <a:tailEnd/>
          </a:ln>
        </p:spPr>
        <p:txBody>
          <a:bodyPr wrap="square" lIns="0" tIns="0" rIns="0" bIns="0">
            <a:spAutoFit/>
          </a:bodyPr>
          <a:lstStyle/>
          <a:p>
            <a:pPr lvl="0" algn="ctr"/>
            <a:r>
              <a:rPr lang="en-GB" altLang="zh-CN" sz="1200" b="1" dirty="0" smtClean="0">
                <a:solidFill>
                  <a:schemeClr val="bg1"/>
                </a:solidFill>
                <a:latin typeface="+mj-lt"/>
                <a:ea typeface="宋体" panose="02010600030101010101" pitchFamily="2" charset="-122"/>
              </a:rPr>
              <a:t>Withholding CIT at Source for Non-TRE </a:t>
            </a:r>
            <a:r>
              <a:rPr lang="en-GB" altLang="zh-CN" sz="1200" b="1" dirty="0" smtClean="0">
                <a:solidFill>
                  <a:schemeClr val="bg1"/>
                </a:solidFill>
                <a:latin typeface="+mj-lt"/>
                <a:ea typeface="宋体" panose="02010600030101010101" pitchFamily="2" charset="-122"/>
              </a:rPr>
              <a:t>(Public </a:t>
            </a:r>
            <a:r>
              <a:rPr lang="en-GB" altLang="zh-CN" sz="1200" b="1" dirty="0" smtClean="0">
                <a:solidFill>
                  <a:schemeClr val="bg1"/>
                </a:solidFill>
                <a:latin typeface="+mj-lt"/>
                <a:ea typeface="宋体" panose="02010600030101010101" pitchFamily="2" charset="-122"/>
              </a:rPr>
              <a:t>Notice [2017] </a:t>
            </a:r>
            <a:r>
              <a:rPr lang="en-GB" altLang="zh-CN" sz="1200" b="1" dirty="0" smtClean="0">
                <a:solidFill>
                  <a:schemeClr val="bg1"/>
                </a:solidFill>
                <a:latin typeface="+mj-lt"/>
                <a:ea typeface="宋体" panose="02010600030101010101" pitchFamily="2" charset="-122"/>
              </a:rPr>
              <a:t>N0.37</a:t>
            </a:r>
            <a:r>
              <a:rPr lang="zh-CN" altLang="en-US" sz="1200" b="1" dirty="0" smtClean="0">
                <a:solidFill>
                  <a:schemeClr val="bg1"/>
                </a:solidFill>
                <a:latin typeface="+mj-lt"/>
                <a:ea typeface="宋体" panose="02010600030101010101" pitchFamily="2" charset="-122"/>
              </a:rPr>
              <a:t>（</a:t>
            </a:r>
            <a:r>
              <a:rPr lang="en-GB" altLang="zh-CN" sz="1200" b="1" dirty="0" smtClean="0">
                <a:solidFill>
                  <a:schemeClr val="bg1"/>
                </a:solidFill>
                <a:latin typeface="+mj-lt"/>
                <a:ea typeface="宋体" panose="02010600030101010101" pitchFamily="2" charset="-122"/>
              </a:rPr>
              <a:t>PN37)</a:t>
            </a:r>
            <a:endParaRPr lang="en-GB" altLang="zh-CN" sz="1200" b="1" dirty="0">
              <a:solidFill>
                <a:schemeClr val="bg1"/>
              </a:solidFill>
              <a:latin typeface="+mj-lt"/>
              <a:ea typeface="宋体" panose="02010600030101010101" pitchFamily="2" charset="-122"/>
            </a:endParaRPr>
          </a:p>
        </p:txBody>
      </p:sp>
      <p:sp>
        <p:nvSpPr>
          <p:cNvPr id="150" name="Freeform 28"/>
          <p:cNvSpPr>
            <a:spLocks/>
          </p:cNvSpPr>
          <p:nvPr/>
        </p:nvSpPr>
        <p:spPr bwMode="auto">
          <a:xfrm>
            <a:off x="5537509" y="4590487"/>
            <a:ext cx="1950989" cy="1614551"/>
          </a:xfrm>
          <a:custGeom>
            <a:avLst/>
            <a:gdLst/>
            <a:ahLst/>
            <a:cxnLst>
              <a:cxn ang="0">
                <a:pos x="545" y="0"/>
              </a:cxn>
              <a:cxn ang="0">
                <a:pos x="181" y="0"/>
              </a:cxn>
              <a:cxn ang="0">
                <a:pos x="0" y="313"/>
              </a:cxn>
              <a:cxn ang="0">
                <a:pos x="181" y="626"/>
              </a:cxn>
              <a:cxn ang="0">
                <a:pos x="545" y="626"/>
              </a:cxn>
              <a:cxn ang="0">
                <a:pos x="726" y="313"/>
              </a:cxn>
              <a:cxn ang="0">
                <a:pos x="545" y="0"/>
              </a:cxn>
              <a:cxn ang="0">
                <a:pos x="545" y="0"/>
              </a:cxn>
            </a:cxnLst>
            <a:rect l="0" t="0" r="r" b="b"/>
            <a:pathLst>
              <a:path w="726" h="626">
                <a:moveTo>
                  <a:pt x="545" y="0"/>
                </a:moveTo>
                <a:lnTo>
                  <a:pt x="181" y="0"/>
                </a:lnTo>
                <a:lnTo>
                  <a:pt x="0" y="313"/>
                </a:lnTo>
                <a:lnTo>
                  <a:pt x="181" y="626"/>
                </a:lnTo>
                <a:lnTo>
                  <a:pt x="545" y="626"/>
                </a:lnTo>
                <a:lnTo>
                  <a:pt x="726" y="313"/>
                </a:lnTo>
                <a:lnTo>
                  <a:pt x="545" y="0"/>
                </a:lnTo>
                <a:lnTo>
                  <a:pt x="545" y="0"/>
                </a:lnTo>
                <a:close/>
              </a:path>
            </a:pathLst>
          </a:custGeom>
          <a:ln>
            <a:headEnd/>
            <a:tailEnd/>
          </a:ln>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anchor="t" anchorCtr="0" compatLnSpc="1">
            <a:prstTxWarp prst="textNoShape">
              <a:avLst/>
            </a:prstTxWarp>
          </a:bodyPr>
          <a:lstStyle/>
          <a:p>
            <a:endParaRPr lang="en-GB" dirty="0"/>
          </a:p>
        </p:txBody>
      </p:sp>
      <p:sp>
        <p:nvSpPr>
          <p:cNvPr id="151" name="Freeform 28"/>
          <p:cNvSpPr>
            <a:spLocks/>
          </p:cNvSpPr>
          <p:nvPr/>
        </p:nvSpPr>
        <p:spPr bwMode="auto">
          <a:xfrm>
            <a:off x="5537509" y="2916957"/>
            <a:ext cx="1950989" cy="1614551"/>
          </a:xfrm>
          <a:custGeom>
            <a:avLst/>
            <a:gdLst/>
            <a:ahLst/>
            <a:cxnLst>
              <a:cxn ang="0">
                <a:pos x="545" y="0"/>
              </a:cxn>
              <a:cxn ang="0">
                <a:pos x="181" y="0"/>
              </a:cxn>
              <a:cxn ang="0">
                <a:pos x="0" y="313"/>
              </a:cxn>
              <a:cxn ang="0">
                <a:pos x="181" y="626"/>
              </a:cxn>
              <a:cxn ang="0">
                <a:pos x="545" y="626"/>
              </a:cxn>
              <a:cxn ang="0">
                <a:pos x="726" y="313"/>
              </a:cxn>
              <a:cxn ang="0">
                <a:pos x="545" y="0"/>
              </a:cxn>
              <a:cxn ang="0">
                <a:pos x="545" y="0"/>
              </a:cxn>
            </a:cxnLst>
            <a:rect l="0" t="0" r="r" b="b"/>
            <a:pathLst>
              <a:path w="726" h="626">
                <a:moveTo>
                  <a:pt x="545" y="0"/>
                </a:moveTo>
                <a:lnTo>
                  <a:pt x="181" y="0"/>
                </a:lnTo>
                <a:lnTo>
                  <a:pt x="0" y="313"/>
                </a:lnTo>
                <a:lnTo>
                  <a:pt x="181" y="626"/>
                </a:lnTo>
                <a:lnTo>
                  <a:pt x="545" y="626"/>
                </a:lnTo>
                <a:lnTo>
                  <a:pt x="726" y="313"/>
                </a:lnTo>
                <a:lnTo>
                  <a:pt x="545" y="0"/>
                </a:lnTo>
                <a:lnTo>
                  <a:pt x="545" y="0"/>
                </a:lnTo>
                <a:close/>
              </a:path>
            </a:pathLst>
          </a:custGeom>
          <a:ln>
            <a:headEnd/>
            <a:tailEnd/>
          </a:ln>
        </p:spPr>
        <p:style>
          <a:lnRef idx="1">
            <a:schemeClr val="accent4"/>
          </a:lnRef>
          <a:fillRef idx="3">
            <a:schemeClr val="accent4"/>
          </a:fillRef>
          <a:effectRef idx="2">
            <a:schemeClr val="accent4"/>
          </a:effectRef>
          <a:fontRef idx="minor">
            <a:schemeClr val="lt1"/>
          </a:fontRef>
        </p:style>
        <p:txBody>
          <a:bodyPr vert="horz" wrap="square" lIns="91440" tIns="45720" rIns="91440" bIns="45720" numCol="1" anchor="t" anchorCtr="0" compatLnSpc="1">
            <a:prstTxWarp prst="textNoShape">
              <a:avLst/>
            </a:prstTxWarp>
          </a:bodyPr>
          <a:lstStyle/>
          <a:p>
            <a:endParaRPr lang="en-GB" dirty="0"/>
          </a:p>
        </p:txBody>
      </p:sp>
      <p:sp>
        <p:nvSpPr>
          <p:cNvPr id="152" name="Text Box 16"/>
          <p:cNvSpPr txBox="1">
            <a:spLocks noChangeArrowheads="1"/>
          </p:cNvSpPr>
          <p:nvPr/>
        </p:nvSpPr>
        <p:spPr bwMode="blackWhite">
          <a:xfrm>
            <a:off x="5725295" y="4665652"/>
            <a:ext cx="1603043" cy="1292662"/>
          </a:xfrm>
          <a:prstGeom prst="rect">
            <a:avLst/>
          </a:prstGeom>
          <a:noFill/>
          <a:ln w="9525" algn="ctr">
            <a:noFill/>
            <a:miter lim="800000"/>
            <a:headEnd/>
            <a:tailEnd/>
          </a:ln>
        </p:spPr>
        <p:txBody>
          <a:bodyPr wrap="square" lIns="0" tIns="0" rIns="0" bIns="0">
            <a:spAutoFit/>
          </a:bodyPr>
          <a:lstStyle/>
          <a:p>
            <a:pPr lvl="0" algn="ctr"/>
            <a:r>
              <a:rPr lang="en-GB" altLang="zh-CN" sz="1200" b="1" dirty="0" smtClean="0">
                <a:solidFill>
                  <a:schemeClr val="bg1"/>
                </a:solidFill>
                <a:latin typeface="+mj-lt"/>
                <a:ea typeface="宋体" panose="02010600030101010101" pitchFamily="2" charset="-122"/>
              </a:rPr>
              <a:t>Certain CIT </a:t>
            </a:r>
          </a:p>
          <a:p>
            <a:pPr lvl="0" algn="ctr"/>
            <a:r>
              <a:rPr lang="en-GB" altLang="zh-CN" sz="1200" b="1" dirty="0" smtClean="0">
                <a:solidFill>
                  <a:schemeClr val="bg1"/>
                </a:solidFill>
                <a:latin typeface="+mj-lt"/>
                <a:ea typeface="宋体" panose="02010600030101010101" pitchFamily="2" charset="-122"/>
              </a:rPr>
              <a:t>Matters on Non-TRE’s Indirect Transfer of Properties </a:t>
            </a:r>
            <a:r>
              <a:rPr lang="en-GB" altLang="zh-CN" sz="1200" b="1" dirty="0" smtClean="0">
                <a:solidFill>
                  <a:schemeClr val="bg1"/>
                </a:solidFill>
                <a:latin typeface="+mj-lt"/>
                <a:ea typeface="宋体" panose="02010600030101010101" pitchFamily="2" charset="-122"/>
              </a:rPr>
              <a:t>(Public </a:t>
            </a:r>
            <a:r>
              <a:rPr lang="en-GB" altLang="zh-CN" sz="1200" b="1" dirty="0" smtClean="0">
                <a:solidFill>
                  <a:schemeClr val="bg1"/>
                </a:solidFill>
                <a:latin typeface="+mj-lt"/>
                <a:ea typeface="宋体" panose="02010600030101010101" pitchFamily="2" charset="-122"/>
              </a:rPr>
              <a:t>Notice [2015] </a:t>
            </a:r>
            <a:r>
              <a:rPr lang="en-GB" altLang="zh-CN" sz="1200" b="1" dirty="0" smtClean="0">
                <a:solidFill>
                  <a:schemeClr val="bg1"/>
                </a:solidFill>
                <a:latin typeface="+mj-lt"/>
                <a:ea typeface="宋体" panose="02010600030101010101" pitchFamily="2" charset="-122"/>
              </a:rPr>
              <a:t>N0.7 </a:t>
            </a:r>
            <a:r>
              <a:rPr lang="zh-CN" altLang="en-US" sz="1200" b="1" dirty="0" smtClean="0">
                <a:solidFill>
                  <a:schemeClr val="bg1"/>
                </a:solidFill>
                <a:latin typeface="+mj-lt"/>
                <a:ea typeface="宋体" panose="02010600030101010101" pitchFamily="2" charset="-122"/>
              </a:rPr>
              <a:t>（</a:t>
            </a:r>
            <a:r>
              <a:rPr lang="en-GB" altLang="zh-CN" sz="1200" b="1" dirty="0" smtClean="0">
                <a:solidFill>
                  <a:schemeClr val="bg1"/>
                </a:solidFill>
                <a:latin typeface="+mj-lt"/>
                <a:ea typeface="宋体" panose="02010600030101010101" pitchFamily="2" charset="-122"/>
              </a:rPr>
              <a:t>PN7’</a:t>
            </a:r>
            <a:endParaRPr lang="en-GB" altLang="zh-CN" sz="1200" b="1" dirty="0">
              <a:solidFill>
                <a:schemeClr val="bg1"/>
              </a:solidFill>
              <a:latin typeface="+mj-lt"/>
              <a:ea typeface="宋体" panose="02010600030101010101" pitchFamily="2" charset="-122"/>
            </a:endParaRPr>
          </a:p>
        </p:txBody>
      </p:sp>
      <p:sp>
        <p:nvSpPr>
          <p:cNvPr id="193" name="Freeform 6"/>
          <p:cNvSpPr>
            <a:spLocks noChangeAspect="1"/>
          </p:cNvSpPr>
          <p:nvPr/>
        </p:nvSpPr>
        <p:spPr bwMode="auto">
          <a:xfrm rot="19287575" flipH="1">
            <a:off x="7139986" y="3991765"/>
            <a:ext cx="697022" cy="629824"/>
          </a:xfrm>
          <a:custGeom>
            <a:avLst/>
            <a:gdLst>
              <a:gd name="T0" fmla="*/ 207 w 552"/>
              <a:gd name="T1" fmla="*/ 191 h 409"/>
              <a:gd name="T2" fmla="*/ 207 w 552"/>
              <a:gd name="T3" fmla="*/ 227 h 409"/>
              <a:gd name="T4" fmla="*/ 289 w 552"/>
              <a:gd name="T5" fmla="*/ 161 h 409"/>
              <a:gd name="T6" fmla="*/ 208 w 552"/>
              <a:gd name="T7" fmla="*/ 83 h 409"/>
              <a:gd name="T8" fmla="*/ 207 w 552"/>
              <a:gd name="T9" fmla="*/ 120 h 409"/>
              <a:gd name="T10" fmla="*/ 39 w 552"/>
              <a:gd name="T11" fmla="*/ 0 h 409"/>
              <a:gd name="T12" fmla="*/ 207 w 552"/>
              <a:gd name="T13" fmla="*/ 191 h 409"/>
              <a:gd name="T14" fmla="*/ 0 60000 65536"/>
              <a:gd name="T15" fmla="*/ 0 60000 65536"/>
              <a:gd name="T16" fmla="*/ 0 60000 65536"/>
              <a:gd name="T17" fmla="*/ 0 60000 65536"/>
              <a:gd name="T18" fmla="*/ 0 60000 65536"/>
              <a:gd name="T19" fmla="*/ 0 60000 65536"/>
              <a:gd name="T20" fmla="*/ 0 60000 65536"/>
              <a:gd name="T21" fmla="*/ 0 w 552"/>
              <a:gd name="T22" fmla="*/ 0 h 409"/>
              <a:gd name="T23" fmla="*/ 552 w 552"/>
              <a:gd name="T24" fmla="*/ 409 h 40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2" h="409">
                <a:moveTo>
                  <a:pt x="396" y="345"/>
                </a:moveTo>
                <a:cubicBezTo>
                  <a:pt x="396" y="377"/>
                  <a:pt x="396" y="409"/>
                  <a:pt x="396" y="409"/>
                </a:cubicBezTo>
                <a:cubicBezTo>
                  <a:pt x="396" y="409"/>
                  <a:pt x="474" y="350"/>
                  <a:pt x="552" y="291"/>
                </a:cubicBezTo>
                <a:cubicBezTo>
                  <a:pt x="552" y="291"/>
                  <a:pt x="474" y="220"/>
                  <a:pt x="397" y="150"/>
                </a:cubicBezTo>
                <a:cubicBezTo>
                  <a:pt x="397" y="150"/>
                  <a:pt x="396" y="183"/>
                  <a:pt x="396" y="217"/>
                </a:cubicBezTo>
                <a:cubicBezTo>
                  <a:pt x="89" y="194"/>
                  <a:pt x="75" y="0"/>
                  <a:pt x="75" y="0"/>
                </a:cubicBezTo>
                <a:cubicBezTo>
                  <a:pt x="75" y="0"/>
                  <a:pt x="0" y="297"/>
                  <a:pt x="396" y="345"/>
                </a:cubicBezTo>
                <a:close/>
              </a:path>
            </a:pathLst>
          </a:custGeom>
          <a:ln>
            <a:headEnd/>
            <a:tailEnd/>
          </a:ln>
        </p:spPr>
        <p:style>
          <a:lnRef idx="1">
            <a:schemeClr val="accent4"/>
          </a:lnRef>
          <a:fillRef idx="3">
            <a:schemeClr val="accent4"/>
          </a:fillRef>
          <a:effectRef idx="2">
            <a:schemeClr val="accent4"/>
          </a:effectRef>
          <a:fontRef idx="minor">
            <a:schemeClr val="lt1"/>
          </a:fontRef>
        </p:style>
        <p:txBody>
          <a:bodyPr lIns="6350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54" name="Text Box 16"/>
          <p:cNvSpPr txBox="1">
            <a:spLocks noChangeArrowheads="1"/>
          </p:cNvSpPr>
          <p:nvPr/>
        </p:nvSpPr>
        <p:spPr bwMode="blackWhite">
          <a:xfrm>
            <a:off x="5699720" y="3151998"/>
            <a:ext cx="1641677" cy="1394228"/>
          </a:xfrm>
          <a:prstGeom prst="rect">
            <a:avLst/>
          </a:prstGeom>
          <a:noFill/>
          <a:ln w="9525" algn="ctr">
            <a:noFill/>
            <a:miter lim="800000"/>
            <a:headEnd/>
            <a:tailEnd/>
          </a:ln>
        </p:spPr>
        <p:txBody>
          <a:bodyPr wrap="square" lIns="0" tIns="0" rIns="0" bIns="0">
            <a:spAutoFit/>
          </a:bodyPr>
          <a:lstStyle/>
          <a:p>
            <a:pPr algn="ctr" defTabSz="889000">
              <a:lnSpc>
                <a:spcPct val="90000"/>
              </a:lnSpc>
              <a:spcBef>
                <a:spcPct val="0"/>
              </a:spcBef>
              <a:spcAft>
                <a:spcPct val="35000"/>
              </a:spcAft>
            </a:pPr>
            <a:r>
              <a:rPr lang="en-GB" altLang="zh-CN" sz="1200" b="1" dirty="0" smtClean="0">
                <a:solidFill>
                  <a:schemeClr val="bg1"/>
                </a:solidFill>
                <a:latin typeface="+mj-lt"/>
                <a:ea typeface="+mj-ea"/>
              </a:rPr>
              <a:t> Regarding CIT Collection on Equity Transfer Income for Non-Tax Resident Enterprises (Non-TRE)</a:t>
            </a:r>
          </a:p>
          <a:p>
            <a:pPr algn="ctr" defTabSz="889000">
              <a:lnSpc>
                <a:spcPct val="90000"/>
              </a:lnSpc>
              <a:spcBef>
                <a:spcPct val="0"/>
              </a:spcBef>
              <a:spcAft>
                <a:spcPct val="35000"/>
              </a:spcAft>
            </a:pPr>
            <a:r>
              <a:rPr lang="en-GB" altLang="zh-CN" sz="1200" b="1" dirty="0" smtClean="0">
                <a:solidFill>
                  <a:schemeClr val="bg1"/>
                </a:solidFill>
                <a:latin typeface="+mj-lt"/>
                <a:ea typeface="+mj-ea"/>
              </a:rPr>
              <a:t>(Circular [2009] No.698 )</a:t>
            </a:r>
            <a:endParaRPr lang="en-GB" altLang="zh-CN" sz="1200" b="1" dirty="0">
              <a:solidFill>
                <a:schemeClr val="bg1"/>
              </a:solidFill>
              <a:latin typeface="+mj-lt"/>
              <a:ea typeface="+mj-ea"/>
            </a:endParaRPr>
          </a:p>
        </p:txBody>
      </p:sp>
      <p:sp>
        <p:nvSpPr>
          <p:cNvPr id="189" name="Rectangle 6"/>
          <p:cNvSpPr>
            <a:spLocks noChangeArrowheads="1"/>
          </p:cNvSpPr>
          <p:nvPr/>
        </p:nvSpPr>
        <p:spPr bwMode="blackWhite">
          <a:xfrm>
            <a:off x="6004801" y="6483773"/>
            <a:ext cx="3434973" cy="325267"/>
          </a:xfrm>
          <a:prstGeom prst="rect">
            <a:avLst/>
          </a:prstGeom>
          <a:noFill/>
          <a:ln w="9525" algn="ctr">
            <a:noFill/>
            <a:miter lim="800000"/>
            <a:headEnd/>
            <a:tailEnd/>
          </a:ln>
        </p:spPr>
        <p:txBody>
          <a:bodyPr wrap="square" lIns="0" tIns="0" rIns="0" bIns="0">
            <a:noAutofit/>
          </a:bodyPr>
          <a:lstStyle/>
          <a:p>
            <a:pPr>
              <a:spcAft>
                <a:spcPts val="900"/>
              </a:spcAft>
            </a:pPr>
            <a:r>
              <a:rPr lang="en-GB" altLang="zh-CN" sz="1200" dirty="0" smtClean="0">
                <a:solidFill>
                  <a:srgbClr val="000000"/>
                </a:solidFill>
                <a:latin typeface="+mj-lt"/>
                <a:ea typeface="宋体" panose="02010600030101010101" pitchFamily="2" charset="-122"/>
              </a:rPr>
              <a:t>Further clarify </a:t>
            </a:r>
            <a:r>
              <a:rPr lang="en-GB" altLang="zh-CN" sz="1200" b="1" dirty="0" smtClean="0">
                <a:solidFill>
                  <a:srgbClr val="000000"/>
                </a:solidFill>
                <a:latin typeface="+mj-lt"/>
                <a:ea typeface="宋体" panose="02010600030101010101" pitchFamily="2" charset="-122"/>
              </a:rPr>
              <a:t>detailed rules </a:t>
            </a:r>
            <a:r>
              <a:rPr lang="en-GB" altLang="zh-CN" sz="1200" dirty="0" smtClean="0">
                <a:solidFill>
                  <a:srgbClr val="000000"/>
                </a:solidFill>
                <a:latin typeface="+mj-lt"/>
                <a:ea typeface="宋体" panose="02010600030101010101" pitchFamily="2" charset="-122"/>
              </a:rPr>
              <a:t>on withholding CIT at source </a:t>
            </a:r>
            <a:endParaRPr lang="en-GB" altLang="zh-CN" sz="1200" dirty="0">
              <a:solidFill>
                <a:srgbClr val="000000"/>
              </a:solidFill>
              <a:latin typeface="+mj-lt"/>
              <a:ea typeface="宋体" panose="02010600030101010101" pitchFamily="2" charset="-122"/>
            </a:endParaRPr>
          </a:p>
        </p:txBody>
      </p:sp>
      <p:sp>
        <p:nvSpPr>
          <p:cNvPr id="190" name="Freeform 6"/>
          <p:cNvSpPr>
            <a:spLocks noChangeAspect="1"/>
          </p:cNvSpPr>
          <p:nvPr/>
        </p:nvSpPr>
        <p:spPr bwMode="auto">
          <a:xfrm rot="17624105" flipH="1" flipV="1">
            <a:off x="3431297" y="2225135"/>
            <a:ext cx="697022" cy="651758"/>
          </a:xfrm>
          <a:custGeom>
            <a:avLst/>
            <a:gdLst>
              <a:gd name="T0" fmla="*/ 207 w 552"/>
              <a:gd name="T1" fmla="*/ 191 h 409"/>
              <a:gd name="T2" fmla="*/ 207 w 552"/>
              <a:gd name="T3" fmla="*/ 227 h 409"/>
              <a:gd name="T4" fmla="*/ 289 w 552"/>
              <a:gd name="T5" fmla="*/ 161 h 409"/>
              <a:gd name="T6" fmla="*/ 208 w 552"/>
              <a:gd name="T7" fmla="*/ 83 h 409"/>
              <a:gd name="T8" fmla="*/ 207 w 552"/>
              <a:gd name="T9" fmla="*/ 120 h 409"/>
              <a:gd name="T10" fmla="*/ 39 w 552"/>
              <a:gd name="T11" fmla="*/ 0 h 409"/>
              <a:gd name="T12" fmla="*/ 207 w 552"/>
              <a:gd name="T13" fmla="*/ 191 h 409"/>
              <a:gd name="T14" fmla="*/ 0 60000 65536"/>
              <a:gd name="T15" fmla="*/ 0 60000 65536"/>
              <a:gd name="T16" fmla="*/ 0 60000 65536"/>
              <a:gd name="T17" fmla="*/ 0 60000 65536"/>
              <a:gd name="T18" fmla="*/ 0 60000 65536"/>
              <a:gd name="T19" fmla="*/ 0 60000 65536"/>
              <a:gd name="T20" fmla="*/ 0 60000 65536"/>
              <a:gd name="T21" fmla="*/ 0 w 552"/>
              <a:gd name="T22" fmla="*/ 0 h 409"/>
              <a:gd name="T23" fmla="*/ 552 w 552"/>
              <a:gd name="T24" fmla="*/ 409 h 40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2" h="409">
                <a:moveTo>
                  <a:pt x="396" y="345"/>
                </a:moveTo>
                <a:cubicBezTo>
                  <a:pt x="396" y="377"/>
                  <a:pt x="396" y="409"/>
                  <a:pt x="396" y="409"/>
                </a:cubicBezTo>
                <a:cubicBezTo>
                  <a:pt x="396" y="409"/>
                  <a:pt x="474" y="350"/>
                  <a:pt x="552" y="291"/>
                </a:cubicBezTo>
                <a:cubicBezTo>
                  <a:pt x="552" y="291"/>
                  <a:pt x="474" y="220"/>
                  <a:pt x="397" y="150"/>
                </a:cubicBezTo>
                <a:cubicBezTo>
                  <a:pt x="397" y="150"/>
                  <a:pt x="396" y="183"/>
                  <a:pt x="396" y="217"/>
                </a:cubicBezTo>
                <a:cubicBezTo>
                  <a:pt x="89" y="194"/>
                  <a:pt x="75" y="0"/>
                  <a:pt x="75" y="0"/>
                </a:cubicBezTo>
                <a:cubicBezTo>
                  <a:pt x="75" y="0"/>
                  <a:pt x="0" y="297"/>
                  <a:pt x="396" y="345"/>
                </a:cubicBezTo>
                <a:close/>
              </a:path>
            </a:pathLst>
          </a:custGeom>
          <a:solidFill>
            <a:schemeClr val="tx2"/>
          </a:solidFill>
          <a:ln w="9525" cap="flat" cmpd="sng">
            <a:noFill/>
            <a:prstDash val="solid"/>
            <a:round/>
            <a:headEnd/>
            <a:tailEnd/>
          </a:ln>
        </p:spPr>
        <p:txBody>
          <a:bodyPr lIns="6350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92" name="Freeform 6"/>
          <p:cNvSpPr>
            <a:spLocks noChangeAspect="1"/>
          </p:cNvSpPr>
          <p:nvPr/>
        </p:nvSpPr>
        <p:spPr bwMode="auto">
          <a:xfrm rot="13104635" flipH="1" flipV="1">
            <a:off x="2162468" y="3989217"/>
            <a:ext cx="697022" cy="651758"/>
          </a:xfrm>
          <a:custGeom>
            <a:avLst/>
            <a:gdLst>
              <a:gd name="T0" fmla="*/ 207 w 552"/>
              <a:gd name="T1" fmla="*/ 191 h 409"/>
              <a:gd name="T2" fmla="*/ 207 w 552"/>
              <a:gd name="T3" fmla="*/ 227 h 409"/>
              <a:gd name="T4" fmla="*/ 289 w 552"/>
              <a:gd name="T5" fmla="*/ 161 h 409"/>
              <a:gd name="T6" fmla="*/ 208 w 552"/>
              <a:gd name="T7" fmla="*/ 83 h 409"/>
              <a:gd name="T8" fmla="*/ 207 w 552"/>
              <a:gd name="T9" fmla="*/ 120 h 409"/>
              <a:gd name="T10" fmla="*/ 39 w 552"/>
              <a:gd name="T11" fmla="*/ 0 h 409"/>
              <a:gd name="T12" fmla="*/ 207 w 552"/>
              <a:gd name="T13" fmla="*/ 191 h 409"/>
              <a:gd name="T14" fmla="*/ 0 60000 65536"/>
              <a:gd name="T15" fmla="*/ 0 60000 65536"/>
              <a:gd name="T16" fmla="*/ 0 60000 65536"/>
              <a:gd name="T17" fmla="*/ 0 60000 65536"/>
              <a:gd name="T18" fmla="*/ 0 60000 65536"/>
              <a:gd name="T19" fmla="*/ 0 60000 65536"/>
              <a:gd name="T20" fmla="*/ 0 60000 65536"/>
              <a:gd name="T21" fmla="*/ 0 w 552"/>
              <a:gd name="T22" fmla="*/ 0 h 409"/>
              <a:gd name="T23" fmla="*/ 552 w 552"/>
              <a:gd name="T24" fmla="*/ 409 h 40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2" h="409">
                <a:moveTo>
                  <a:pt x="396" y="345"/>
                </a:moveTo>
                <a:cubicBezTo>
                  <a:pt x="396" y="377"/>
                  <a:pt x="396" y="409"/>
                  <a:pt x="396" y="409"/>
                </a:cubicBezTo>
                <a:cubicBezTo>
                  <a:pt x="396" y="409"/>
                  <a:pt x="474" y="350"/>
                  <a:pt x="552" y="291"/>
                </a:cubicBezTo>
                <a:cubicBezTo>
                  <a:pt x="552" y="291"/>
                  <a:pt x="474" y="220"/>
                  <a:pt x="397" y="150"/>
                </a:cubicBezTo>
                <a:cubicBezTo>
                  <a:pt x="397" y="150"/>
                  <a:pt x="396" y="183"/>
                  <a:pt x="396" y="217"/>
                </a:cubicBezTo>
                <a:cubicBezTo>
                  <a:pt x="89" y="194"/>
                  <a:pt x="75" y="0"/>
                  <a:pt x="75" y="0"/>
                </a:cubicBezTo>
                <a:cubicBezTo>
                  <a:pt x="75" y="0"/>
                  <a:pt x="0" y="297"/>
                  <a:pt x="396" y="345"/>
                </a:cubicBezTo>
                <a:close/>
              </a:path>
            </a:pathLst>
          </a:custGeom>
          <a:ln>
            <a:headEnd/>
            <a:tailEnd/>
          </a:ln>
        </p:spPr>
        <p:style>
          <a:lnRef idx="1">
            <a:schemeClr val="accent2"/>
          </a:lnRef>
          <a:fillRef idx="3">
            <a:schemeClr val="accent2"/>
          </a:fillRef>
          <a:effectRef idx="2">
            <a:schemeClr val="accent2"/>
          </a:effectRef>
          <a:fontRef idx="minor">
            <a:schemeClr val="lt1"/>
          </a:fontRef>
        </p:style>
        <p:txBody>
          <a:bodyPr lIns="6350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sp>
        <p:nvSpPr>
          <p:cNvPr id="191" name="Freeform 6"/>
          <p:cNvSpPr>
            <a:spLocks noChangeAspect="1"/>
          </p:cNvSpPr>
          <p:nvPr/>
        </p:nvSpPr>
        <p:spPr bwMode="auto">
          <a:xfrm rot="14707544" flipH="1">
            <a:off x="5923667" y="2229225"/>
            <a:ext cx="697022" cy="629824"/>
          </a:xfrm>
          <a:custGeom>
            <a:avLst/>
            <a:gdLst>
              <a:gd name="T0" fmla="*/ 207 w 552"/>
              <a:gd name="T1" fmla="*/ 191 h 409"/>
              <a:gd name="T2" fmla="*/ 207 w 552"/>
              <a:gd name="T3" fmla="*/ 227 h 409"/>
              <a:gd name="T4" fmla="*/ 289 w 552"/>
              <a:gd name="T5" fmla="*/ 161 h 409"/>
              <a:gd name="T6" fmla="*/ 208 w 552"/>
              <a:gd name="T7" fmla="*/ 83 h 409"/>
              <a:gd name="T8" fmla="*/ 207 w 552"/>
              <a:gd name="T9" fmla="*/ 120 h 409"/>
              <a:gd name="T10" fmla="*/ 39 w 552"/>
              <a:gd name="T11" fmla="*/ 0 h 409"/>
              <a:gd name="T12" fmla="*/ 207 w 552"/>
              <a:gd name="T13" fmla="*/ 191 h 409"/>
              <a:gd name="T14" fmla="*/ 0 60000 65536"/>
              <a:gd name="T15" fmla="*/ 0 60000 65536"/>
              <a:gd name="T16" fmla="*/ 0 60000 65536"/>
              <a:gd name="T17" fmla="*/ 0 60000 65536"/>
              <a:gd name="T18" fmla="*/ 0 60000 65536"/>
              <a:gd name="T19" fmla="*/ 0 60000 65536"/>
              <a:gd name="T20" fmla="*/ 0 60000 65536"/>
              <a:gd name="T21" fmla="*/ 0 w 552"/>
              <a:gd name="T22" fmla="*/ 0 h 409"/>
              <a:gd name="T23" fmla="*/ 552 w 552"/>
              <a:gd name="T24" fmla="*/ 409 h 40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2" h="409">
                <a:moveTo>
                  <a:pt x="396" y="345"/>
                </a:moveTo>
                <a:cubicBezTo>
                  <a:pt x="396" y="377"/>
                  <a:pt x="396" y="409"/>
                  <a:pt x="396" y="409"/>
                </a:cubicBezTo>
                <a:cubicBezTo>
                  <a:pt x="396" y="409"/>
                  <a:pt x="474" y="350"/>
                  <a:pt x="552" y="291"/>
                </a:cubicBezTo>
                <a:cubicBezTo>
                  <a:pt x="552" y="291"/>
                  <a:pt x="474" y="220"/>
                  <a:pt x="397" y="150"/>
                </a:cubicBezTo>
                <a:cubicBezTo>
                  <a:pt x="397" y="150"/>
                  <a:pt x="396" y="183"/>
                  <a:pt x="396" y="217"/>
                </a:cubicBezTo>
                <a:cubicBezTo>
                  <a:pt x="89" y="194"/>
                  <a:pt x="75" y="0"/>
                  <a:pt x="75" y="0"/>
                </a:cubicBezTo>
                <a:cubicBezTo>
                  <a:pt x="75" y="0"/>
                  <a:pt x="0" y="297"/>
                  <a:pt x="396" y="345"/>
                </a:cubicBezTo>
                <a:close/>
              </a:path>
            </a:pathLst>
          </a:custGeom>
          <a:solidFill>
            <a:schemeClr val="tx2"/>
          </a:solidFill>
          <a:ln w="9525" cap="flat" cmpd="sng">
            <a:noFill/>
            <a:prstDash val="solid"/>
            <a:round/>
            <a:headEnd/>
            <a:tailEnd/>
          </a:ln>
        </p:spPr>
        <p:txBody>
          <a:bodyPr lIns="63500" tIns="0" rIns="0" bIns="0"/>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smtClean="0">
              <a:ln>
                <a:noFill/>
              </a:ln>
              <a:solidFill>
                <a:sysClr val="windowText" lastClr="000000"/>
              </a:solidFill>
              <a:effectLst/>
              <a:uLnTx/>
              <a:uFillTx/>
            </a:endParaRPr>
          </a:p>
        </p:txBody>
      </p:sp>
      <p:grpSp>
        <p:nvGrpSpPr>
          <p:cNvPr id="111" name="Group 110"/>
          <p:cNvGrpSpPr/>
          <p:nvPr>
            <p:custDataLst>
              <p:tags r:id="rId6"/>
            </p:custDataLst>
          </p:nvPr>
        </p:nvGrpSpPr>
        <p:grpSpPr>
          <a:xfrm>
            <a:off x="5283980" y="704088"/>
            <a:ext cx="4236835" cy="138499"/>
            <a:chOff x="5283980" y="704088"/>
            <a:chExt cx="4236835" cy="138499"/>
          </a:xfrm>
        </p:grpSpPr>
        <p:sp>
          <p:nvSpPr>
            <p:cNvPr id="112" name="745">
              <a:hlinkClick r:id="rId13" action="ppaction://hlinksldjump"/>
            </p:cNvPr>
            <p:cNvSpPr txBox="1"/>
            <p:nvPr>
              <p:custDataLst>
                <p:tags r:id="rId7"/>
              </p:custDataLst>
            </p:nvPr>
          </p:nvSpPr>
          <p:spPr>
            <a:xfrm>
              <a:off x="7868824" y="704088"/>
              <a:ext cx="1651991" cy="138499"/>
            </a:xfrm>
            <a:prstGeom prst="rect">
              <a:avLst/>
            </a:prstGeom>
            <a:noFill/>
            <a:ln>
              <a:noFill/>
            </a:ln>
          </p:spPr>
          <p:txBody>
            <a:bodyPr wrap="none" lIns="27432" tIns="0" rIns="27432" bIns="0" rtlCol="0">
              <a:spAutoFit/>
            </a:bodyPr>
            <a:lstStyle/>
            <a:p>
              <a:r>
                <a:rPr lang="en-US" sz="900" noProof="1" smtClean="0">
                  <a:solidFill>
                    <a:schemeClr val="tx1"/>
                  </a:solidFill>
                  <a:latin typeface="+mn-lt"/>
                  <a:cs typeface="Arial" pitchFamily="34" charset="0"/>
                </a:rPr>
                <a:t>Part II  Indirect Equity Transfer </a:t>
              </a:r>
              <a:endParaRPr lang="en-GB" sz="900" noProof="1" smtClean="0">
                <a:solidFill>
                  <a:schemeClr val="tx1"/>
                </a:solidFill>
                <a:latin typeface="+mn-lt"/>
                <a:cs typeface="Arial" pitchFamily="34" charset="0"/>
              </a:endParaRPr>
            </a:p>
          </p:txBody>
        </p:sp>
        <p:cxnSp>
          <p:nvCxnSpPr>
            <p:cNvPr id="113" name="Divider1"/>
            <p:cNvCxnSpPr/>
            <p:nvPr>
              <p:custDataLst>
                <p:tags r:id="rId8"/>
              </p:custDataLst>
            </p:nvPr>
          </p:nvCxnSpPr>
          <p:spPr>
            <a:xfrm>
              <a:off x="7843424"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14" name="638">
              <a:hlinkClick r:id="rId14" action="ppaction://hlinksldjump"/>
            </p:cNvPr>
            <p:cNvSpPr txBox="1"/>
            <p:nvPr>
              <p:custDataLst>
                <p:tags r:id="rId9"/>
              </p:custDataLst>
            </p:nvPr>
          </p:nvSpPr>
          <p:spPr>
            <a:xfrm>
              <a:off x="5787725" y="704088"/>
              <a:ext cx="2030299" cy="138499"/>
            </a:xfrm>
            <a:prstGeom prst="rect">
              <a:avLst/>
            </a:prstGeom>
            <a:noFill/>
            <a:ln>
              <a:noFill/>
            </a:ln>
          </p:spPr>
          <p:txBody>
            <a:bodyPr wrap="none" lIns="27432" tIns="0" rIns="27432" bIns="0" rtlCol="0">
              <a:spAutoFit/>
            </a:bodyPr>
            <a:lstStyle/>
            <a:p>
              <a:r>
                <a:rPr lang="en-US" sz="900" noProof="1" smtClean="0">
                  <a:solidFill>
                    <a:schemeClr val="tx2"/>
                  </a:solidFill>
                  <a:cs typeface="Arial" pitchFamily="34" charset="0"/>
                </a:rPr>
                <a:t>Part I  Brief Introduction to PRC GAAR</a:t>
              </a:r>
              <a:endParaRPr lang="en-GB" sz="900" noProof="1" smtClean="0">
                <a:solidFill>
                  <a:schemeClr val="tx2"/>
                </a:solidFill>
                <a:cs typeface="Arial" pitchFamily="34" charset="0"/>
              </a:endParaRPr>
            </a:p>
          </p:txBody>
        </p:sp>
        <p:cxnSp>
          <p:nvCxnSpPr>
            <p:cNvPr id="115" name="Divider2"/>
            <p:cNvCxnSpPr/>
            <p:nvPr>
              <p:custDataLst>
                <p:tags r:id="rId10"/>
              </p:custDataLst>
            </p:nvPr>
          </p:nvCxnSpPr>
          <p:spPr>
            <a:xfrm>
              <a:off x="5762325"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16" name="735">
              <a:hlinkClick r:id="rId15" action="ppaction://hlinksldjump"/>
            </p:cNvPr>
            <p:cNvSpPr txBox="1"/>
            <p:nvPr>
              <p:custDataLst>
                <p:tags r:id="rId11"/>
              </p:custDataLst>
            </p:nvPr>
          </p:nvSpPr>
          <p:spPr>
            <a:xfrm>
              <a:off x="5283980" y="704088"/>
              <a:ext cx="452945" cy="138499"/>
            </a:xfrm>
            <a:prstGeom prst="rect">
              <a:avLst/>
            </a:prstGeom>
            <a:noFill/>
            <a:ln>
              <a:noFill/>
            </a:ln>
          </p:spPr>
          <p:txBody>
            <a:bodyPr wrap="none" lIns="27432" tIns="0" rIns="27432" bIns="0" rtlCol="0">
              <a:spAutoFit/>
            </a:bodyPr>
            <a:lstStyle/>
            <a:p>
              <a:r>
                <a:rPr lang="en-GB" sz="900" noProof="1" smtClean="0">
                  <a:solidFill>
                    <a:schemeClr val="tx1"/>
                  </a:solidFill>
                  <a:latin typeface="+mn-lt"/>
                  <a:cs typeface="Arial" pitchFamily="34" charset="0"/>
                </a:rPr>
                <a:t>Agenda</a:t>
              </a:r>
              <a:endParaRPr lang="en-GB" sz="900" noProof="1" smtClean="0">
                <a:solidFill>
                  <a:schemeClr val="tx1"/>
                </a:solidFill>
                <a:latin typeface="+mn-lt"/>
                <a:cs typeface="Arial" pitchFamily="34" charset="0"/>
              </a:endParaRPr>
            </a:p>
          </p:txBody>
        </p:sp>
      </p:grpSp>
    </p:spTree>
    <p:custDataLst>
      <p:tags r:id="rId1"/>
    </p:custDataLst>
    <p:extLst>
      <p:ext uri="{BB962C8B-B14F-4D97-AF65-F5344CB8AC3E}">
        <p14:creationId xmlns:p14="http://schemas.microsoft.com/office/powerpoint/2010/main" val="364597317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en-GB"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sp>
        <p:nvSpPr>
          <p:cNvPr id="3" name="Title 2"/>
          <p:cNvSpPr>
            <a:spLocks noGrp="1"/>
          </p:cNvSpPr>
          <p:nvPr>
            <p:ph type="title"/>
          </p:nvPr>
        </p:nvSpPr>
        <p:spPr/>
        <p:txBody>
          <a:bodyPr/>
          <a:lstStyle/>
          <a:p>
            <a:r>
              <a:rPr lang="en-GB" altLang="zh-CN" dirty="0" smtClean="0">
                <a:ea typeface="宋体" panose="02010600030101010101" pitchFamily="2" charset="-122"/>
              </a:rPr>
              <a:t>Key Principles</a:t>
            </a:r>
            <a:br>
              <a:rPr lang="en-GB" altLang="zh-CN" dirty="0" smtClean="0">
                <a:ea typeface="宋体" panose="02010600030101010101" pitchFamily="2" charset="-122"/>
              </a:rPr>
            </a:br>
            <a:r>
              <a:rPr lang="en-GB" altLang="zh-CN" dirty="0" smtClean="0">
                <a:ea typeface="宋体" panose="02010600030101010101" pitchFamily="2" charset="-122"/>
              </a:rPr>
              <a:t> - Circular No.2 &amp; the GAAR Measures </a:t>
            </a:r>
            <a:endParaRPr lang="en-GB" b="0" i="0" dirty="0">
              <a:ea typeface="宋体" panose="02010600030101010101" pitchFamily="2" charset="-122"/>
            </a:endParaRPr>
          </a:p>
        </p:txBody>
      </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en-GB" sz="1100" noProof="1" smtClean="0"/>
              <a:t>5</a:t>
            </a:r>
            <a:endParaRPr lang="en-GB" sz="1100" noProof="1" smtClean="0"/>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en-GB" altLang="zh-CN" sz="1100" noProof="1" smtClean="0">
                <a:solidFill>
                  <a:schemeClr val="tx1"/>
                </a:solidFill>
                <a:latin typeface="宋体" panose="02010600030101010101" pitchFamily="2" charset="-122"/>
                <a:ea typeface="宋体" panose="02010600030101010101" pitchFamily="2" charset="-122"/>
              </a:rPr>
              <a:t>Overview of PRC GAAR</a:t>
            </a:r>
            <a:endParaRPr lang="en-GB" sz="1100" noProof="1" smtClean="0">
              <a:solidFill>
                <a:schemeClr val="tx1"/>
              </a:solidFill>
              <a:latin typeface="宋体" panose="02010600030101010101" pitchFamily="2" charset="-122"/>
              <a:ea typeface="宋体" panose="02010600030101010101" pitchFamily="2" charset="-122"/>
            </a:endParaRP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en-GB" altLang="zh-CN" sz="900" noProof="1" smtClean="0">
                <a:solidFill>
                  <a:schemeClr val="tx1"/>
                </a:solidFill>
              </a:rPr>
              <a:t>-1 Part I  Brief Introduction to PRC GAAR</a:t>
            </a:r>
            <a:endParaRPr lang="en-GB" sz="900" noProof="1" smtClean="0">
              <a:solidFill>
                <a:schemeClr val="tx1"/>
              </a:solidFill>
            </a:endParaRPr>
          </a:p>
        </p:txBody>
      </p:sp>
      <p:sp>
        <p:nvSpPr>
          <p:cNvPr id="63" name="AutoShape 5"/>
          <p:cNvSpPr>
            <a:spLocks noChangeArrowheads="1"/>
          </p:cNvSpPr>
          <p:nvPr/>
        </p:nvSpPr>
        <p:spPr bwMode="gray">
          <a:xfrm rot="16200000" flipH="1">
            <a:off x="1196649" y="1336572"/>
            <a:ext cx="754036" cy="2303472"/>
          </a:xfrm>
          <a:prstGeom prst="homePlate">
            <a:avLst>
              <a:gd name="adj" fmla="val 41986"/>
            </a:avLst>
          </a:prstGeom>
          <a:ln>
            <a:headEnd/>
            <a:tailEnd/>
          </a:ln>
        </p:spPr>
        <p:style>
          <a:lnRef idx="1">
            <a:schemeClr val="accent4"/>
          </a:lnRef>
          <a:fillRef idx="3">
            <a:schemeClr val="accent4"/>
          </a:fillRef>
          <a:effectRef idx="2">
            <a:schemeClr val="accent4"/>
          </a:effectRef>
          <a:fontRef idx="minor">
            <a:schemeClr val="lt1"/>
          </a:fontRef>
        </p:style>
        <p:txBody>
          <a:bodyPr vert="eaVert" wrap="none" lIns="45720" rIns="45720" anchor="ctr" anchorCtr="1"/>
          <a:lstStyle/>
          <a:p>
            <a:r>
              <a:rPr lang="en-GB" sz="1200" b="1" dirty="0" smtClean="0">
                <a:solidFill>
                  <a:schemeClr val="bg2"/>
                </a:solidFill>
                <a:latin typeface="+mj-lt"/>
                <a:ea typeface="宋体" panose="02010600030101010101" pitchFamily="2" charset="-122"/>
              </a:rPr>
              <a:t>Features</a:t>
            </a:r>
            <a:r>
              <a:rPr lang="en-GB" sz="1400" b="1" dirty="0" smtClean="0">
                <a:solidFill>
                  <a:schemeClr val="bg2"/>
                </a:solidFill>
                <a:latin typeface="+mj-lt"/>
                <a:ea typeface="宋体" panose="02010600030101010101" pitchFamily="2" charset="-122"/>
              </a:rPr>
              <a:t> </a:t>
            </a:r>
            <a:r>
              <a:rPr lang="en-GB" sz="1200" b="1" dirty="0" smtClean="0">
                <a:solidFill>
                  <a:schemeClr val="bg2"/>
                </a:solidFill>
                <a:latin typeface="+mj-lt"/>
                <a:ea typeface="宋体" panose="02010600030101010101" pitchFamily="2" charset="-122"/>
              </a:rPr>
              <a:t>of Tax Avoidance</a:t>
            </a:r>
            <a:endParaRPr lang="en-GB" sz="1050" b="1" i="1" dirty="0">
              <a:solidFill>
                <a:schemeClr val="bg2"/>
              </a:solidFill>
              <a:latin typeface="+mj-lt"/>
            </a:endParaRPr>
          </a:p>
        </p:txBody>
      </p:sp>
      <p:sp>
        <p:nvSpPr>
          <p:cNvPr id="64" name="AutoShape 5"/>
          <p:cNvSpPr>
            <a:spLocks noChangeArrowheads="1"/>
          </p:cNvSpPr>
          <p:nvPr/>
        </p:nvSpPr>
        <p:spPr bwMode="gray">
          <a:xfrm rot="16200000" flipH="1">
            <a:off x="5845166" y="1370448"/>
            <a:ext cx="769192" cy="2235727"/>
          </a:xfrm>
          <a:prstGeom prst="homePlate">
            <a:avLst>
              <a:gd name="adj" fmla="val 41986"/>
            </a:avLst>
          </a:prstGeom>
          <a:ln>
            <a:headEnd/>
            <a:tailEnd/>
          </a:ln>
        </p:spPr>
        <p:style>
          <a:lnRef idx="1">
            <a:schemeClr val="accent6"/>
          </a:lnRef>
          <a:fillRef idx="3">
            <a:schemeClr val="accent6"/>
          </a:fillRef>
          <a:effectRef idx="2">
            <a:schemeClr val="accent6"/>
          </a:effectRef>
          <a:fontRef idx="minor">
            <a:schemeClr val="lt1"/>
          </a:fontRef>
        </p:style>
        <p:txBody>
          <a:bodyPr vert="eaVert" wrap="none" lIns="45720" rIns="45720" anchor="ctr" anchorCtr="1"/>
          <a:lstStyle/>
          <a:p>
            <a:r>
              <a:rPr lang="en-GB" sz="1200" b="1" dirty="0" smtClean="0">
                <a:solidFill>
                  <a:schemeClr val="bg2"/>
                </a:solidFill>
                <a:latin typeface="+mj-lt"/>
                <a:ea typeface="宋体" panose="02010600030101010101" pitchFamily="2" charset="-122"/>
              </a:rPr>
              <a:t>Adjustments</a:t>
            </a:r>
          </a:p>
          <a:p>
            <a:endParaRPr lang="en-GB" sz="1400" b="1" dirty="0">
              <a:solidFill>
                <a:schemeClr val="bg2"/>
              </a:solidFill>
              <a:latin typeface="宋体" panose="02010600030101010101" pitchFamily="2" charset="-122"/>
              <a:ea typeface="宋体" panose="02010600030101010101" pitchFamily="2" charset="-122"/>
            </a:endParaRPr>
          </a:p>
        </p:txBody>
      </p:sp>
      <p:sp>
        <p:nvSpPr>
          <p:cNvPr id="65" name="AutoShape 5"/>
          <p:cNvSpPr>
            <a:spLocks noChangeArrowheads="1"/>
          </p:cNvSpPr>
          <p:nvPr/>
        </p:nvSpPr>
        <p:spPr bwMode="gray">
          <a:xfrm rot="16200000" flipH="1">
            <a:off x="3529904" y="1369703"/>
            <a:ext cx="769192" cy="2258084"/>
          </a:xfrm>
          <a:prstGeom prst="homePlate">
            <a:avLst>
              <a:gd name="adj" fmla="val 41986"/>
            </a:avLst>
          </a:prstGeom>
          <a:ln>
            <a:headEnd/>
            <a:tailEnd/>
          </a:ln>
        </p:spPr>
        <p:style>
          <a:lnRef idx="1">
            <a:schemeClr val="accent1"/>
          </a:lnRef>
          <a:fillRef idx="3">
            <a:schemeClr val="accent1"/>
          </a:fillRef>
          <a:effectRef idx="2">
            <a:schemeClr val="accent1"/>
          </a:effectRef>
          <a:fontRef idx="minor">
            <a:schemeClr val="lt1"/>
          </a:fontRef>
        </p:style>
        <p:txBody>
          <a:bodyPr vert="eaVert" wrap="none" lIns="45720" rIns="45720" anchor="ctr" anchorCtr="1"/>
          <a:lstStyle/>
          <a:p>
            <a:endParaRPr lang="en-GB" sz="1200" b="1" dirty="0" smtClean="0">
              <a:solidFill>
                <a:schemeClr val="bg2"/>
              </a:solidFill>
              <a:latin typeface="+mj-lt"/>
              <a:ea typeface="宋体" panose="02010600030101010101" pitchFamily="2" charset="-122"/>
            </a:endParaRPr>
          </a:p>
          <a:p>
            <a:r>
              <a:rPr lang="en-GB" sz="1200" b="1" dirty="0" smtClean="0">
                <a:solidFill>
                  <a:schemeClr val="bg2"/>
                </a:solidFill>
                <a:latin typeface="+mj-lt"/>
                <a:ea typeface="宋体" panose="02010600030101010101" pitchFamily="2" charset="-122"/>
              </a:rPr>
              <a:t>Business Purpose and </a:t>
            </a:r>
          </a:p>
          <a:p>
            <a:r>
              <a:rPr lang="en-GB" sz="1200" b="1" dirty="0" smtClean="0">
                <a:solidFill>
                  <a:schemeClr val="bg2"/>
                </a:solidFill>
                <a:latin typeface="+mj-lt"/>
                <a:ea typeface="宋体" panose="02010600030101010101" pitchFamily="2" charset="-122"/>
              </a:rPr>
              <a:t>Economic Substance</a:t>
            </a:r>
          </a:p>
          <a:p>
            <a:endParaRPr lang="en-GB" sz="1400" b="1" dirty="0">
              <a:solidFill>
                <a:schemeClr val="bg2"/>
              </a:solidFill>
              <a:latin typeface="宋体" panose="02010600030101010101" pitchFamily="2" charset="-122"/>
              <a:ea typeface="宋体" panose="02010600030101010101" pitchFamily="2" charset="-122"/>
            </a:endParaRPr>
          </a:p>
        </p:txBody>
      </p:sp>
      <p:sp>
        <p:nvSpPr>
          <p:cNvPr id="66" name="AutoShape 5"/>
          <p:cNvSpPr>
            <a:spLocks noChangeArrowheads="1"/>
          </p:cNvSpPr>
          <p:nvPr/>
        </p:nvSpPr>
        <p:spPr bwMode="gray">
          <a:xfrm rot="16200000" flipH="1">
            <a:off x="8158493" y="1358425"/>
            <a:ext cx="769192" cy="2235727"/>
          </a:xfrm>
          <a:prstGeom prst="homePlate">
            <a:avLst>
              <a:gd name="adj" fmla="val 41986"/>
            </a:avLst>
          </a:prstGeom>
          <a:gradFill flip="none" rotWithShape="1">
            <a:gsLst>
              <a:gs pos="0">
                <a:schemeClr val="accent4">
                  <a:lumMod val="75000"/>
                  <a:shade val="30000"/>
                  <a:satMod val="115000"/>
                </a:schemeClr>
              </a:gs>
              <a:gs pos="50000">
                <a:schemeClr val="accent4">
                  <a:lumMod val="75000"/>
                  <a:shade val="67500"/>
                  <a:satMod val="115000"/>
                </a:schemeClr>
              </a:gs>
              <a:gs pos="100000">
                <a:schemeClr val="accent4">
                  <a:lumMod val="75000"/>
                  <a:shade val="100000"/>
                  <a:satMod val="115000"/>
                </a:schemeClr>
              </a:gs>
            </a:gsLst>
            <a:lin ang="5400000" scaled="1"/>
            <a:tileRect/>
          </a:gradFill>
          <a:ln w="6350">
            <a:noFill/>
            <a:miter lim="800000"/>
            <a:headEnd/>
            <a:tailEnd/>
          </a:ln>
          <a:effectLst/>
        </p:spPr>
        <p:txBody>
          <a:bodyPr vert="eaVert" wrap="none" lIns="45720" rIns="45720" anchor="ctr" anchorCtr="1"/>
          <a:lstStyle/>
          <a:p>
            <a:r>
              <a:rPr lang="en-GB" sz="1200" b="1" dirty="0" smtClean="0">
                <a:solidFill>
                  <a:schemeClr val="bg2"/>
                </a:solidFill>
                <a:latin typeface="+mj-lt"/>
                <a:ea typeface="宋体" panose="02010600030101010101" pitchFamily="2" charset="-122"/>
              </a:rPr>
              <a:t>Last Resort</a:t>
            </a:r>
          </a:p>
          <a:p>
            <a:endParaRPr lang="en-GB" sz="1400" b="1" dirty="0">
              <a:solidFill>
                <a:schemeClr val="bg2"/>
              </a:solidFill>
              <a:latin typeface="宋体" panose="02010600030101010101" pitchFamily="2" charset="-122"/>
              <a:ea typeface="宋体" panose="02010600030101010101" pitchFamily="2" charset="-122"/>
            </a:endParaRPr>
          </a:p>
        </p:txBody>
      </p:sp>
      <p:sp>
        <p:nvSpPr>
          <p:cNvPr id="67" name="Freeform 6"/>
          <p:cNvSpPr>
            <a:spLocks/>
          </p:cNvSpPr>
          <p:nvPr/>
        </p:nvSpPr>
        <p:spPr bwMode="gray">
          <a:xfrm>
            <a:off x="2777224" y="2616529"/>
            <a:ext cx="2239129" cy="4399431"/>
          </a:xfrm>
          <a:custGeom>
            <a:avLst/>
            <a:gdLst/>
            <a:ahLst/>
            <a:cxnLst>
              <a:cxn ang="0">
                <a:pos x="4" y="0"/>
              </a:cxn>
              <a:cxn ang="0">
                <a:pos x="797" y="127"/>
              </a:cxn>
              <a:cxn ang="0">
                <a:pos x="1589" y="0"/>
              </a:cxn>
              <a:cxn ang="0">
                <a:pos x="1589" y="1900"/>
              </a:cxn>
              <a:cxn ang="0">
                <a:pos x="0" y="1900"/>
              </a:cxn>
              <a:cxn ang="0">
                <a:pos x="24" y="1900"/>
              </a:cxn>
              <a:cxn ang="0">
                <a:pos x="8" y="1900"/>
              </a:cxn>
              <a:cxn ang="0">
                <a:pos x="4" y="1900"/>
              </a:cxn>
              <a:cxn ang="0">
                <a:pos x="4" y="0"/>
              </a:cxn>
            </a:cxnLst>
            <a:rect l="0" t="0" r="r" b="b"/>
            <a:pathLst>
              <a:path w="1590" h="1901">
                <a:moveTo>
                  <a:pt x="4" y="0"/>
                </a:moveTo>
                <a:lnTo>
                  <a:pt x="797" y="127"/>
                </a:lnTo>
                <a:lnTo>
                  <a:pt x="1589" y="0"/>
                </a:lnTo>
                <a:lnTo>
                  <a:pt x="1589" y="1900"/>
                </a:lnTo>
                <a:lnTo>
                  <a:pt x="0" y="1900"/>
                </a:lnTo>
                <a:lnTo>
                  <a:pt x="24" y="1900"/>
                </a:lnTo>
                <a:lnTo>
                  <a:pt x="8" y="1900"/>
                </a:lnTo>
                <a:lnTo>
                  <a:pt x="4" y="1900"/>
                </a:lnTo>
                <a:lnTo>
                  <a:pt x="4" y="0"/>
                </a:lnTo>
              </a:path>
            </a:pathLst>
          </a:custGeom>
          <a:solidFill>
            <a:schemeClr val="bg1"/>
          </a:solidFill>
          <a:ln w="12700" cap="rnd" cmpd="sng">
            <a:solidFill>
              <a:schemeClr val="accent1"/>
            </a:solidFill>
            <a:prstDash val="solid"/>
            <a:round/>
            <a:headEnd type="none" w="med" len="med"/>
            <a:tailEnd type="none" w="med" len="med"/>
          </a:ln>
          <a:effectLst/>
        </p:spPr>
        <p:txBody>
          <a:bodyPr lIns="45720" rIns="45720"/>
          <a:lstStyle/>
          <a:p>
            <a:pPr marL="171450" indent="-171450">
              <a:buFont typeface="Arial" panose="020B0604020202020204" pitchFamily="34" charset="0"/>
              <a:buChar char="•"/>
            </a:pPr>
            <a:endParaRPr lang="en-US" altLang="zh-CN" dirty="0" smtClean="0">
              <a:latin typeface="宋体" panose="02010600030101010101" pitchFamily="2" charset="-122"/>
              <a:ea typeface="宋体" panose="02010600030101010101" pitchFamily="2" charset="-122"/>
            </a:endParaRPr>
          </a:p>
          <a:p>
            <a:pPr marL="171450" indent="-171450">
              <a:buFont typeface="Arial" panose="020B0604020202020204" pitchFamily="34" charset="0"/>
              <a:buChar char="•"/>
            </a:pPr>
            <a:endParaRPr lang="en-US" altLang="zh-CN" dirty="0">
              <a:latin typeface="宋体" panose="02010600030101010101" pitchFamily="2" charset="-122"/>
              <a:ea typeface="宋体" panose="02010600030101010101" pitchFamily="2" charset="-122"/>
            </a:endParaRPr>
          </a:p>
          <a:p>
            <a:pPr marL="171450" indent="-171450">
              <a:buFont typeface="Arial" panose="020B0604020202020204" pitchFamily="34" charset="0"/>
              <a:buChar char="•"/>
            </a:pPr>
            <a:r>
              <a:rPr lang="en-US" altLang="zh-CN" sz="1150" dirty="0" smtClean="0">
                <a:latin typeface="+mj-lt"/>
                <a:ea typeface="宋体" panose="02010600030101010101" pitchFamily="2" charset="-122"/>
              </a:rPr>
              <a:t>Tax authorities shall follow the principle of </a:t>
            </a:r>
            <a:r>
              <a:rPr lang="en-US" altLang="zh-CN" sz="1150" b="1" dirty="0" smtClean="0">
                <a:latin typeface="+mj-lt"/>
                <a:ea typeface="宋体" panose="02010600030101010101" pitchFamily="2" charset="-122"/>
              </a:rPr>
              <a:t>Substance </a:t>
            </a:r>
            <a:r>
              <a:rPr lang="en-US" altLang="zh-CN" sz="1150" b="1" dirty="0" smtClean="0">
                <a:latin typeface="+mj-lt"/>
                <a:ea typeface="宋体" panose="02010600030101010101" pitchFamily="2" charset="-122"/>
              </a:rPr>
              <a:t>Over</a:t>
            </a:r>
            <a:r>
              <a:rPr lang="en-US" altLang="zh-CN" sz="1150" dirty="0" smtClean="0">
                <a:latin typeface="+mj-lt"/>
                <a:ea typeface="宋体" panose="02010600030101010101" pitchFamily="2" charset="-122"/>
              </a:rPr>
              <a:t> </a:t>
            </a:r>
            <a:r>
              <a:rPr lang="en-US" altLang="zh-CN" sz="1150" b="1" dirty="0" smtClean="0">
                <a:latin typeface="+mj-lt"/>
                <a:ea typeface="宋体" panose="02010600030101010101" pitchFamily="2" charset="-122"/>
              </a:rPr>
              <a:t>Form</a:t>
            </a:r>
            <a:r>
              <a:rPr lang="en-US" altLang="zh-CN" sz="1150" dirty="0" smtClean="0">
                <a:latin typeface="+mj-lt"/>
                <a:ea typeface="宋体" panose="02010600030101010101" pitchFamily="2" charset="-122"/>
              </a:rPr>
              <a:t> </a:t>
            </a:r>
            <a:r>
              <a:rPr lang="en-US" altLang="zh-CN" sz="1150" dirty="0" smtClean="0">
                <a:latin typeface="+mj-lt"/>
                <a:ea typeface="宋体" panose="02010600030101010101" pitchFamily="2" charset="-122"/>
              </a:rPr>
              <a:t>in examining the following aspects of an arrangement to decide  whether it is with both reasonable business purpose and matched economic substance:</a:t>
            </a:r>
          </a:p>
          <a:p>
            <a:pPr marL="396000" lvl="1" indent="-285750">
              <a:spcBef>
                <a:spcPts val="600"/>
              </a:spcBef>
              <a:buFont typeface="Wingdings" panose="05000000000000000000" pitchFamily="2" charset="2"/>
              <a:buChar char="Ø"/>
            </a:pPr>
            <a:r>
              <a:rPr lang="en-US" altLang="zh-CN" sz="1150" dirty="0" smtClean="0">
                <a:latin typeface="+mj-lt"/>
                <a:ea typeface="宋体" panose="02010600030101010101" pitchFamily="2" charset="-122"/>
              </a:rPr>
              <a:t>Form and substance</a:t>
            </a:r>
          </a:p>
          <a:p>
            <a:pPr marL="396000" lvl="1" indent="-285750">
              <a:buFont typeface="Wingdings" panose="05000000000000000000" pitchFamily="2" charset="2"/>
              <a:buChar char="Ø"/>
            </a:pPr>
            <a:r>
              <a:rPr lang="en-US" altLang="zh-CN" sz="1150" dirty="0" smtClean="0">
                <a:latin typeface="+mj-lt"/>
                <a:ea typeface="宋体" panose="02010600030101010101" pitchFamily="2" charset="-122"/>
              </a:rPr>
              <a:t>Difference between the time when  a contract is signed and its execution period</a:t>
            </a:r>
          </a:p>
          <a:p>
            <a:pPr marL="396000" lvl="1" indent="-285750">
              <a:buFont typeface="Wingdings" panose="05000000000000000000" pitchFamily="2" charset="2"/>
              <a:buChar char="Ø"/>
            </a:pPr>
            <a:r>
              <a:rPr lang="en-US" altLang="zh-CN" sz="1150" dirty="0" smtClean="0">
                <a:latin typeface="+mj-lt"/>
                <a:ea typeface="宋体" panose="02010600030101010101" pitchFamily="2" charset="-122"/>
              </a:rPr>
              <a:t>How an arrangement is designed</a:t>
            </a:r>
          </a:p>
          <a:p>
            <a:pPr marL="396000" lvl="1" indent="-285750">
              <a:buFont typeface="Wingdings" panose="05000000000000000000" pitchFamily="2" charset="2"/>
              <a:buChar char="Ø"/>
            </a:pPr>
            <a:r>
              <a:rPr lang="en-US" altLang="zh-CN" sz="1150" dirty="0" smtClean="0">
                <a:latin typeface="+mj-lt"/>
                <a:ea typeface="宋体" panose="02010600030101010101" pitchFamily="2" charset="-122"/>
              </a:rPr>
              <a:t>The relationship between different steps and parts</a:t>
            </a:r>
          </a:p>
          <a:p>
            <a:pPr marL="396000" lvl="1" indent="-285750">
              <a:buFont typeface="Wingdings" panose="05000000000000000000" pitchFamily="2" charset="2"/>
              <a:buChar char="Ø"/>
            </a:pPr>
            <a:r>
              <a:rPr lang="en-US" altLang="zh-CN" sz="1150" dirty="0" smtClean="0">
                <a:latin typeface="+mj-lt"/>
                <a:ea typeface="宋体" panose="02010600030101010101" pitchFamily="2" charset="-122"/>
              </a:rPr>
              <a:t>Change of financial situation for parties involved</a:t>
            </a:r>
          </a:p>
          <a:p>
            <a:pPr marL="396000" lvl="1" indent="-285750">
              <a:buFont typeface="Wingdings" panose="05000000000000000000" pitchFamily="2" charset="2"/>
              <a:buChar char="Ø"/>
            </a:pPr>
            <a:r>
              <a:rPr lang="en-US" sz="1150" dirty="0" smtClean="0">
                <a:latin typeface="+mj-lt"/>
                <a:ea typeface="宋体" panose="02010600030101010101" pitchFamily="2" charset="-122"/>
              </a:rPr>
              <a:t>Tax results </a:t>
            </a:r>
            <a:endParaRPr lang="en-US" sz="1150" dirty="0">
              <a:latin typeface="+mj-lt"/>
              <a:ea typeface="宋体" panose="02010600030101010101" pitchFamily="2" charset="-122"/>
            </a:endParaRPr>
          </a:p>
        </p:txBody>
      </p:sp>
      <p:sp>
        <p:nvSpPr>
          <p:cNvPr id="68" name="Freeform 6"/>
          <p:cNvSpPr>
            <a:spLocks/>
          </p:cNvSpPr>
          <p:nvPr/>
        </p:nvSpPr>
        <p:spPr bwMode="gray">
          <a:xfrm>
            <a:off x="7425225" y="2616530"/>
            <a:ext cx="2239129" cy="4399430"/>
          </a:xfrm>
          <a:custGeom>
            <a:avLst/>
            <a:gdLst/>
            <a:ahLst/>
            <a:cxnLst>
              <a:cxn ang="0">
                <a:pos x="4" y="0"/>
              </a:cxn>
              <a:cxn ang="0">
                <a:pos x="797" y="127"/>
              </a:cxn>
              <a:cxn ang="0">
                <a:pos x="1589" y="0"/>
              </a:cxn>
              <a:cxn ang="0">
                <a:pos x="1589" y="1900"/>
              </a:cxn>
              <a:cxn ang="0">
                <a:pos x="0" y="1900"/>
              </a:cxn>
              <a:cxn ang="0">
                <a:pos x="24" y="1900"/>
              </a:cxn>
              <a:cxn ang="0">
                <a:pos x="8" y="1900"/>
              </a:cxn>
              <a:cxn ang="0">
                <a:pos x="4" y="1900"/>
              </a:cxn>
              <a:cxn ang="0">
                <a:pos x="4" y="0"/>
              </a:cxn>
            </a:cxnLst>
            <a:rect l="0" t="0" r="r" b="b"/>
            <a:pathLst>
              <a:path w="1590" h="1901">
                <a:moveTo>
                  <a:pt x="4" y="0"/>
                </a:moveTo>
                <a:lnTo>
                  <a:pt x="797" y="127"/>
                </a:lnTo>
                <a:lnTo>
                  <a:pt x="1589" y="0"/>
                </a:lnTo>
                <a:lnTo>
                  <a:pt x="1589" y="1900"/>
                </a:lnTo>
                <a:lnTo>
                  <a:pt x="0" y="1900"/>
                </a:lnTo>
                <a:lnTo>
                  <a:pt x="24" y="1900"/>
                </a:lnTo>
                <a:lnTo>
                  <a:pt x="8" y="1900"/>
                </a:lnTo>
                <a:lnTo>
                  <a:pt x="4" y="1900"/>
                </a:lnTo>
                <a:lnTo>
                  <a:pt x="4" y="0"/>
                </a:lnTo>
              </a:path>
            </a:pathLst>
          </a:custGeom>
          <a:solidFill>
            <a:schemeClr val="bg1"/>
          </a:solidFill>
          <a:ln w="12700" cap="rnd" cmpd="sng">
            <a:solidFill>
              <a:schemeClr val="accent1"/>
            </a:solidFill>
            <a:prstDash val="solid"/>
            <a:round/>
            <a:headEnd type="none" w="med" len="med"/>
            <a:tailEnd type="none" w="med" len="med"/>
          </a:ln>
          <a:effectLst/>
        </p:spPr>
        <p:txBody>
          <a:bodyPr lIns="45720" rIns="45720"/>
          <a:lstStyle/>
          <a:p>
            <a:pPr marL="171450" indent="-171450">
              <a:buFont typeface="Arial" panose="020B0604020202020204" pitchFamily="34" charset="0"/>
              <a:buChar char="•"/>
            </a:pPr>
            <a:endParaRPr lang="en-US" altLang="zh-CN" dirty="0" smtClean="0">
              <a:latin typeface="宋体" panose="02010600030101010101" pitchFamily="2" charset="-122"/>
              <a:ea typeface="宋体" panose="02010600030101010101" pitchFamily="2" charset="-122"/>
            </a:endParaRPr>
          </a:p>
          <a:p>
            <a:pPr marL="171450" indent="-171450">
              <a:buFont typeface="Arial" panose="020B0604020202020204" pitchFamily="34" charset="0"/>
              <a:buChar char="•"/>
            </a:pPr>
            <a:endParaRPr lang="en-US" altLang="zh-CN" dirty="0">
              <a:latin typeface="宋体" panose="02010600030101010101" pitchFamily="2" charset="-122"/>
              <a:ea typeface="宋体" panose="02010600030101010101" pitchFamily="2" charset="-122"/>
            </a:endParaRPr>
          </a:p>
          <a:p>
            <a:pPr marL="171450" indent="-171450">
              <a:buFont typeface="Arial" panose="020B0604020202020204" pitchFamily="34" charset="0"/>
              <a:buChar char="•"/>
            </a:pPr>
            <a:r>
              <a:rPr lang="en-US" sz="1150" dirty="0">
                <a:latin typeface="+mj-lt"/>
                <a:ea typeface="宋体" panose="02010600030101010101" pitchFamily="2" charset="-122"/>
              </a:rPr>
              <a:t>GAAR should be the last resort, i.e. GAAR shall not be invoked until the specific anti-avoidance rules (SAAR)and tax treaty provisions are </a:t>
            </a:r>
            <a:r>
              <a:rPr lang="en-US" sz="1150" dirty="0" smtClean="0">
                <a:latin typeface="+mj-lt"/>
                <a:ea typeface="宋体" panose="02010600030101010101" pitchFamily="2" charset="-122"/>
              </a:rPr>
              <a:t>exhausted</a:t>
            </a:r>
            <a:endParaRPr lang="en-US" sz="1150" dirty="0">
              <a:latin typeface="+mj-lt"/>
              <a:ea typeface="宋体" panose="02010600030101010101" pitchFamily="2" charset="-122"/>
            </a:endParaRPr>
          </a:p>
        </p:txBody>
      </p:sp>
      <p:sp>
        <p:nvSpPr>
          <p:cNvPr id="69" name="Freeform 6"/>
          <p:cNvSpPr>
            <a:spLocks/>
          </p:cNvSpPr>
          <p:nvPr/>
        </p:nvSpPr>
        <p:spPr bwMode="gray">
          <a:xfrm>
            <a:off x="5101144" y="2616530"/>
            <a:ext cx="2239129" cy="4399430"/>
          </a:xfrm>
          <a:custGeom>
            <a:avLst/>
            <a:gdLst/>
            <a:ahLst/>
            <a:cxnLst>
              <a:cxn ang="0">
                <a:pos x="4" y="0"/>
              </a:cxn>
              <a:cxn ang="0">
                <a:pos x="797" y="127"/>
              </a:cxn>
              <a:cxn ang="0">
                <a:pos x="1589" y="0"/>
              </a:cxn>
              <a:cxn ang="0">
                <a:pos x="1589" y="1900"/>
              </a:cxn>
              <a:cxn ang="0">
                <a:pos x="0" y="1900"/>
              </a:cxn>
              <a:cxn ang="0">
                <a:pos x="24" y="1900"/>
              </a:cxn>
              <a:cxn ang="0">
                <a:pos x="8" y="1900"/>
              </a:cxn>
              <a:cxn ang="0">
                <a:pos x="4" y="1900"/>
              </a:cxn>
              <a:cxn ang="0">
                <a:pos x="4" y="0"/>
              </a:cxn>
            </a:cxnLst>
            <a:rect l="0" t="0" r="r" b="b"/>
            <a:pathLst>
              <a:path w="1590" h="1901">
                <a:moveTo>
                  <a:pt x="4" y="0"/>
                </a:moveTo>
                <a:lnTo>
                  <a:pt x="797" y="127"/>
                </a:lnTo>
                <a:lnTo>
                  <a:pt x="1589" y="0"/>
                </a:lnTo>
                <a:lnTo>
                  <a:pt x="1589" y="1900"/>
                </a:lnTo>
                <a:lnTo>
                  <a:pt x="0" y="1900"/>
                </a:lnTo>
                <a:lnTo>
                  <a:pt x="24" y="1900"/>
                </a:lnTo>
                <a:lnTo>
                  <a:pt x="8" y="1900"/>
                </a:lnTo>
                <a:lnTo>
                  <a:pt x="4" y="1900"/>
                </a:lnTo>
                <a:lnTo>
                  <a:pt x="4" y="0"/>
                </a:lnTo>
              </a:path>
            </a:pathLst>
          </a:custGeom>
          <a:solidFill>
            <a:schemeClr val="bg1"/>
          </a:solidFill>
          <a:ln w="12700" cap="rnd" cmpd="sng">
            <a:solidFill>
              <a:schemeClr val="accent1"/>
            </a:solidFill>
            <a:prstDash val="solid"/>
            <a:round/>
            <a:headEnd type="none" w="med" len="med"/>
            <a:tailEnd type="none" w="med" len="med"/>
          </a:ln>
          <a:effectLst/>
        </p:spPr>
        <p:txBody>
          <a:bodyPr lIns="45720" rIns="45720"/>
          <a:lstStyle/>
          <a:p>
            <a:pPr marL="171450" indent="-171450">
              <a:buFont typeface="Arial" panose="020B0604020202020204" pitchFamily="34" charset="0"/>
              <a:buChar char="•"/>
            </a:pPr>
            <a:endParaRPr lang="en-US" altLang="zh-CN" dirty="0" smtClean="0">
              <a:latin typeface="宋体" panose="02010600030101010101" pitchFamily="2" charset="-122"/>
              <a:ea typeface="宋体" panose="02010600030101010101" pitchFamily="2" charset="-122"/>
            </a:endParaRPr>
          </a:p>
          <a:p>
            <a:pPr marL="171450" indent="-171450">
              <a:buFont typeface="Arial" panose="020B0604020202020204" pitchFamily="34" charset="0"/>
              <a:buChar char="•"/>
            </a:pPr>
            <a:endParaRPr lang="en-US" altLang="zh-CN" dirty="0">
              <a:latin typeface="+mj-lt"/>
              <a:ea typeface="宋体" panose="02010600030101010101" pitchFamily="2" charset="-122"/>
            </a:endParaRPr>
          </a:p>
          <a:p>
            <a:pPr marL="171450" indent="-171450">
              <a:buFont typeface="Arial" panose="020B0604020202020204" pitchFamily="34" charset="0"/>
              <a:buChar char="•"/>
            </a:pPr>
            <a:r>
              <a:rPr lang="en-US" altLang="zh-CN" sz="1150" dirty="0" smtClean="0">
                <a:latin typeface="+mj-lt"/>
                <a:ea typeface="宋体" panose="02010600030101010101" pitchFamily="2" charset="-122"/>
              </a:rPr>
              <a:t>Re-characterize part of or the whole  arrangement</a:t>
            </a:r>
          </a:p>
          <a:p>
            <a:pPr marL="171450" indent="-171450">
              <a:buFont typeface="Arial" panose="020B0604020202020204" pitchFamily="34" charset="0"/>
              <a:buChar char="•"/>
            </a:pPr>
            <a:endParaRPr lang="en-US" sz="1150" dirty="0">
              <a:latin typeface="+mj-lt"/>
              <a:ea typeface="宋体" panose="02010600030101010101" pitchFamily="2" charset="-122"/>
            </a:endParaRPr>
          </a:p>
          <a:p>
            <a:pPr marL="171450" indent="-171450">
              <a:buFont typeface="Arial" panose="020B0604020202020204" pitchFamily="34" charset="0"/>
              <a:buChar char="•"/>
            </a:pPr>
            <a:r>
              <a:rPr lang="en-US" altLang="zh-CN" sz="1150" dirty="0" smtClean="0">
                <a:latin typeface="+mj-lt"/>
                <a:ea typeface="宋体" panose="02010600030101010101" pitchFamily="2" charset="-122"/>
              </a:rPr>
              <a:t>Deny the whole transaction</a:t>
            </a:r>
          </a:p>
          <a:p>
            <a:pPr marL="171450" indent="-171450">
              <a:buFont typeface="Arial" panose="020B0604020202020204" pitchFamily="34" charset="0"/>
              <a:buChar char="•"/>
            </a:pPr>
            <a:endParaRPr lang="en-US" sz="1150" dirty="0">
              <a:latin typeface="+mj-lt"/>
              <a:ea typeface="宋体" panose="02010600030101010101" pitchFamily="2" charset="-122"/>
            </a:endParaRPr>
          </a:p>
          <a:p>
            <a:pPr marL="171450" indent="-171450">
              <a:buFont typeface="Arial" panose="020B0604020202020204" pitchFamily="34" charset="0"/>
              <a:buChar char="•"/>
            </a:pPr>
            <a:r>
              <a:rPr lang="en-US" altLang="zh-CN" sz="1150" dirty="0" smtClean="0">
                <a:latin typeface="+mj-lt"/>
                <a:ea typeface="宋体" panose="02010600030101010101" pitchFamily="2" charset="-122"/>
              </a:rPr>
              <a:t>Re-allocation/Re-characterization on relevant income, deduction, tax preferential treatment or foreign tax credit and etc. </a:t>
            </a:r>
          </a:p>
          <a:p>
            <a:pPr marL="171450" indent="-171450">
              <a:buFont typeface="Arial" panose="020B0604020202020204" pitchFamily="34" charset="0"/>
              <a:buChar char="•"/>
            </a:pPr>
            <a:endParaRPr lang="en-US" altLang="zh-CN" sz="1150" dirty="0">
              <a:latin typeface="+mj-lt"/>
              <a:ea typeface="宋体" panose="02010600030101010101" pitchFamily="2" charset="-122"/>
            </a:endParaRPr>
          </a:p>
          <a:p>
            <a:pPr marL="171450" indent="-171450">
              <a:buFont typeface="Arial" panose="020B0604020202020204" pitchFamily="34" charset="0"/>
              <a:buChar char="•"/>
            </a:pPr>
            <a:r>
              <a:rPr lang="en-US" altLang="zh-CN" sz="1150" dirty="0" smtClean="0">
                <a:latin typeface="+mj-lt"/>
                <a:ea typeface="宋体" panose="02010600030101010101" pitchFamily="2" charset="-122"/>
              </a:rPr>
              <a:t>Others</a:t>
            </a:r>
            <a:endParaRPr lang="en-US" altLang="zh-CN" sz="1150" dirty="0">
              <a:latin typeface="+mj-lt"/>
              <a:ea typeface="宋体" panose="02010600030101010101" pitchFamily="2" charset="-122"/>
            </a:endParaRPr>
          </a:p>
        </p:txBody>
      </p:sp>
      <p:sp>
        <p:nvSpPr>
          <p:cNvPr id="76" name="Freeform 6"/>
          <p:cNvSpPr>
            <a:spLocks/>
          </p:cNvSpPr>
          <p:nvPr/>
        </p:nvSpPr>
        <p:spPr bwMode="gray">
          <a:xfrm>
            <a:off x="420431" y="2616529"/>
            <a:ext cx="2284135" cy="4438023"/>
          </a:xfrm>
          <a:custGeom>
            <a:avLst/>
            <a:gdLst/>
            <a:ahLst/>
            <a:cxnLst>
              <a:cxn ang="0">
                <a:pos x="4" y="0"/>
              </a:cxn>
              <a:cxn ang="0">
                <a:pos x="797" y="127"/>
              </a:cxn>
              <a:cxn ang="0">
                <a:pos x="1589" y="0"/>
              </a:cxn>
              <a:cxn ang="0">
                <a:pos x="1589" y="1900"/>
              </a:cxn>
              <a:cxn ang="0">
                <a:pos x="0" y="1900"/>
              </a:cxn>
              <a:cxn ang="0">
                <a:pos x="24" y="1900"/>
              </a:cxn>
              <a:cxn ang="0">
                <a:pos x="8" y="1900"/>
              </a:cxn>
              <a:cxn ang="0">
                <a:pos x="4" y="1900"/>
              </a:cxn>
              <a:cxn ang="0">
                <a:pos x="4" y="0"/>
              </a:cxn>
            </a:cxnLst>
            <a:rect l="0" t="0" r="r" b="b"/>
            <a:pathLst>
              <a:path w="1590" h="1901">
                <a:moveTo>
                  <a:pt x="4" y="0"/>
                </a:moveTo>
                <a:lnTo>
                  <a:pt x="797" y="127"/>
                </a:lnTo>
                <a:lnTo>
                  <a:pt x="1589" y="0"/>
                </a:lnTo>
                <a:lnTo>
                  <a:pt x="1589" y="1900"/>
                </a:lnTo>
                <a:lnTo>
                  <a:pt x="0" y="1900"/>
                </a:lnTo>
                <a:lnTo>
                  <a:pt x="24" y="1900"/>
                </a:lnTo>
                <a:lnTo>
                  <a:pt x="8" y="1900"/>
                </a:lnTo>
                <a:lnTo>
                  <a:pt x="4" y="1900"/>
                </a:lnTo>
                <a:lnTo>
                  <a:pt x="4" y="0"/>
                </a:lnTo>
              </a:path>
            </a:pathLst>
          </a:custGeom>
          <a:solidFill>
            <a:schemeClr val="bg1"/>
          </a:solidFill>
          <a:ln w="12700" cap="rnd" cmpd="sng">
            <a:solidFill>
              <a:schemeClr val="accent1"/>
            </a:solidFill>
            <a:prstDash val="solid"/>
            <a:round/>
            <a:headEnd type="none" w="med" len="med"/>
            <a:tailEnd type="none" w="med" len="med"/>
          </a:ln>
          <a:effectLst/>
        </p:spPr>
        <p:txBody>
          <a:bodyPr lIns="45720" rIns="45720"/>
          <a:lstStyle/>
          <a:p>
            <a:pPr marL="171450" indent="-171450">
              <a:buFont typeface="Arial" panose="020B0604020202020204" pitchFamily="34" charset="0"/>
              <a:buChar char="•"/>
            </a:pPr>
            <a:endParaRPr lang="en-US" altLang="zh-CN" dirty="0" smtClean="0">
              <a:latin typeface="宋体" panose="02010600030101010101" pitchFamily="2" charset="-122"/>
              <a:ea typeface="宋体" panose="02010600030101010101" pitchFamily="2" charset="-122"/>
            </a:endParaRPr>
          </a:p>
          <a:p>
            <a:pPr marL="171450" indent="-171450">
              <a:buFont typeface="Arial" panose="020B0604020202020204" pitchFamily="34" charset="0"/>
              <a:buChar char="•"/>
            </a:pPr>
            <a:endParaRPr lang="en-US" altLang="zh-CN" dirty="0">
              <a:latin typeface="宋体" panose="02010600030101010101" pitchFamily="2" charset="-122"/>
              <a:ea typeface="宋体" panose="02010600030101010101" pitchFamily="2" charset="-122"/>
            </a:endParaRPr>
          </a:p>
          <a:p>
            <a:pPr marL="171450" indent="-171450">
              <a:spcAft>
                <a:spcPts val="600"/>
              </a:spcAft>
              <a:buFont typeface="Arial" panose="020B0604020202020204" pitchFamily="34" charset="0"/>
              <a:buChar char="•"/>
            </a:pPr>
            <a:r>
              <a:rPr lang="en-US" altLang="zh-CN" sz="1150" b="1" dirty="0">
                <a:latin typeface="+mj-lt"/>
                <a:ea typeface="宋体" panose="02010600030101010101" pitchFamily="2" charset="-122"/>
              </a:rPr>
              <a:t>T</a:t>
            </a:r>
            <a:r>
              <a:rPr lang="en-US" altLang="zh-CN" sz="1150" b="1" dirty="0" smtClean="0">
                <a:latin typeface="+mj-lt"/>
                <a:ea typeface="宋体" panose="02010600030101010101" pitchFamily="2" charset="-122"/>
              </a:rPr>
              <a:t>ax benefits </a:t>
            </a:r>
            <a:r>
              <a:rPr lang="en-US" altLang="zh-CN" sz="1150" dirty="0" smtClean="0">
                <a:latin typeface="+mj-lt"/>
                <a:ea typeface="宋体" panose="02010600030101010101" pitchFamily="2" charset="-122"/>
              </a:rPr>
              <a:t>being the sole or major purpose</a:t>
            </a:r>
            <a:endParaRPr lang="en-US" altLang="zh-CN" sz="1150" dirty="0">
              <a:latin typeface="+mj-lt"/>
              <a:ea typeface="宋体" panose="02010600030101010101" pitchFamily="2" charset="-122"/>
            </a:endParaRPr>
          </a:p>
          <a:p>
            <a:pPr marL="171450" indent="-171450">
              <a:spcAft>
                <a:spcPts val="600"/>
              </a:spcAft>
              <a:buFont typeface="Arial" panose="020B0604020202020204" pitchFamily="34" charset="0"/>
              <a:buChar char="•"/>
            </a:pPr>
            <a:r>
              <a:rPr lang="en-US" altLang="zh-CN" sz="1150" dirty="0" smtClean="0">
                <a:latin typeface="+mj-lt"/>
                <a:ea typeface="宋体" panose="02010600030101010101" pitchFamily="2" charset="-122"/>
              </a:rPr>
              <a:t>Tax benefits obtained via arrangements featuring </a:t>
            </a:r>
            <a:r>
              <a:rPr lang="en-US" altLang="zh-CN" sz="1150" b="1" dirty="0" smtClean="0">
                <a:latin typeface="+mj-lt"/>
                <a:ea typeface="宋体" panose="02010600030101010101" pitchFamily="2" charset="-122"/>
              </a:rPr>
              <a:t>only pro forma compliance </a:t>
            </a:r>
            <a:r>
              <a:rPr lang="en-US" altLang="zh-CN" sz="1150" dirty="0" smtClean="0">
                <a:latin typeface="+mj-lt"/>
                <a:ea typeface="宋体" panose="02010600030101010101" pitchFamily="2" charset="-122"/>
              </a:rPr>
              <a:t>but </a:t>
            </a:r>
            <a:r>
              <a:rPr lang="en-US" altLang="zh-CN" sz="1150" b="1" dirty="0" smtClean="0">
                <a:latin typeface="+mj-lt"/>
                <a:ea typeface="宋体" panose="02010600030101010101" pitchFamily="2" charset="-122"/>
              </a:rPr>
              <a:t>without matched economic substance</a:t>
            </a:r>
            <a:endParaRPr lang="en-US" altLang="zh-CN" sz="1150" b="1" dirty="0">
              <a:latin typeface="+mj-lt"/>
              <a:ea typeface="宋体" panose="02010600030101010101" pitchFamily="2" charset="-122"/>
            </a:endParaRPr>
          </a:p>
          <a:p>
            <a:pPr marL="171450" indent="-171450">
              <a:buFont typeface="Arial" panose="020B0604020202020204" pitchFamily="34" charset="0"/>
              <a:buChar char="•"/>
            </a:pPr>
            <a:r>
              <a:rPr lang="en-US" altLang="zh-CN" sz="1150" dirty="0" smtClean="0">
                <a:latin typeface="+mj-lt"/>
                <a:ea typeface="宋体" panose="02010600030101010101" pitchFamily="2" charset="-122"/>
              </a:rPr>
              <a:t>Common anti-avoidance investigations areas:</a:t>
            </a:r>
          </a:p>
          <a:p>
            <a:pPr marL="360000" lvl="1" indent="-285750">
              <a:spcBef>
                <a:spcPts val="600"/>
              </a:spcBef>
              <a:buFont typeface="Wingdings" panose="05000000000000000000" pitchFamily="2" charset="2"/>
              <a:buChar char="Ø"/>
            </a:pPr>
            <a:r>
              <a:rPr lang="en-US" altLang="zh-CN" sz="1150" dirty="0" smtClean="0">
                <a:latin typeface="+mj-lt"/>
                <a:ea typeface="宋体" panose="02010600030101010101" pitchFamily="2" charset="-122"/>
              </a:rPr>
              <a:t>Abuse of </a:t>
            </a:r>
            <a:r>
              <a:rPr lang="en-US" altLang="zh-CN" sz="1150" b="1" dirty="0" smtClean="0">
                <a:latin typeface="+mj-lt"/>
                <a:ea typeface="宋体" panose="02010600030101010101" pitchFamily="2" charset="-122"/>
              </a:rPr>
              <a:t>tax preferential </a:t>
            </a:r>
            <a:r>
              <a:rPr lang="en-US" altLang="zh-CN" sz="1150" b="1" dirty="0" smtClean="0">
                <a:latin typeface="+mj-lt"/>
                <a:ea typeface="宋体" panose="02010600030101010101" pitchFamily="2" charset="-122"/>
              </a:rPr>
              <a:t>treatments</a:t>
            </a:r>
            <a:endParaRPr lang="en-US" altLang="zh-CN" sz="1150" b="1" dirty="0" smtClean="0">
              <a:latin typeface="+mj-lt"/>
              <a:ea typeface="宋体" panose="02010600030101010101" pitchFamily="2" charset="-122"/>
            </a:endParaRPr>
          </a:p>
          <a:p>
            <a:pPr marL="360000" lvl="1" indent="-285750">
              <a:buFont typeface="Wingdings" panose="05000000000000000000" pitchFamily="2" charset="2"/>
              <a:buChar char="Ø"/>
            </a:pPr>
            <a:r>
              <a:rPr lang="en-US" altLang="zh-CN" sz="1150" dirty="0" smtClean="0">
                <a:latin typeface="+mj-lt"/>
                <a:ea typeface="宋体" panose="02010600030101010101" pitchFamily="2" charset="-122"/>
              </a:rPr>
              <a:t>Abuse of </a:t>
            </a:r>
            <a:r>
              <a:rPr lang="en-US" altLang="zh-CN" sz="1150" b="1" dirty="0" smtClean="0">
                <a:latin typeface="+mj-lt"/>
                <a:ea typeface="宋体" panose="02010600030101010101" pitchFamily="2" charset="-122"/>
              </a:rPr>
              <a:t>tax treaty</a:t>
            </a:r>
            <a:endParaRPr lang="en-US" altLang="zh-CN" sz="1150" b="1" dirty="0">
              <a:latin typeface="+mj-lt"/>
              <a:ea typeface="宋体" panose="02010600030101010101" pitchFamily="2" charset="-122"/>
            </a:endParaRPr>
          </a:p>
          <a:p>
            <a:pPr marL="360000" lvl="1" indent="-285750">
              <a:buFont typeface="Wingdings" panose="05000000000000000000" pitchFamily="2" charset="2"/>
              <a:buChar char="Ø"/>
            </a:pPr>
            <a:r>
              <a:rPr lang="en-US" altLang="zh-CN" sz="1150" dirty="0" smtClean="0">
                <a:latin typeface="+mj-lt"/>
                <a:ea typeface="宋体" panose="02010600030101010101" pitchFamily="2" charset="-122"/>
              </a:rPr>
              <a:t>Abuse of </a:t>
            </a:r>
            <a:r>
              <a:rPr lang="en-US" altLang="zh-CN" sz="1150" b="1" dirty="0" smtClean="0">
                <a:latin typeface="+mj-lt"/>
                <a:ea typeface="宋体" panose="02010600030101010101" pitchFamily="2" charset="-122"/>
              </a:rPr>
              <a:t>corporate forms</a:t>
            </a:r>
          </a:p>
          <a:p>
            <a:pPr marL="360000" lvl="1" indent="-285750">
              <a:buFont typeface="Wingdings" panose="05000000000000000000" pitchFamily="2" charset="2"/>
              <a:buChar char="Ø"/>
            </a:pPr>
            <a:r>
              <a:rPr lang="en-US" altLang="zh-CN" sz="1150" dirty="0" smtClean="0">
                <a:latin typeface="+mj-lt"/>
                <a:ea typeface="宋体" panose="02010600030101010101" pitchFamily="2" charset="-122"/>
              </a:rPr>
              <a:t>Arrangements through </a:t>
            </a:r>
            <a:r>
              <a:rPr lang="en-US" altLang="zh-CN" sz="1150" b="1" dirty="0" smtClean="0">
                <a:latin typeface="+mj-lt"/>
                <a:ea typeface="宋体" panose="02010600030101010101" pitchFamily="2" charset="-122"/>
              </a:rPr>
              <a:t>tax haven </a:t>
            </a:r>
          </a:p>
          <a:p>
            <a:pPr marL="360000" lvl="1" indent="-285750">
              <a:buFont typeface="Wingdings" panose="05000000000000000000" pitchFamily="2" charset="2"/>
              <a:buChar char="Ø"/>
            </a:pPr>
            <a:r>
              <a:rPr lang="en-US" altLang="zh-CN" sz="1150" b="1" dirty="0" smtClean="0">
                <a:latin typeface="+mj-lt"/>
                <a:ea typeface="宋体" panose="02010600030101010101" pitchFamily="2" charset="-122"/>
              </a:rPr>
              <a:t>Other </a:t>
            </a:r>
            <a:r>
              <a:rPr lang="en-US" altLang="zh-CN" sz="1150" b="1" dirty="0" smtClean="0">
                <a:latin typeface="+mj-lt"/>
                <a:ea typeface="宋体" panose="02010600030101010101" pitchFamily="2" charset="-122"/>
              </a:rPr>
              <a:t>arrangements </a:t>
            </a:r>
            <a:r>
              <a:rPr lang="en-US" altLang="zh-CN" sz="1150" dirty="0" smtClean="0">
                <a:latin typeface="+mj-lt"/>
                <a:ea typeface="宋体" panose="02010600030101010101" pitchFamily="2" charset="-122"/>
              </a:rPr>
              <a:t>without reasonable business purpose</a:t>
            </a:r>
            <a:endParaRPr lang="en-US" altLang="zh-CN" sz="1150" dirty="0" smtClean="0">
              <a:latin typeface="宋体" panose="02010600030101010101" pitchFamily="2" charset="-122"/>
              <a:ea typeface="宋体" panose="02010600030101010101" pitchFamily="2" charset="-122"/>
            </a:endParaRPr>
          </a:p>
          <a:p>
            <a:endParaRPr lang="en-US" altLang="zh-CN" sz="1400" dirty="0" smtClean="0">
              <a:latin typeface="宋体" panose="02010600030101010101" pitchFamily="2" charset="-122"/>
              <a:ea typeface="宋体" panose="02010600030101010101" pitchFamily="2" charset="-122"/>
            </a:endParaRPr>
          </a:p>
        </p:txBody>
      </p:sp>
      <p:grpSp>
        <p:nvGrpSpPr>
          <p:cNvPr id="90" name="Group 89"/>
          <p:cNvGrpSpPr/>
          <p:nvPr>
            <p:custDataLst>
              <p:tags r:id="rId6"/>
            </p:custDataLst>
          </p:nvPr>
        </p:nvGrpSpPr>
        <p:grpSpPr>
          <a:xfrm>
            <a:off x="5283980" y="704088"/>
            <a:ext cx="4236835" cy="138499"/>
            <a:chOff x="5283980" y="704088"/>
            <a:chExt cx="4236835" cy="138499"/>
          </a:xfrm>
        </p:grpSpPr>
        <p:sp>
          <p:nvSpPr>
            <p:cNvPr id="91" name="745">
              <a:hlinkClick r:id="rId13" action="ppaction://hlinksldjump"/>
            </p:cNvPr>
            <p:cNvSpPr txBox="1"/>
            <p:nvPr>
              <p:custDataLst>
                <p:tags r:id="rId7"/>
              </p:custDataLst>
            </p:nvPr>
          </p:nvSpPr>
          <p:spPr>
            <a:xfrm>
              <a:off x="7868824" y="704088"/>
              <a:ext cx="1651991" cy="138499"/>
            </a:xfrm>
            <a:prstGeom prst="rect">
              <a:avLst/>
            </a:prstGeom>
            <a:noFill/>
            <a:ln>
              <a:noFill/>
            </a:ln>
          </p:spPr>
          <p:txBody>
            <a:bodyPr wrap="none" lIns="27432" tIns="0" rIns="27432" bIns="0" rtlCol="0">
              <a:spAutoFit/>
            </a:bodyPr>
            <a:lstStyle/>
            <a:p>
              <a:r>
                <a:rPr lang="en-US" sz="900" noProof="1" smtClean="0">
                  <a:solidFill>
                    <a:schemeClr val="tx1"/>
                  </a:solidFill>
                  <a:latin typeface="+mn-lt"/>
                  <a:cs typeface="Arial" pitchFamily="34" charset="0"/>
                </a:rPr>
                <a:t>Part II  Indirect Equity Transfer </a:t>
              </a:r>
              <a:endParaRPr lang="en-GB" sz="900" noProof="1" smtClean="0">
                <a:solidFill>
                  <a:schemeClr val="tx1"/>
                </a:solidFill>
                <a:latin typeface="+mn-lt"/>
                <a:cs typeface="Arial" pitchFamily="34" charset="0"/>
              </a:endParaRPr>
            </a:p>
          </p:txBody>
        </p:sp>
        <p:cxnSp>
          <p:nvCxnSpPr>
            <p:cNvPr id="92" name="Divider1"/>
            <p:cNvCxnSpPr/>
            <p:nvPr>
              <p:custDataLst>
                <p:tags r:id="rId8"/>
              </p:custDataLst>
            </p:nvPr>
          </p:nvCxnSpPr>
          <p:spPr>
            <a:xfrm>
              <a:off x="7843424"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93" name="638">
              <a:hlinkClick r:id="rId14" action="ppaction://hlinksldjump"/>
            </p:cNvPr>
            <p:cNvSpPr txBox="1"/>
            <p:nvPr>
              <p:custDataLst>
                <p:tags r:id="rId9"/>
              </p:custDataLst>
            </p:nvPr>
          </p:nvSpPr>
          <p:spPr>
            <a:xfrm>
              <a:off x="5787725" y="704088"/>
              <a:ext cx="2030299" cy="138499"/>
            </a:xfrm>
            <a:prstGeom prst="rect">
              <a:avLst/>
            </a:prstGeom>
            <a:noFill/>
            <a:ln>
              <a:noFill/>
            </a:ln>
          </p:spPr>
          <p:txBody>
            <a:bodyPr wrap="none" lIns="27432" tIns="0" rIns="27432" bIns="0" rtlCol="0">
              <a:spAutoFit/>
            </a:bodyPr>
            <a:lstStyle/>
            <a:p>
              <a:r>
                <a:rPr lang="en-US" sz="900" noProof="1" smtClean="0">
                  <a:solidFill>
                    <a:schemeClr val="tx2"/>
                  </a:solidFill>
                  <a:cs typeface="Arial" pitchFamily="34" charset="0"/>
                </a:rPr>
                <a:t>Part I  Brief Introduction to PRC GAAR</a:t>
              </a:r>
              <a:endParaRPr lang="en-GB" sz="900" noProof="1" smtClean="0">
                <a:solidFill>
                  <a:schemeClr val="tx2"/>
                </a:solidFill>
                <a:cs typeface="Arial" pitchFamily="34" charset="0"/>
              </a:endParaRPr>
            </a:p>
          </p:txBody>
        </p:sp>
        <p:cxnSp>
          <p:nvCxnSpPr>
            <p:cNvPr id="94" name="Divider2"/>
            <p:cNvCxnSpPr/>
            <p:nvPr>
              <p:custDataLst>
                <p:tags r:id="rId10"/>
              </p:custDataLst>
            </p:nvPr>
          </p:nvCxnSpPr>
          <p:spPr>
            <a:xfrm>
              <a:off x="5762325"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95" name="735">
              <a:hlinkClick r:id="rId15" action="ppaction://hlinksldjump"/>
            </p:cNvPr>
            <p:cNvSpPr txBox="1"/>
            <p:nvPr>
              <p:custDataLst>
                <p:tags r:id="rId11"/>
              </p:custDataLst>
            </p:nvPr>
          </p:nvSpPr>
          <p:spPr>
            <a:xfrm>
              <a:off x="5283980" y="704088"/>
              <a:ext cx="452945" cy="138499"/>
            </a:xfrm>
            <a:prstGeom prst="rect">
              <a:avLst/>
            </a:prstGeom>
            <a:noFill/>
            <a:ln>
              <a:noFill/>
            </a:ln>
          </p:spPr>
          <p:txBody>
            <a:bodyPr wrap="none" lIns="27432" tIns="0" rIns="27432" bIns="0" rtlCol="0">
              <a:spAutoFit/>
            </a:bodyPr>
            <a:lstStyle/>
            <a:p>
              <a:r>
                <a:rPr lang="en-GB" sz="900" noProof="1" smtClean="0">
                  <a:solidFill>
                    <a:schemeClr val="tx1"/>
                  </a:solidFill>
                  <a:latin typeface="+mn-lt"/>
                  <a:cs typeface="Arial" pitchFamily="34" charset="0"/>
                </a:rPr>
                <a:t>Agenda</a:t>
              </a:r>
              <a:endParaRPr lang="en-GB" sz="900" noProof="1" smtClean="0">
                <a:solidFill>
                  <a:schemeClr val="tx1"/>
                </a:solidFill>
                <a:latin typeface="+mn-lt"/>
                <a:cs typeface="Arial" pitchFamily="34" charset="0"/>
              </a:endParaRPr>
            </a:p>
          </p:txBody>
        </p:sp>
      </p:grpSp>
    </p:spTree>
    <p:custDataLst>
      <p:tags r:id="rId1"/>
    </p:custDataLst>
    <p:extLst>
      <p:ext uri="{BB962C8B-B14F-4D97-AF65-F5344CB8AC3E}">
        <p14:creationId xmlns:p14="http://schemas.microsoft.com/office/powerpoint/2010/main" val="243968528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en-GB"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sp>
        <p:nvSpPr>
          <p:cNvPr id="3" name="Title 2"/>
          <p:cNvSpPr>
            <a:spLocks noGrp="1"/>
          </p:cNvSpPr>
          <p:nvPr>
            <p:ph type="title"/>
          </p:nvPr>
        </p:nvSpPr>
        <p:spPr/>
        <p:txBody>
          <a:bodyPr/>
          <a:lstStyle/>
          <a:p>
            <a:r>
              <a:rPr lang="en-GB" altLang="zh-CN" dirty="0" smtClean="0">
                <a:ea typeface="宋体" panose="02010600030101010101" pitchFamily="2" charset="-122"/>
              </a:rPr>
              <a:t>Procedures </a:t>
            </a:r>
            <a:r>
              <a:rPr lang="en-GB" altLang="zh-CN" dirty="0" smtClean="0">
                <a:latin typeface="宋体" panose="02010600030101010101" pitchFamily="2" charset="-122"/>
                <a:ea typeface="宋体" panose="02010600030101010101" pitchFamily="2" charset="-122"/>
              </a:rPr>
              <a:t> </a:t>
            </a:r>
            <a:r>
              <a:rPr lang="en-GB" dirty="0" smtClean="0">
                <a:latin typeface="宋体" panose="02010600030101010101" pitchFamily="2" charset="-122"/>
                <a:ea typeface="宋体" panose="02010600030101010101" pitchFamily="2" charset="-122"/>
              </a:rPr>
              <a:t> </a:t>
            </a:r>
            <a:endParaRPr lang="en-GB" b="0" i="0" dirty="0">
              <a:latin typeface="宋体" panose="02010600030101010101" pitchFamily="2" charset="-122"/>
              <a:ea typeface="宋体" panose="02010600030101010101" pitchFamily="2" charset="-122"/>
            </a:endParaRPr>
          </a:p>
        </p:txBody>
      </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en-GB" sz="1100" noProof="1" smtClean="0">
                <a:latin typeface="+mj-lt"/>
              </a:rPr>
              <a:t>6</a:t>
            </a:r>
            <a:endParaRPr lang="en-GB" sz="1100" noProof="1" smtClean="0">
              <a:latin typeface="+mj-lt"/>
            </a:endParaRP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en-GB" altLang="zh-CN" sz="1100" noProof="1" smtClean="0">
                <a:solidFill>
                  <a:schemeClr val="tx1"/>
                </a:solidFill>
                <a:latin typeface="+mj-lt"/>
                <a:ea typeface="宋体" panose="02010600030101010101" pitchFamily="2" charset="-122"/>
              </a:rPr>
              <a:t>Overview of PRC GAAR</a:t>
            </a:r>
            <a:endParaRPr lang="en-GB" sz="1100" noProof="1" smtClean="0">
              <a:solidFill>
                <a:schemeClr val="tx1"/>
              </a:solidFill>
              <a:latin typeface="+mj-lt"/>
              <a:ea typeface="宋体" panose="02010600030101010101" pitchFamily="2" charset="-122"/>
            </a:endParaRP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en-GB" altLang="zh-CN" sz="900" noProof="1" smtClean="0">
                <a:solidFill>
                  <a:schemeClr val="tx1"/>
                </a:solidFill>
              </a:rPr>
              <a:t>-1 Part I  Brief Introduction to PRC GAAR</a:t>
            </a:r>
            <a:endParaRPr lang="en-GB" sz="900" noProof="1" smtClean="0">
              <a:solidFill>
                <a:schemeClr val="tx1"/>
              </a:solidFill>
            </a:endParaRPr>
          </a:p>
        </p:txBody>
      </p:sp>
      <p:sp>
        <p:nvSpPr>
          <p:cNvPr id="63" name="Chevron 62"/>
          <p:cNvSpPr/>
          <p:nvPr/>
        </p:nvSpPr>
        <p:spPr>
          <a:xfrm>
            <a:off x="6973416" y="6479201"/>
            <a:ext cx="2593225" cy="505161"/>
          </a:xfrm>
          <a:prstGeom prst="chevron">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0800000" scaled="1"/>
            <a:tileRect/>
          </a:gra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tLang="zh-CN" dirty="0"/>
          </a:p>
        </p:txBody>
      </p:sp>
      <p:sp>
        <p:nvSpPr>
          <p:cNvPr id="64" name="Pentagon 63"/>
          <p:cNvSpPr/>
          <p:nvPr/>
        </p:nvSpPr>
        <p:spPr>
          <a:xfrm>
            <a:off x="533400" y="2156120"/>
            <a:ext cx="6970844" cy="513746"/>
          </a:xfrm>
          <a:prstGeom prst="homePlate">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0800000" scaled="1"/>
            <a:tileRect/>
          </a:gra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ltLang="zh-CN" sz="1600" dirty="0" smtClean="0">
                <a:solidFill>
                  <a:schemeClr val="bg1"/>
                </a:solidFill>
                <a:latin typeface="+mj-lt"/>
                <a:ea typeface="宋体" panose="02010600030101010101" pitchFamily="2" charset="-122"/>
              </a:rPr>
              <a:t>Tax </a:t>
            </a:r>
            <a:r>
              <a:rPr lang="en-GB" altLang="zh-CN" sz="1600" dirty="0" smtClean="0">
                <a:solidFill>
                  <a:schemeClr val="bg1"/>
                </a:solidFill>
                <a:latin typeface="+mj-lt"/>
                <a:ea typeface="宋体" panose="02010600030101010101" pitchFamily="2" charset="-122"/>
              </a:rPr>
              <a:t>authority should complete </a:t>
            </a:r>
            <a:r>
              <a:rPr lang="en-GB" altLang="zh-CN" sz="1600" dirty="0" smtClean="0">
                <a:solidFill>
                  <a:schemeClr val="bg1"/>
                </a:solidFill>
                <a:latin typeface="+mj-lt"/>
                <a:ea typeface="宋体" panose="02010600030101010101" pitchFamily="2" charset="-122"/>
              </a:rPr>
              <a:t>the entire GAAR process within 9 months</a:t>
            </a:r>
            <a:endParaRPr lang="en-GB" altLang="zh-CN" sz="1600" dirty="0">
              <a:solidFill>
                <a:schemeClr val="bg1"/>
              </a:solidFill>
              <a:latin typeface="+mj-lt"/>
              <a:ea typeface="宋体" panose="02010600030101010101" pitchFamily="2" charset="-122"/>
            </a:endParaRPr>
          </a:p>
        </p:txBody>
      </p:sp>
      <p:sp>
        <p:nvSpPr>
          <p:cNvPr id="65" name="Pentagon 64"/>
          <p:cNvSpPr/>
          <p:nvPr/>
        </p:nvSpPr>
        <p:spPr>
          <a:xfrm>
            <a:off x="2515619" y="6473334"/>
            <a:ext cx="4546649" cy="530787"/>
          </a:xfrm>
          <a:prstGeom prst="homePlate">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0800000" scaled="1"/>
            <a:tileRect/>
          </a:gra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666750">
              <a:lnSpc>
                <a:spcPct val="90000"/>
              </a:lnSpc>
              <a:spcBef>
                <a:spcPct val="0"/>
              </a:spcBef>
              <a:spcAft>
                <a:spcPct val="35000"/>
              </a:spcAft>
            </a:pPr>
            <a:r>
              <a:rPr lang="en-GB" altLang="zh-CN" sz="1400" dirty="0">
                <a:solidFill>
                  <a:schemeClr val="bg1"/>
                </a:solidFill>
                <a:latin typeface="+mj-lt"/>
                <a:ea typeface="宋体" panose="02010600030101010101" pitchFamily="2" charset="-122"/>
              </a:rPr>
              <a:t>Companies to provide evidence within 60 days</a:t>
            </a:r>
          </a:p>
        </p:txBody>
      </p:sp>
      <p:sp>
        <p:nvSpPr>
          <p:cNvPr id="66" name="TextBox 65"/>
          <p:cNvSpPr txBox="1"/>
          <p:nvPr/>
        </p:nvSpPr>
        <p:spPr>
          <a:xfrm>
            <a:off x="7321168" y="6516337"/>
            <a:ext cx="2077714" cy="430887"/>
          </a:xfrm>
          <a:prstGeom prst="rect">
            <a:avLst/>
          </a:prstGeom>
          <a:noFill/>
          <a:ln>
            <a:noFill/>
          </a:ln>
        </p:spPr>
        <p:txBody>
          <a:bodyPr wrap="square" lIns="0" tIns="0" rIns="0" bIns="0" rtlCol="0">
            <a:spAutoFit/>
          </a:bodyPr>
          <a:lstStyle/>
          <a:p>
            <a:r>
              <a:rPr lang="en-GB" altLang="zh-CN" sz="1400" dirty="0">
                <a:solidFill>
                  <a:schemeClr val="bg1"/>
                </a:solidFill>
                <a:latin typeface="+mj-lt"/>
                <a:ea typeface="宋体" panose="02010600030101010101" pitchFamily="2" charset="-122"/>
              </a:rPr>
              <a:t>Companies to raise </a:t>
            </a:r>
            <a:r>
              <a:rPr lang="en-GB" altLang="zh-CN" sz="1400" dirty="0" smtClean="0">
                <a:solidFill>
                  <a:schemeClr val="bg1"/>
                </a:solidFill>
                <a:latin typeface="+mj-lt"/>
                <a:ea typeface="宋体" panose="02010600030101010101" pitchFamily="2" charset="-122"/>
              </a:rPr>
              <a:t>an</a:t>
            </a:r>
          </a:p>
          <a:p>
            <a:r>
              <a:rPr lang="en-GB" altLang="zh-CN" sz="1400" dirty="0" smtClean="0">
                <a:solidFill>
                  <a:schemeClr val="bg1"/>
                </a:solidFill>
                <a:latin typeface="+mj-lt"/>
                <a:ea typeface="宋体" panose="02010600030101010101" pitchFamily="2" charset="-122"/>
              </a:rPr>
              <a:t> </a:t>
            </a:r>
            <a:r>
              <a:rPr lang="en-GB" altLang="zh-CN" sz="1400" dirty="0">
                <a:solidFill>
                  <a:schemeClr val="bg1"/>
                </a:solidFill>
                <a:latin typeface="+mj-lt"/>
                <a:ea typeface="宋体" panose="02010600030101010101" pitchFamily="2" charset="-122"/>
              </a:rPr>
              <a:t>objection within 7 days</a:t>
            </a:r>
          </a:p>
        </p:txBody>
      </p:sp>
      <p:grpSp>
        <p:nvGrpSpPr>
          <p:cNvPr id="67" name="Group 66"/>
          <p:cNvGrpSpPr/>
          <p:nvPr/>
        </p:nvGrpSpPr>
        <p:grpSpPr>
          <a:xfrm>
            <a:off x="991366" y="2775735"/>
            <a:ext cx="8454718" cy="3643167"/>
            <a:chOff x="1099774" y="2375700"/>
            <a:chExt cx="8454718" cy="3643167"/>
          </a:xfrm>
        </p:grpSpPr>
        <p:sp>
          <p:nvSpPr>
            <p:cNvPr id="68" name="Circular Arrow 67"/>
            <p:cNvSpPr/>
            <p:nvPr/>
          </p:nvSpPr>
          <p:spPr>
            <a:xfrm rot="19199370">
              <a:off x="1932753" y="2375700"/>
              <a:ext cx="1628268" cy="1945023"/>
            </a:xfrm>
            <a:prstGeom prst="circularArrow">
              <a:avLst>
                <a:gd name="adj1" fmla="val 3416"/>
                <a:gd name="adj2" fmla="val 423055"/>
                <a:gd name="adj3" fmla="val 19401435"/>
                <a:gd name="adj4" fmla="val 12575511"/>
                <a:gd name="adj5" fmla="val 3986"/>
              </a:avLst>
            </a:prstGeom>
          </p:spPr>
          <p:style>
            <a:lnRef idx="1">
              <a:schemeClr val="accent1"/>
            </a:lnRef>
            <a:fillRef idx="3">
              <a:schemeClr val="accent1"/>
            </a:fillRef>
            <a:effectRef idx="2">
              <a:schemeClr val="accent1"/>
            </a:effectRef>
            <a:fontRef idx="minor">
              <a:schemeClr val="lt1"/>
            </a:fontRef>
          </p:style>
          <p:txBody>
            <a:bodyPr/>
            <a:lstStyle/>
            <a:p>
              <a:endParaRPr lang="en-GB" altLang="zh-CN" dirty="0"/>
            </a:p>
          </p:txBody>
        </p:sp>
        <p:grpSp>
          <p:nvGrpSpPr>
            <p:cNvPr id="69" name="Group 68"/>
            <p:cNvGrpSpPr/>
            <p:nvPr/>
          </p:nvGrpSpPr>
          <p:grpSpPr>
            <a:xfrm>
              <a:off x="1099774" y="2391115"/>
              <a:ext cx="8454718" cy="3627752"/>
              <a:chOff x="1099774" y="2391115"/>
              <a:chExt cx="8454718" cy="3627752"/>
            </a:xfrm>
          </p:grpSpPr>
          <p:sp>
            <p:nvSpPr>
              <p:cNvPr id="76" name="Shape 75"/>
              <p:cNvSpPr/>
              <p:nvPr/>
            </p:nvSpPr>
            <p:spPr>
              <a:xfrm rot="1497632">
                <a:off x="4021017" y="3373348"/>
                <a:ext cx="2106394" cy="2645519"/>
              </a:xfrm>
              <a:prstGeom prst="leftCircularArrow">
                <a:avLst>
                  <a:gd name="adj1" fmla="val 2849"/>
                  <a:gd name="adj2" fmla="val 473126"/>
                  <a:gd name="adj3" fmla="val 2231849"/>
                  <a:gd name="adj4" fmla="val 9024489"/>
                  <a:gd name="adj5" fmla="val 4956"/>
                </a:avLst>
              </a:prstGeom>
              <a:ln/>
            </p:spPr>
            <p:style>
              <a:lnRef idx="1">
                <a:schemeClr val="accent1"/>
              </a:lnRef>
              <a:fillRef idx="3">
                <a:schemeClr val="accent1"/>
              </a:fillRef>
              <a:effectRef idx="2">
                <a:schemeClr val="accent1"/>
              </a:effectRef>
              <a:fontRef idx="minor">
                <a:schemeClr val="lt1"/>
              </a:fontRef>
            </p:style>
            <p:txBody>
              <a:bodyPr/>
              <a:lstStyle/>
              <a:p>
                <a:endParaRPr lang="en-GB" altLang="zh-CN" dirty="0"/>
              </a:p>
            </p:txBody>
          </p:sp>
          <p:grpSp>
            <p:nvGrpSpPr>
              <p:cNvPr id="77" name="Group 76"/>
              <p:cNvGrpSpPr/>
              <p:nvPr/>
            </p:nvGrpSpPr>
            <p:grpSpPr>
              <a:xfrm>
                <a:off x="1099774" y="2391115"/>
                <a:ext cx="8454718" cy="3171082"/>
                <a:chOff x="1099774" y="2391115"/>
                <a:chExt cx="8454718" cy="3171082"/>
              </a:xfrm>
            </p:grpSpPr>
            <p:sp>
              <p:nvSpPr>
                <p:cNvPr id="83" name="Circular Arrow 82"/>
                <p:cNvSpPr/>
                <p:nvPr/>
              </p:nvSpPr>
              <p:spPr>
                <a:xfrm>
                  <a:off x="6315928" y="2391115"/>
                  <a:ext cx="2017974" cy="2425146"/>
                </a:xfrm>
                <a:prstGeom prst="circularArrow">
                  <a:avLst>
                    <a:gd name="adj1" fmla="val 3416"/>
                    <a:gd name="adj2" fmla="val 423055"/>
                    <a:gd name="adj3" fmla="val 19401435"/>
                    <a:gd name="adj4" fmla="val 11652258"/>
                    <a:gd name="adj5" fmla="val 3986"/>
                  </a:avLst>
                </a:prstGeom>
              </p:spPr>
              <p:style>
                <a:lnRef idx="1">
                  <a:schemeClr val="accent1"/>
                </a:lnRef>
                <a:fillRef idx="3">
                  <a:schemeClr val="accent1"/>
                </a:fillRef>
                <a:effectRef idx="2">
                  <a:schemeClr val="accent1"/>
                </a:effectRef>
                <a:fontRef idx="minor">
                  <a:schemeClr val="lt1"/>
                </a:fontRef>
              </p:style>
              <p:txBody>
                <a:bodyPr/>
                <a:lstStyle/>
                <a:p>
                  <a:endParaRPr lang="en-GB" altLang="zh-CN" dirty="0"/>
                </a:p>
              </p:txBody>
            </p:sp>
            <p:sp>
              <p:nvSpPr>
                <p:cNvPr id="78" name="Freeform 77"/>
                <p:cNvSpPr/>
                <p:nvPr/>
              </p:nvSpPr>
              <p:spPr>
                <a:xfrm>
                  <a:off x="1099774" y="3610997"/>
                  <a:ext cx="1616400" cy="1951200"/>
                </a:xfrm>
                <a:custGeom>
                  <a:avLst/>
                  <a:gdLst>
                    <a:gd name="connsiteX0" fmla="*/ 0 w 1191384"/>
                    <a:gd name="connsiteY0" fmla="*/ 98264 h 982643"/>
                    <a:gd name="connsiteX1" fmla="*/ 98264 w 1191384"/>
                    <a:gd name="connsiteY1" fmla="*/ 0 h 982643"/>
                    <a:gd name="connsiteX2" fmla="*/ 1093120 w 1191384"/>
                    <a:gd name="connsiteY2" fmla="*/ 0 h 982643"/>
                    <a:gd name="connsiteX3" fmla="*/ 1191384 w 1191384"/>
                    <a:gd name="connsiteY3" fmla="*/ 98264 h 982643"/>
                    <a:gd name="connsiteX4" fmla="*/ 1191384 w 1191384"/>
                    <a:gd name="connsiteY4" fmla="*/ 884379 h 982643"/>
                    <a:gd name="connsiteX5" fmla="*/ 1093120 w 1191384"/>
                    <a:gd name="connsiteY5" fmla="*/ 982643 h 982643"/>
                    <a:gd name="connsiteX6" fmla="*/ 98264 w 1191384"/>
                    <a:gd name="connsiteY6" fmla="*/ 982643 h 982643"/>
                    <a:gd name="connsiteX7" fmla="*/ 0 w 1191384"/>
                    <a:gd name="connsiteY7" fmla="*/ 884379 h 982643"/>
                    <a:gd name="connsiteX8" fmla="*/ 0 w 1191384"/>
                    <a:gd name="connsiteY8" fmla="*/ 98264 h 982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1384" h="982643">
                      <a:moveTo>
                        <a:pt x="0" y="98264"/>
                      </a:moveTo>
                      <a:cubicBezTo>
                        <a:pt x="0" y="43994"/>
                        <a:pt x="43994" y="0"/>
                        <a:pt x="98264" y="0"/>
                      </a:cubicBezTo>
                      <a:lnTo>
                        <a:pt x="1093120" y="0"/>
                      </a:lnTo>
                      <a:cubicBezTo>
                        <a:pt x="1147390" y="0"/>
                        <a:pt x="1191384" y="43994"/>
                        <a:pt x="1191384" y="98264"/>
                      </a:cubicBezTo>
                      <a:lnTo>
                        <a:pt x="1191384" y="884379"/>
                      </a:lnTo>
                      <a:cubicBezTo>
                        <a:pt x="1191384" y="938649"/>
                        <a:pt x="1147390" y="982643"/>
                        <a:pt x="1093120" y="982643"/>
                      </a:cubicBezTo>
                      <a:lnTo>
                        <a:pt x="98264" y="982643"/>
                      </a:lnTo>
                      <a:cubicBezTo>
                        <a:pt x="43994" y="982643"/>
                        <a:pt x="0" y="938649"/>
                        <a:pt x="0" y="884379"/>
                      </a:cubicBezTo>
                      <a:lnTo>
                        <a:pt x="0" y="98264"/>
                      </a:lnTo>
                      <a:close/>
                    </a:path>
                  </a:pathLst>
                </a:custGeom>
                <a:ln>
                  <a:solidFill>
                    <a:schemeClr val="accent1">
                      <a:lumMod val="75000"/>
                    </a:schemeClr>
                  </a:solidFill>
                </a:ln>
              </p:spPr>
              <p:style>
                <a:lnRef idx="2">
                  <a:schemeClr val="accent2">
                    <a:hueOff val="-41235"/>
                    <a:satOff val="-6594"/>
                    <a:lumOff val="-6177"/>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0713" tIns="271279" rIns="60713" bIns="60714" numCol="1" spcCol="1270" anchor="t" anchorCtr="0">
                  <a:noAutofit/>
                </a:bodyPr>
                <a:lstStyle/>
                <a:p>
                  <a:pPr marL="0" lvl="1" defTabSz="889000">
                    <a:lnSpc>
                      <a:spcPct val="90000"/>
                    </a:lnSpc>
                    <a:spcBef>
                      <a:spcPct val="0"/>
                    </a:spcBef>
                    <a:spcAft>
                      <a:spcPct val="15000"/>
                    </a:spcAft>
                  </a:pPr>
                  <a:endParaRPr lang="en-GB" altLang="zh-CN" sz="1600" dirty="0" smtClean="0">
                    <a:solidFill>
                      <a:srgbClr val="000000">
                        <a:hueOff val="0"/>
                        <a:satOff val="0"/>
                        <a:lumOff val="0"/>
                        <a:alphaOff val="0"/>
                      </a:srgbClr>
                    </a:solidFill>
                    <a:latin typeface="+mj-lt"/>
                    <a:ea typeface="宋体" panose="02010600030101010101" pitchFamily="2" charset="-122"/>
                  </a:endParaRPr>
                </a:p>
                <a:p>
                  <a:pPr marL="0" lvl="1" defTabSz="889000">
                    <a:lnSpc>
                      <a:spcPct val="90000"/>
                    </a:lnSpc>
                    <a:spcBef>
                      <a:spcPct val="0"/>
                    </a:spcBef>
                    <a:spcAft>
                      <a:spcPct val="15000"/>
                    </a:spcAft>
                  </a:pPr>
                  <a:r>
                    <a:rPr lang="en-GB" altLang="zh-CN" sz="1300" dirty="0" smtClean="0">
                      <a:latin typeface="+mj-lt"/>
                      <a:ea typeface="黑体" panose="02010609060101010101" pitchFamily="49" charset="-122"/>
                    </a:rPr>
                    <a:t>Obtain </a:t>
                  </a:r>
                  <a:r>
                    <a:rPr lang="en-GB" altLang="zh-CN" sz="1300" dirty="0" smtClean="0">
                      <a:latin typeface="+mj-lt"/>
                      <a:ea typeface="黑体" panose="02010609060101010101" pitchFamily="49" charset="-122"/>
                    </a:rPr>
                    <a:t>the approval from State Administration of Taxation (</a:t>
                  </a:r>
                  <a:r>
                    <a:rPr lang="en-GB" altLang="zh-CN" sz="1300" b="1" dirty="0" smtClean="0">
                      <a:solidFill>
                        <a:schemeClr val="tx2"/>
                      </a:solidFill>
                      <a:latin typeface="+mj-lt"/>
                      <a:ea typeface="黑体" panose="02010609060101010101" pitchFamily="49" charset="-122"/>
                    </a:rPr>
                    <a:t>SAT)</a:t>
                  </a:r>
                  <a:r>
                    <a:rPr lang="en-GB" altLang="zh-CN" sz="1300" dirty="0" smtClean="0">
                      <a:latin typeface="+mj-lt"/>
                      <a:ea typeface="黑体" panose="02010609060101010101" pitchFamily="49" charset="-122"/>
                    </a:rPr>
                    <a:t> </a:t>
                  </a:r>
                  <a:r>
                    <a:rPr lang="en-GB" altLang="zh-CN" sz="1300" dirty="0" smtClean="0">
                      <a:latin typeface="+mj-lt"/>
                      <a:ea typeface="黑体" panose="02010609060101010101" pitchFamily="49" charset="-122"/>
                    </a:rPr>
                    <a:t>before launching  GAAR investigation</a:t>
                  </a:r>
                  <a:endParaRPr lang="en-GB" altLang="zh-CN" sz="1300" dirty="0">
                    <a:latin typeface="+mj-lt"/>
                    <a:ea typeface="黑体" panose="02010609060101010101" pitchFamily="49" charset="-122"/>
                  </a:endParaRPr>
                </a:p>
              </p:txBody>
            </p:sp>
            <p:sp>
              <p:nvSpPr>
                <p:cNvPr id="79" name="Freeform 78"/>
                <p:cNvSpPr/>
                <p:nvPr/>
              </p:nvSpPr>
              <p:spPr>
                <a:xfrm>
                  <a:off x="1458749" y="3356696"/>
                  <a:ext cx="1491719" cy="622066"/>
                </a:xfrm>
                <a:custGeom>
                  <a:avLst/>
                  <a:gdLst>
                    <a:gd name="connsiteX0" fmla="*/ 0 w 1059008"/>
                    <a:gd name="connsiteY0" fmla="*/ 42113 h 421132"/>
                    <a:gd name="connsiteX1" fmla="*/ 42113 w 1059008"/>
                    <a:gd name="connsiteY1" fmla="*/ 0 h 421132"/>
                    <a:gd name="connsiteX2" fmla="*/ 1016895 w 1059008"/>
                    <a:gd name="connsiteY2" fmla="*/ 0 h 421132"/>
                    <a:gd name="connsiteX3" fmla="*/ 1059008 w 1059008"/>
                    <a:gd name="connsiteY3" fmla="*/ 42113 h 421132"/>
                    <a:gd name="connsiteX4" fmla="*/ 1059008 w 1059008"/>
                    <a:gd name="connsiteY4" fmla="*/ 379019 h 421132"/>
                    <a:gd name="connsiteX5" fmla="*/ 1016895 w 1059008"/>
                    <a:gd name="connsiteY5" fmla="*/ 421132 h 421132"/>
                    <a:gd name="connsiteX6" fmla="*/ 42113 w 1059008"/>
                    <a:gd name="connsiteY6" fmla="*/ 421132 h 421132"/>
                    <a:gd name="connsiteX7" fmla="*/ 0 w 1059008"/>
                    <a:gd name="connsiteY7" fmla="*/ 379019 h 421132"/>
                    <a:gd name="connsiteX8" fmla="*/ 0 w 1059008"/>
                    <a:gd name="connsiteY8" fmla="*/ 42113 h 42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9008" h="421132">
                      <a:moveTo>
                        <a:pt x="0" y="42113"/>
                      </a:moveTo>
                      <a:cubicBezTo>
                        <a:pt x="0" y="18855"/>
                        <a:pt x="18855" y="0"/>
                        <a:pt x="42113" y="0"/>
                      </a:cubicBezTo>
                      <a:lnTo>
                        <a:pt x="1016895" y="0"/>
                      </a:lnTo>
                      <a:cubicBezTo>
                        <a:pt x="1040153" y="0"/>
                        <a:pt x="1059008" y="18855"/>
                        <a:pt x="1059008" y="42113"/>
                      </a:cubicBezTo>
                      <a:lnTo>
                        <a:pt x="1059008" y="379019"/>
                      </a:lnTo>
                      <a:cubicBezTo>
                        <a:pt x="1059008" y="402277"/>
                        <a:pt x="1040153" y="421132"/>
                        <a:pt x="1016895" y="421132"/>
                      </a:cubicBezTo>
                      <a:lnTo>
                        <a:pt x="42113" y="421132"/>
                      </a:lnTo>
                      <a:cubicBezTo>
                        <a:pt x="18855" y="421132"/>
                        <a:pt x="0" y="402277"/>
                        <a:pt x="0" y="379019"/>
                      </a:cubicBezTo>
                      <a:lnTo>
                        <a:pt x="0" y="42113"/>
                      </a:lnTo>
                      <a:close/>
                    </a:path>
                  </a:pathLst>
                </a:custGeom>
              </p:spPr>
              <p:style>
                <a:lnRef idx="1">
                  <a:schemeClr val="accent1"/>
                </a:lnRef>
                <a:fillRef idx="3">
                  <a:schemeClr val="accent1"/>
                </a:fillRef>
                <a:effectRef idx="2">
                  <a:schemeClr val="accent1"/>
                </a:effectRef>
                <a:fontRef idx="minor">
                  <a:schemeClr val="lt1"/>
                </a:fontRef>
              </p:style>
              <p:txBody>
                <a:bodyPr spcFirstLastPara="0" vert="horz" wrap="square" lIns="40910" tIns="31385" rIns="40910" bIns="31385" numCol="1" spcCol="1270" anchor="ctr" anchorCtr="0">
                  <a:noAutofit/>
                </a:bodyPr>
                <a:lstStyle/>
                <a:p>
                  <a:pPr algn="ctr" defTabSz="666750">
                    <a:lnSpc>
                      <a:spcPct val="90000"/>
                    </a:lnSpc>
                    <a:spcBef>
                      <a:spcPct val="0"/>
                    </a:spcBef>
                    <a:spcAft>
                      <a:spcPct val="35000"/>
                    </a:spcAft>
                  </a:pPr>
                  <a:endParaRPr lang="en-GB" altLang="zh-CN" sz="1600" dirty="0">
                    <a:solidFill>
                      <a:srgbClr val="FFFFFF"/>
                    </a:solidFill>
                    <a:latin typeface="宋体" panose="02010600030101010101" pitchFamily="2" charset="-122"/>
                    <a:ea typeface="宋体" panose="02010600030101010101" pitchFamily="2" charset="-122"/>
                  </a:endParaRPr>
                </a:p>
              </p:txBody>
            </p:sp>
            <p:sp>
              <p:nvSpPr>
                <p:cNvPr id="80" name="Rounded Rectangle 79"/>
                <p:cNvSpPr/>
                <p:nvPr/>
              </p:nvSpPr>
              <p:spPr>
                <a:xfrm>
                  <a:off x="3016234" y="2463985"/>
                  <a:ext cx="2308219" cy="2079712"/>
                </a:xfrm>
                <a:prstGeom prst="roundRect">
                  <a:avLst>
                    <a:gd name="adj" fmla="val 10000"/>
                  </a:avLst>
                </a:prstGeom>
                <a:ln>
                  <a:solidFill>
                    <a:schemeClr val="accent1">
                      <a:lumMod val="75000"/>
                    </a:schemeClr>
                  </a:solidFill>
                </a:ln>
              </p:spPr>
              <p:style>
                <a:lnRef idx="2">
                  <a:schemeClr val="accent2">
                    <a:hueOff val="-82470"/>
                    <a:satOff val="-13187"/>
                    <a:lumOff val="-12353"/>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pPr marL="179388" indent="-179388">
                    <a:buFont typeface="Arial" panose="020B0604020202020204" pitchFamily="34" charset="0"/>
                    <a:buChar char="•"/>
                  </a:pPr>
                  <a:r>
                    <a:rPr lang="en-GB" altLang="zh-CN" sz="1300" dirty="0" smtClean="0">
                      <a:latin typeface="+mj-lt"/>
                      <a:ea typeface="黑体" panose="02010609060101010101" pitchFamily="49" charset="-122"/>
                    </a:rPr>
                    <a:t>“Tax </a:t>
                  </a:r>
                  <a:r>
                    <a:rPr lang="en-GB" altLang="zh-CN" sz="1300" dirty="0">
                      <a:latin typeface="+mj-lt"/>
                      <a:ea typeface="黑体" panose="02010609060101010101" pitchFamily="49" charset="-122"/>
                    </a:rPr>
                    <a:t>investigation </a:t>
                  </a:r>
                  <a:r>
                    <a:rPr lang="en-GB" altLang="zh-CN" sz="1300" dirty="0" smtClean="0">
                      <a:latin typeface="+mj-lt"/>
                      <a:ea typeface="黑体" panose="02010609060101010101" pitchFamily="49" charset="-122"/>
                    </a:rPr>
                    <a:t>notice”, “Notice </a:t>
                  </a:r>
                  <a:r>
                    <a:rPr lang="en-GB" altLang="zh-CN" sz="1300" dirty="0">
                      <a:latin typeface="+mj-lt"/>
                      <a:ea typeface="黑体" panose="02010609060101010101" pitchFamily="49" charset="-122"/>
                    </a:rPr>
                    <a:t>of tax related </a:t>
                  </a:r>
                  <a:r>
                    <a:rPr lang="en-GB" altLang="zh-CN" sz="1300" dirty="0" smtClean="0">
                      <a:latin typeface="+mj-lt"/>
                      <a:ea typeface="黑体" panose="02010609060101010101" pitchFamily="49" charset="-122"/>
                    </a:rPr>
                    <a:t>issues”</a:t>
                  </a:r>
                  <a:endParaRPr lang="en-GB" altLang="zh-CN" sz="1300" dirty="0">
                    <a:latin typeface="+mj-lt"/>
                    <a:ea typeface="黑体" panose="02010609060101010101" pitchFamily="49" charset="-122"/>
                  </a:endParaRPr>
                </a:p>
                <a:p>
                  <a:pPr marL="179388" indent="-179388">
                    <a:buFont typeface="Arial" panose="020B0604020202020204" pitchFamily="34" charset="0"/>
                    <a:buChar char="•"/>
                  </a:pPr>
                  <a:r>
                    <a:rPr lang="en-GB" altLang="zh-CN" sz="1300" dirty="0">
                      <a:latin typeface="+mj-lt"/>
                      <a:ea typeface="黑体" panose="02010609060101010101" pitchFamily="49" charset="-122"/>
                    </a:rPr>
                    <a:t>Burden of </a:t>
                  </a:r>
                  <a:r>
                    <a:rPr lang="en-GB" altLang="zh-CN" sz="1300" dirty="0" smtClean="0">
                      <a:latin typeface="+mj-lt"/>
                      <a:ea typeface="黑体" panose="02010609060101010101" pitchFamily="49" charset="-122"/>
                    </a:rPr>
                    <a:t>proof</a:t>
                  </a:r>
                  <a:r>
                    <a:rPr lang="zh-CN" altLang="en-US" sz="1300" dirty="0">
                      <a:latin typeface="+mj-lt"/>
                      <a:ea typeface="黑体" panose="02010609060101010101" pitchFamily="49" charset="-122"/>
                    </a:rPr>
                    <a:t> </a:t>
                  </a:r>
                  <a:r>
                    <a:rPr lang="en-US" altLang="zh-CN" sz="1300" dirty="0" smtClean="0">
                      <a:latin typeface="+mj-lt"/>
                      <a:ea typeface="黑体" panose="02010609060101010101" pitchFamily="49" charset="-122"/>
                    </a:rPr>
                    <a:t>rests with the company being investigated</a:t>
                  </a:r>
                  <a:endParaRPr lang="en-GB" altLang="zh-CN" sz="1300" dirty="0">
                    <a:latin typeface="+mj-lt"/>
                    <a:ea typeface="黑体" panose="02010609060101010101" pitchFamily="49" charset="-122"/>
                  </a:endParaRPr>
                </a:p>
                <a:p>
                  <a:pPr marL="179388" indent="-179388">
                    <a:buFont typeface="Arial" panose="020B0604020202020204" pitchFamily="34" charset="0"/>
                    <a:buChar char="•"/>
                  </a:pPr>
                  <a:r>
                    <a:rPr lang="en-GB" altLang="zh-CN" sz="1300" dirty="0" smtClean="0">
                      <a:latin typeface="+mj-lt"/>
                      <a:ea typeface="黑体" panose="02010609060101010101" pitchFamily="49" charset="-122"/>
                    </a:rPr>
                    <a:t>Related </a:t>
                  </a:r>
                  <a:r>
                    <a:rPr lang="en-GB" altLang="zh-CN" sz="1300" dirty="0">
                      <a:latin typeface="+mj-lt"/>
                      <a:ea typeface="黑体" panose="02010609060101010101" pitchFamily="49" charset="-122"/>
                    </a:rPr>
                    <a:t>parties and </a:t>
                  </a:r>
                  <a:r>
                    <a:rPr lang="en-GB" altLang="zh-CN" sz="1300" dirty="0" smtClean="0">
                      <a:latin typeface="+mj-lt"/>
                      <a:ea typeface="黑体" panose="02010609060101010101" pitchFamily="49" charset="-122"/>
                    </a:rPr>
                    <a:t>scheme planner shall fulfil their </a:t>
                  </a:r>
                  <a:r>
                    <a:rPr lang="en-GB" altLang="zh-CN" sz="1300" dirty="0" smtClean="0">
                      <a:latin typeface="+mj-lt"/>
                      <a:ea typeface="黑体" panose="02010609060101010101" pitchFamily="49" charset="-122"/>
                    </a:rPr>
                    <a:t>obligation to assist </a:t>
                  </a:r>
                  <a:r>
                    <a:rPr lang="en-GB" altLang="zh-CN" sz="1300" dirty="0" smtClean="0">
                      <a:latin typeface="+mj-lt"/>
                      <a:ea typeface="黑体" panose="02010609060101010101" pitchFamily="49" charset="-122"/>
                    </a:rPr>
                    <a:t>upon request </a:t>
                  </a:r>
                  <a:endParaRPr lang="en-GB" altLang="zh-CN" sz="1300" dirty="0">
                    <a:latin typeface="+mj-lt"/>
                    <a:ea typeface="黑体" panose="02010609060101010101" pitchFamily="49" charset="-122"/>
                  </a:endParaRPr>
                </a:p>
              </p:txBody>
            </p:sp>
            <p:sp>
              <p:nvSpPr>
                <p:cNvPr id="81" name="Freeform 80"/>
                <p:cNvSpPr/>
                <p:nvPr/>
              </p:nvSpPr>
              <p:spPr>
                <a:xfrm>
                  <a:off x="3424134" y="4535059"/>
                  <a:ext cx="1435906" cy="508603"/>
                </a:xfrm>
                <a:custGeom>
                  <a:avLst/>
                  <a:gdLst>
                    <a:gd name="connsiteX0" fmla="*/ 0 w 1059008"/>
                    <a:gd name="connsiteY0" fmla="*/ 42113 h 421132"/>
                    <a:gd name="connsiteX1" fmla="*/ 42113 w 1059008"/>
                    <a:gd name="connsiteY1" fmla="*/ 0 h 421132"/>
                    <a:gd name="connsiteX2" fmla="*/ 1016895 w 1059008"/>
                    <a:gd name="connsiteY2" fmla="*/ 0 h 421132"/>
                    <a:gd name="connsiteX3" fmla="*/ 1059008 w 1059008"/>
                    <a:gd name="connsiteY3" fmla="*/ 42113 h 421132"/>
                    <a:gd name="connsiteX4" fmla="*/ 1059008 w 1059008"/>
                    <a:gd name="connsiteY4" fmla="*/ 379019 h 421132"/>
                    <a:gd name="connsiteX5" fmla="*/ 1016895 w 1059008"/>
                    <a:gd name="connsiteY5" fmla="*/ 421132 h 421132"/>
                    <a:gd name="connsiteX6" fmla="*/ 42113 w 1059008"/>
                    <a:gd name="connsiteY6" fmla="*/ 421132 h 421132"/>
                    <a:gd name="connsiteX7" fmla="*/ 0 w 1059008"/>
                    <a:gd name="connsiteY7" fmla="*/ 379019 h 421132"/>
                    <a:gd name="connsiteX8" fmla="*/ 0 w 1059008"/>
                    <a:gd name="connsiteY8" fmla="*/ 42113 h 42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9008" h="421132">
                      <a:moveTo>
                        <a:pt x="0" y="42113"/>
                      </a:moveTo>
                      <a:cubicBezTo>
                        <a:pt x="0" y="18855"/>
                        <a:pt x="18855" y="0"/>
                        <a:pt x="42113" y="0"/>
                      </a:cubicBezTo>
                      <a:lnTo>
                        <a:pt x="1016895" y="0"/>
                      </a:lnTo>
                      <a:cubicBezTo>
                        <a:pt x="1040153" y="0"/>
                        <a:pt x="1059008" y="18855"/>
                        <a:pt x="1059008" y="42113"/>
                      </a:cubicBezTo>
                      <a:lnTo>
                        <a:pt x="1059008" y="379019"/>
                      </a:lnTo>
                      <a:cubicBezTo>
                        <a:pt x="1059008" y="402277"/>
                        <a:pt x="1040153" y="421132"/>
                        <a:pt x="1016895" y="421132"/>
                      </a:cubicBezTo>
                      <a:lnTo>
                        <a:pt x="42113" y="421132"/>
                      </a:lnTo>
                      <a:cubicBezTo>
                        <a:pt x="18855" y="421132"/>
                        <a:pt x="0" y="402277"/>
                        <a:pt x="0" y="379019"/>
                      </a:cubicBezTo>
                      <a:lnTo>
                        <a:pt x="0" y="42113"/>
                      </a:lnTo>
                      <a:close/>
                    </a:path>
                  </a:pathLst>
                </a:custGeom>
              </p:spPr>
              <p:style>
                <a:lnRef idx="1">
                  <a:schemeClr val="accent1"/>
                </a:lnRef>
                <a:fillRef idx="3">
                  <a:schemeClr val="accent1"/>
                </a:fillRef>
                <a:effectRef idx="2">
                  <a:schemeClr val="accent1"/>
                </a:effectRef>
                <a:fontRef idx="minor">
                  <a:schemeClr val="lt1"/>
                </a:fontRef>
              </p:style>
              <p:txBody>
                <a:bodyPr spcFirstLastPara="0" vert="horz" wrap="square" lIns="40910" tIns="31385" rIns="40910" bIns="31385" numCol="1" spcCol="1270" anchor="ctr" anchorCtr="0">
                  <a:noAutofit/>
                </a:bodyPr>
                <a:lstStyle/>
                <a:p>
                  <a:pPr algn="ctr" defTabSz="666750">
                    <a:lnSpc>
                      <a:spcPct val="90000"/>
                    </a:lnSpc>
                    <a:spcBef>
                      <a:spcPct val="0"/>
                    </a:spcBef>
                    <a:spcAft>
                      <a:spcPct val="35000"/>
                    </a:spcAft>
                  </a:pPr>
                  <a:r>
                    <a:rPr lang="en-GB" altLang="zh-CN" sz="1600" b="1" dirty="0" smtClean="0">
                      <a:solidFill>
                        <a:srgbClr val="FFFFFF"/>
                      </a:solidFill>
                      <a:latin typeface="宋体" panose="02010600030101010101" pitchFamily="2" charset="-122"/>
                      <a:ea typeface="宋体" panose="02010600030101010101" pitchFamily="2" charset="-122"/>
                    </a:rPr>
                    <a:t> </a:t>
                  </a:r>
                  <a:endParaRPr lang="en-GB" altLang="zh-CN" sz="1600" b="1" dirty="0">
                    <a:solidFill>
                      <a:srgbClr val="FFFFFF"/>
                    </a:solidFill>
                    <a:latin typeface="宋体" panose="02010600030101010101" pitchFamily="2" charset="-122"/>
                    <a:ea typeface="宋体" panose="02010600030101010101" pitchFamily="2" charset="-122"/>
                  </a:endParaRPr>
                </a:p>
              </p:txBody>
            </p:sp>
            <p:sp>
              <p:nvSpPr>
                <p:cNvPr id="82" name="Rounded Rectangle 81"/>
                <p:cNvSpPr/>
                <p:nvPr/>
              </p:nvSpPr>
              <p:spPr>
                <a:xfrm>
                  <a:off x="5593994" y="3610997"/>
                  <a:ext cx="1615394" cy="1951195"/>
                </a:xfrm>
                <a:prstGeom prst="roundRect">
                  <a:avLst>
                    <a:gd name="adj" fmla="val 10000"/>
                  </a:avLst>
                </a:prstGeom>
                <a:ln>
                  <a:solidFill>
                    <a:schemeClr val="accent1"/>
                  </a:solidFill>
                </a:ln>
              </p:spPr>
              <p:style>
                <a:lnRef idx="2">
                  <a:schemeClr val="accent2">
                    <a:hueOff val="-123706"/>
                    <a:satOff val="-19781"/>
                    <a:lumOff val="-1853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a:lstStyle/>
                <a:p>
                  <a:endParaRPr lang="en-GB" altLang="zh-CN" sz="1600" dirty="0" smtClean="0">
                    <a:solidFill>
                      <a:srgbClr val="000000">
                        <a:hueOff val="0"/>
                        <a:satOff val="0"/>
                        <a:lumOff val="0"/>
                        <a:alphaOff val="0"/>
                      </a:srgbClr>
                    </a:solidFill>
                    <a:latin typeface="宋体" panose="02010600030101010101" pitchFamily="2" charset="-122"/>
                    <a:ea typeface="宋体" panose="02010600030101010101" pitchFamily="2" charset="-122"/>
                  </a:endParaRPr>
                </a:p>
                <a:p>
                  <a:r>
                    <a:rPr lang="en-GB" altLang="zh-CN" sz="1300" dirty="0" smtClean="0">
                      <a:latin typeface="+mj-lt"/>
                      <a:ea typeface="黑体" panose="02010609060101010101" pitchFamily="49" charset="-122"/>
                    </a:rPr>
                    <a:t>Obtain </a:t>
                  </a:r>
                  <a:r>
                    <a:rPr lang="en-GB" altLang="zh-CN" sz="1300" b="1" dirty="0" smtClean="0">
                      <a:solidFill>
                        <a:schemeClr val="tx2"/>
                      </a:solidFill>
                      <a:latin typeface="+mj-lt"/>
                      <a:ea typeface="黑体" panose="02010609060101010101" pitchFamily="49" charset="-122"/>
                    </a:rPr>
                    <a:t>SAT</a:t>
                  </a:r>
                  <a:r>
                    <a:rPr lang="en-GB" altLang="zh-CN" sz="1300" dirty="0" smtClean="0">
                      <a:latin typeface="+mj-lt"/>
                      <a:ea typeface="黑体" panose="02010609060101010101" pitchFamily="49" charset="-122"/>
                    </a:rPr>
                    <a:t>’s approval for tax adjustment</a:t>
                  </a:r>
                  <a:endParaRPr lang="en-GB" altLang="zh-CN" sz="1300" dirty="0">
                    <a:latin typeface="+mj-lt"/>
                    <a:ea typeface="黑体" panose="02010609060101010101" pitchFamily="49" charset="-122"/>
                  </a:endParaRPr>
                </a:p>
              </p:txBody>
            </p:sp>
            <p:sp>
              <p:nvSpPr>
                <p:cNvPr id="84" name="Freeform 83"/>
                <p:cNvSpPr/>
                <p:nvPr/>
              </p:nvSpPr>
              <p:spPr>
                <a:xfrm>
                  <a:off x="5734770" y="3356696"/>
                  <a:ext cx="1435906" cy="508603"/>
                </a:xfrm>
                <a:custGeom>
                  <a:avLst/>
                  <a:gdLst>
                    <a:gd name="connsiteX0" fmla="*/ 0 w 1059008"/>
                    <a:gd name="connsiteY0" fmla="*/ 42113 h 421132"/>
                    <a:gd name="connsiteX1" fmla="*/ 42113 w 1059008"/>
                    <a:gd name="connsiteY1" fmla="*/ 0 h 421132"/>
                    <a:gd name="connsiteX2" fmla="*/ 1016895 w 1059008"/>
                    <a:gd name="connsiteY2" fmla="*/ 0 h 421132"/>
                    <a:gd name="connsiteX3" fmla="*/ 1059008 w 1059008"/>
                    <a:gd name="connsiteY3" fmla="*/ 42113 h 421132"/>
                    <a:gd name="connsiteX4" fmla="*/ 1059008 w 1059008"/>
                    <a:gd name="connsiteY4" fmla="*/ 379019 h 421132"/>
                    <a:gd name="connsiteX5" fmla="*/ 1016895 w 1059008"/>
                    <a:gd name="connsiteY5" fmla="*/ 421132 h 421132"/>
                    <a:gd name="connsiteX6" fmla="*/ 42113 w 1059008"/>
                    <a:gd name="connsiteY6" fmla="*/ 421132 h 421132"/>
                    <a:gd name="connsiteX7" fmla="*/ 0 w 1059008"/>
                    <a:gd name="connsiteY7" fmla="*/ 379019 h 421132"/>
                    <a:gd name="connsiteX8" fmla="*/ 0 w 1059008"/>
                    <a:gd name="connsiteY8" fmla="*/ 42113 h 42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9008" h="421132">
                      <a:moveTo>
                        <a:pt x="0" y="42113"/>
                      </a:moveTo>
                      <a:cubicBezTo>
                        <a:pt x="0" y="18855"/>
                        <a:pt x="18855" y="0"/>
                        <a:pt x="42113" y="0"/>
                      </a:cubicBezTo>
                      <a:lnTo>
                        <a:pt x="1016895" y="0"/>
                      </a:lnTo>
                      <a:cubicBezTo>
                        <a:pt x="1040153" y="0"/>
                        <a:pt x="1059008" y="18855"/>
                        <a:pt x="1059008" y="42113"/>
                      </a:cubicBezTo>
                      <a:lnTo>
                        <a:pt x="1059008" y="379019"/>
                      </a:lnTo>
                      <a:cubicBezTo>
                        <a:pt x="1059008" y="402277"/>
                        <a:pt x="1040153" y="421132"/>
                        <a:pt x="1016895" y="421132"/>
                      </a:cubicBezTo>
                      <a:lnTo>
                        <a:pt x="42113" y="421132"/>
                      </a:lnTo>
                      <a:cubicBezTo>
                        <a:pt x="18855" y="421132"/>
                        <a:pt x="0" y="402277"/>
                        <a:pt x="0" y="379019"/>
                      </a:cubicBezTo>
                      <a:lnTo>
                        <a:pt x="0" y="42113"/>
                      </a:lnTo>
                      <a:close/>
                    </a:path>
                  </a:pathLst>
                </a:custGeom>
              </p:spPr>
              <p:style>
                <a:lnRef idx="1">
                  <a:schemeClr val="accent1"/>
                </a:lnRef>
                <a:fillRef idx="3">
                  <a:schemeClr val="accent1"/>
                </a:fillRef>
                <a:effectRef idx="2">
                  <a:schemeClr val="accent1"/>
                </a:effectRef>
                <a:fontRef idx="minor">
                  <a:schemeClr val="lt1"/>
                </a:fontRef>
              </p:style>
              <p:txBody>
                <a:bodyPr spcFirstLastPara="0" vert="horz" wrap="square" lIns="40910" tIns="31385" rIns="40910" bIns="31385" numCol="1" spcCol="1270" anchor="ctr" anchorCtr="0">
                  <a:noAutofit/>
                </a:bodyPr>
                <a:lstStyle/>
                <a:p>
                  <a:pPr algn="ctr" defTabSz="666750">
                    <a:lnSpc>
                      <a:spcPct val="90000"/>
                    </a:lnSpc>
                    <a:spcBef>
                      <a:spcPct val="0"/>
                    </a:spcBef>
                    <a:spcAft>
                      <a:spcPct val="35000"/>
                    </a:spcAft>
                  </a:pPr>
                  <a:endParaRPr lang="en-GB" altLang="zh-CN" sz="1600" b="1" dirty="0">
                    <a:solidFill>
                      <a:srgbClr val="FFFFFF"/>
                    </a:solidFill>
                    <a:latin typeface="宋体" panose="02010600030101010101" pitchFamily="2" charset="-122"/>
                    <a:ea typeface="宋体" panose="02010600030101010101" pitchFamily="2" charset="-122"/>
                  </a:endParaRPr>
                </a:p>
              </p:txBody>
            </p:sp>
            <p:sp>
              <p:nvSpPr>
                <p:cNvPr id="85" name="Freeform 84"/>
                <p:cNvSpPr/>
                <p:nvPr/>
              </p:nvSpPr>
              <p:spPr>
                <a:xfrm>
                  <a:off x="7395995" y="3168292"/>
                  <a:ext cx="2114131" cy="1756159"/>
                </a:xfrm>
                <a:custGeom>
                  <a:avLst/>
                  <a:gdLst>
                    <a:gd name="connsiteX0" fmla="*/ 0 w 1191384"/>
                    <a:gd name="connsiteY0" fmla="*/ 98264 h 982643"/>
                    <a:gd name="connsiteX1" fmla="*/ 98264 w 1191384"/>
                    <a:gd name="connsiteY1" fmla="*/ 0 h 982643"/>
                    <a:gd name="connsiteX2" fmla="*/ 1093120 w 1191384"/>
                    <a:gd name="connsiteY2" fmla="*/ 0 h 982643"/>
                    <a:gd name="connsiteX3" fmla="*/ 1191384 w 1191384"/>
                    <a:gd name="connsiteY3" fmla="*/ 98264 h 982643"/>
                    <a:gd name="connsiteX4" fmla="*/ 1191384 w 1191384"/>
                    <a:gd name="connsiteY4" fmla="*/ 884379 h 982643"/>
                    <a:gd name="connsiteX5" fmla="*/ 1093120 w 1191384"/>
                    <a:gd name="connsiteY5" fmla="*/ 982643 h 982643"/>
                    <a:gd name="connsiteX6" fmla="*/ 98264 w 1191384"/>
                    <a:gd name="connsiteY6" fmla="*/ 982643 h 982643"/>
                    <a:gd name="connsiteX7" fmla="*/ 0 w 1191384"/>
                    <a:gd name="connsiteY7" fmla="*/ 884379 h 982643"/>
                    <a:gd name="connsiteX8" fmla="*/ 0 w 1191384"/>
                    <a:gd name="connsiteY8" fmla="*/ 98264 h 9826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91384" h="982643">
                      <a:moveTo>
                        <a:pt x="0" y="98264"/>
                      </a:moveTo>
                      <a:cubicBezTo>
                        <a:pt x="0" y="43994"/>
                        <a:pt x="43994" y="0"/>
                        <a:pt x="98264" y="0"/>
                      </a:cubicBezTo>
                      <a:lnTo>
                        <a:pt x="1093120" y="0"/>
                      </a:lnTo>
                      <a:cubicBezTo>
                        <a:pt x="1147390" y="0"/>
                        <a:pt x="1191384" y="43994"/>
                        <a:pt x="1191384" y="98264"/>
                      </a:cubicBezTo>
                      <a:lnTo>
                        <a:pt x="1191384" y="884379"/>
                      </a:lnTo>
                      <a:cubicBezTo>
                        <a:pt x="1191384" y="938649"/>
                        <a:pt x="1147390" y="982643"/>
                        <a:pt x="1093120" y="982643"/>
                      </a:cubicBezTo>
                      <a:lnTo>
                        <a:pt x="98264" y="982643"/>
                      </a:lnTo>
                      <a:cubicBezTo>
                        <a:pt x="43994" y="982643"/>
                        <a:pt x="0" y="938649"/>
                        <a:pt x="0" y="884379"/>
                      </a:cubicBezTo>
                      <a:lnTo>
                        <a:pt x="0" y="98264"/>
                      </a:lnTo>
                      <a:close/>
                    </a:path>
                  </a:pathLst>
                </a:custGeom>
              </p:spPr>
              <p:style>
                <a:lnRef idx="2">
                  <a:schemeClr val="accent2">
                    <a:hueOff val="-164941"/>
                    <a:satOff val="-26375"/>
                    <a:lumOff val="-24706"/>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0713" tIns="60713" rIns="60713" bIns="271280" numCol="1" spcCol="1270" anchor="t" anchorCtr="0">
                  <a:noAutofit/>
                </a:bodyPr>
                <a:lstStyle/>
                <a:p>
                  <a:pPr marL="179388" lvl="1" indent="-179388" defTabSz="889000">
                    <a:lnSpc>
                      <a:spcPct val="90000"/>
                    </a:lnSpc>
                    <a:spcBef>
                      <a:spcPct val="0"/>
                    </a:spcBef>
                    <a:spcAft>
                      <a:spcPct val="15000"/>
                    </a:spcAft>
                    <a:buFont typeface="Arial" panose="020B0604020202020204" pitchFamily="34" charset="0"/>
                    <a:buChar char="•"/>
                    <a:tabLst>
                      <a:tab pos="179388" algn="l"/>
                    </a:tabLst>
                  </a:pPr>
                  <a:r>
                    <a:rPr lang="en-GB" altLang="zh-CN" sz="1300" dirty="0">
                      <a:latin typeface="+mj-lt"/>
                      <a:ea typeface="黑体" panose="02010609060101010101" pitchFamily="49" charset="-122"/>
                    </a:rPr>
                    <a:t>Legal remedy available</a:t>
                  </a:r>
                </a:p>
                <a:p>
                  <a:pPr marL="179388" lvl="1" indent="-179388" defTabSz="889000">
                    <a:lnSpc>
                      <a:spcPct val="90000"/>
                    </a:lnSpc>
                    <a:spcBef>
                      <a:spcPct val="0"/>
                    </a:spcBef>
                    <a:spcAft>
                      <a:spcPct val="15000"/>
                    </a:spcAft>
                    <a:buFont typeface="Arial" panose="020B0604020202020204" pitchFamily="34" charset="0"/>
                    <a:buChar char="•"/>
                    <a:tabLst>
                      <a:tab pos="179388" algn="l"/>
                    </a:tabLst>
                  </a:pPr>
                  <a:r>
                    <a:rPr lang="en-GB" altLang="zh-CN" sz="1300" b="1" dirty="0">
                      <a:solidFill>
                        <a:schemeClr val="tx2"/>
                      </a:solidFill>
                      <a:latin typeface="+mj-lt"/>
                      <a:ea typeface="黑体" panose="02010609060101010101" pitchFamily="49" charset="-122"/>
                    </a:rPr>
                    <a:t>SAT</a:t>
                  </a:r>
                  <a:r>
                    <a:rPr lang="en-GB" altLang="zh-CN" sz="1300" dirty="0">
                      <a:latin typeface="+mj-lt"/>
                      <a:ea typeface="黑体" panose="02010609060101010101" pitchFamily="49" charset="-122"/>
                    </a:rPr>
                    <a:t> responsible for coordination where the GAAR adjustment results in domestic double taxation</a:t>
                  </a:r>
                </a:p>
                <a:p>
                  <a:pPr marL="179388" lvl="1" indent="-179388" defTabSz="889000">
                    <a:lnSpc>
                      <a:spcPct val="90000"/>
                    </a:lnSpc>
                    <a:spcBef>
                      <a:spcPct val="0"/>
                    </a:spcBef>
                    <a:spcAft>
                      <a:spcPct val="15000"/>
                    </a:spcAft>
                    <a:buFont typeface="Arial" panose="020B0604020202020204" pitchFamily="34" charset="0"/>
                    <a:buChar char="•"/>
                    <a:tabLst>
                      <a:tab pos="179388" algn="l"/>
                    </a:tabLst>
                  </a:pPr>
                  <a:r>
                    <a:rPr lang="en-GB" altLang="zh-CN" sz="1300" dirty="0">
                      <a:latin typeface="+mj-lt"/>
                      <a:ea typeface="黑体" panose="02010609060101010101" pitchFamily="49" charset="-122"/>
                    </a:rPr>
                    <a:t>Mutual Agreement Procedure (MAP)</a:t>
                  </a:r>
                </a:p>
              </p:txBody>
            </p:sp>
            <p:sp>
              <p:nvSpPr>
                <p:cNvPr id="86" name="Freeform 85"/>
                <p:cNvSpPr/>
                <p:nvPr/>
              </p:nvSpPr>
              <p:spPr>
                <a:xfrm>
                  <a:off x="8118586" y="4718046"/>
                  <a:ext cx="1435906" cy="508603"/>
                </a:xfrm>
                <a:custGeom>
                  <a:avLst/>
                  <a:gdLst>
                    <a:gd name="connsiteX0" fmla="*/ 0 w 1059008"/>
                    <a:gd name="connsiteY0" fmla="*/ 42113 h 421132"/>
                    <a:gd name="connsiteX1" fmla="*/ 42113 w 1059008"/>
                    <a:gd name="connsiteY1" fmla="*/ 0 h 421132"/>
                    <a:gd name="connsiteX2" fmla="*/ 1016895 w 1059008"/>
                    <a:gd name="connsiteY2" fmla="*/ 0 h 421132"/>
                    <a:gd name="connsiteX3" fmla="*/ 1059008 w 1059008"/>
                    <a:gd name="connsiteY3" fmla="*/ 42113 h 421132"/>
                    <a:gd name="connsiteX4" fmla="*/ 1059008 w 1059008"/>
                    <a:gd name="connsiteY4" fmla="*/ 379019 h 421132"/>
                    <a:gd name="connsiteX5" fmla="*/ 1016895 w 1059008"/>
                    <a:gd name="connsiteY5" fmla="*/ 421132 h 421132"/>
                    <a:gd name="connsiteX6" fmla="*/ 42113 w 1059008"/>
                    <a:gd name="connsiteY6" fmla="*/ 421132 h 421132"/>
                    <a:gd name="connsiteX7" fmla="*/ 0 w 1059008"/>
                    <a:gd name="connsiteY7" fmla="*/ 379019 h 421132"/>
                    <a:gd name="connsiteX8" fmla="*/ 0 w 1059008"/>
                    <a:gd name="connsiteY8" fmla="*/ 42113 h 42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9008" h="421132">
                      <a:moveTo>
                        <a:pt x="0" y="42113"/>
                      </a:moveTo>
                      <a:cubicBezTo>
                        <a:pt x="0" y="18855"/>
                        <a:pt x="18855" y="0"/>
                        <a:pt x="42113" y="0"/>
                      </a:cubicBezTo>
                      <a:lnTo>
                        <a:pt x="1016895" y="0"/>
                      </a:lnTo>
                      <a:cubicBezTo>
                        <a:pt x="1040153" y="0"/>
                        <a:pt x="1059008" y="18855"/>
                        <a:pt x="1059008" y="42113"/>
                      </a:cubicBezTo>
                      <a:lnTo>
                        <a:pt x="1059008" y="379019"/>
                      </a:lnTo>
                      <a:cubicBezTo>
                        <a:pt x="1059008" y="402277"/>
                        <a:pt x="1040153" y="421132"/>
                        <a:pt x="1016895" y="421132"/>
                      </a:cubicBezTo>
                      <a:lnTo>
                        <a:pt x="42113" y="421132"/>
                      </a:lnTo>
                      <a:cubicBezTo>
                        <a:pt x="18855" y="421132"/>
                        <a:pt x="0" y="402277"/>
                        <a:pt x="0" y="379019"/>
                      </a:cubicBezTo>
                      <a:lnTo>
                        <a:pt x="0" y="42113"/>
                      </a:lnTo>
                      <a:close/>
                    </a:path>
                  </a:pathLst>
                </a:custGeom>
              </p:spPr>
              <p:style>
                <a:lnRef idx="1">
                  <a:schemeClr val="accent1"/>
                </a:lnRef>
                <a:fillRef idx="3">
                  <a:schemeClr val="accent1"/>
                </a:fillRef>
                <a:effectRef idx="2">
                  <a:schemeClr val="accent1"/>
                </a:effectRef>
                <a:fontRef idx="minor">
                  <a:schemeClr val="lt1"/>
                </a:fontRef>
              </p:style>
              <p:txBody>
                <a:bodyPr spcFirstLastPara="0" vert="horz" wrap="square" lIns="40910" tIns="31385" rIns="40910" bIns="31385" numCol="1" spcCol="1270" anchor="ctr" anchorCtr="0">
                  <a:noAutofit/>
                </a:bodyPr>
                <a:lstStyle/>
                <a:p>
                  <a:pPr algn="ctr" defTabSz="666750">
                    <a:lnSpc>
                      <a:spcPct val="90000"/>
                    </a:lnSpc>
                    <a:spcBef>
                      <a:spcPct val="0"/>
                    </a:spcBef>
                    <a:spcAft>
                      <a:spcPct val="35000"/>
                    </a:spcAft>
                  </a:pPr>
                  <a:endParaRPr lang="en-GB" altLang="zh-CN" sz="1600" b="1" dirty="0">
                    <a:solidFill>
                      <a:srgbClr val="FFFFFF"/>
                    </a:solidFill>
                    <a:latin typeface="宋体" panose="02010600030101010101" pitchFamily="2" charset="-122"/>
                    <a:ea typeface="宋体" panose="02010600030101010101" pitchFamily="2" charset="-122"/>
                  </a:endParaRPr>
                </a:p>
              </p:txBody>
            </p:sp>
            <p:grpSp>
              <p:nvGrpSpPr>
                <p:cNvPr id="87" name="Group 86"/>
                <p:cNvGrpSpPr/>
                <p:nvPr/>
              </p:nvGrpSpPr>
              <p:grpSpPr>
                <a:xfrm>
                  <a:off x="1222232" y="3044833"/>
                  <a:ext cx="699135" cy="688848"/>
                  <a:chOff x="3467566" y="1980603"/>
                  <a:chExt cx="699135" cy="688848"/>
                </a:xfrm>
              </p:grpSpPr>
              <p:sp>
                <p:nvSpPr>
                  <p:cNvPr id="107" name="Oval 106"/>
                  <p:cNvSpPr/>
                  <p:nvPr/>
                </p:nvSpPr>
                <p:spPr>
                  <a:xfrm>
                    <a:off x="3467566" y="1980603"/>
                    <a:ext cx="699135" cy="688848"/>
                  </a:xfrm>
                  <a:prstGeom prst="ellipse">
                    <a:avLst/>
                  </a:prstGeom>
                  <a:solidFill>
                    <a:schemeClr val="bg1"/>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tLang="zh-CN" dirty="0" smtClean="0"/>
                  </a:p>
                </p:txBody>
              </p:sp>
              <p:grpSp>
                <p:nvGrpSpPr>
                  <p:cNvPr id="108" name="Group 107"/>
                  <p:cNvGrpSpPr/>
                  <p:nvPr/>
                </p:nvGrpSpPr>
                <p:grpSpPr>
                  <a:xfrm>
                    <a:off x="3542290" y="2053799"/>
                    <a:ext cx="536257" cy="536257"/>
                    <a:chOff x="3216946" y="4690710"/>
                    <a:chExt cx="612000" cy="612000"/>
                  </a:xfrm>
                </p:grpSpPr>
                <p:sp>
                  <p:nvSpPr>
                    <p:cNvPr id="109" name="Oval 108"/>
                    <p:cNvSpPr/>
                    <p:nvPr/>
                  </p:nvSpPr>
                  <p:spPr bwMode="ltGray">
                    <a:xfrm>
                      <a:off x="3216946" y="4690710"/>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tLang="zh-CN" dirty="0" err="1" smtClean="0">
                        <a:solidFill>
                          <a:schemeClr val="bg1"/>
                        </a:solidFill>
                        <a:latin typeface="Georgia" pitchFamily="18" charset="0"/>
                      </a:endParaRPr>
                    </a:p>
                  </p:txBody>
                </p:sp>
                <p:sp>
                  <p:nvSpPr>
                    <p:cNvPr id="110" name="Freeform 4902"/>
                    <p:cNvSpPr>
                      <a:spLocks noEditPoints="1"/>
                    </p:cNvSpPr>
                    <p:nvPr/>
                  </p:nvSpPr>
                  <p:spPr bwMode="auto">
                    <a:xfrm>
                      <a:off x="3356096" y="4817407"/>
                      <a:ext cx="317660" cy="373432"/>
                    </a:xfrm>
                    <a:custGeom>
                      <a:avLst/>
                      <a:gdLst>
                        <a:gd name="T0" fmla="*/ 196 w 262"/>
                        <a:gd name="T1" fmla="*/ 16 h 308"/>
                        <a:gd name="T2" fmla="*/ 48 w 262"/>
                        <a:gd name="T3" fmla="*/ 0 h 308"/>
                        <a:gd name="T4" fmla="*/ 42 w 262"/>
                        <a:gd name="T5" fmla="*/ 2 h 308"/>
                        <a:gd name="T6" fmla="*/ 34 w 262"/>
                        <a:gd name="T7" fmla="*/ 10 h 308"/>
                        <a:gd name="T8" fmla="*/ 32 w 262"/>
                        <a:gd name="T9" fmla="*/ 62 h 308"/>
                        <a:gd name="T10" fmla="*/ 42 w 262"/>
                        <a:gd name="T11" fmla="*/ 64 h 308"/>
                        <a:gd name="T12" fmla="*/ 176 w 262"/>
                        <a:gd name="T13" fmla="*/ 196 h 308"/>
                        <a:gd name="T14" fmla="*/ 118 w 262"/>
                        <a:gd name="T15" fmla="*/ 254 h 308"/>
                        <a:gd name="T16" fmla="*/ 32 w 262"/>
                        <a:gd name="T17" fmla="*/ 292 h 308"/>
                        <a:gd name="T18" fmla="*/ 34 w 262"/>
                        <a:gd name="T19" fmla="*/ 300 h 308"/>
                        <a:gd name="T20" fmla="*/ 42 w 262"/>
                        <a:gd name="T21" fmla="*/ 308 h 308"/>
                        <a:gd name="T22" fmla="*/ 246 w 262"/>
                        <a:gd name="T23" fmla="*/ 308 h 308"/>
                        <a:gd name="T24" fmla="*/ 252 w 262"/>
                        <a:gd name="T25" fmla="*/ 308 h 308"/>
                        <a:gd name="T26" fmla="*/ 262 w 262"/>
                        <a:gd name="T27" fmla="*/ 300 h 308"/>
                        <a:gd name="T28" fmla="*/ 262 w 262"/>
                        <a:gd name="T29" fmla="*/ 82 h 308"/>
                        <a:gd name="T30" fmla="*/ 178 w 262"/>
                        <a:gd name="T31" fmla="*/ 84 h 308"/>
                        <a:gd name="T32" fmla="*/ 196 w 262"/>
                        <a:gd name="T33" fmla="*/ 42 h 308"/>
                        <a:gd name="T34" fmla="*/ 220 w 262"/>
                        <a:gd name="T35" fmla="*/ 66 h 308"/>
                        <a:gd name="T36" fmla="*/ 178 w 262"/>
                        <a:gd name="T37" fmla="*/ 84 h 308"/>
                        <a:gd name="T38" fmla="*/ 124 w 262"/>
                        <a:gd name="T39" fmla="*/ 214 h 308"/>
                        <a:gd name="T40" fmla="*/ 116 w 262"/>
                        <a:gd name="T41" fmla="*/ 226 h 308"/>
                        <a:gd name="T42" fmla="*/ 4 w 262"/>
                        <a:gd name="T43" fmla="*/ 114 h 308"/>
                        <a:gd name="T44" fmla="*/ 0 w 262"/>
                        <a:gd name="T45" fmla="*/ 110 h 308"/>
                        <a:gd name="T46" fmla="*/ 14 w 262"/>
                        <a:gd name="T47" fmla="*/ 104 h 308"/>
                        <a:gd name="T48" fmla="*/ 36 w 262"/>
                        <a:gd name="T49" fmla="*/ 82 h 308"/>
                        <a:gd name="T50" fmla="*/ 32 w 262"/>
                        <a:gd name="T51" fmla="*/ 78 h 308"/>
                        <a:gd name="T52" fmla="*/ 26 w 262"/>
                        <a:gd name="T53" fmla="*/ 92 h 308"/>
                        <a:gd name="T54" fmla="*/ 136 w 262"/>
                        <a:gd name="T55" fmla="*/ 202 h 308"/>
                        <a:gd name="T56" fmla="*/ 148 w 262"/>
                        <a:gd name="T57" fmla="*/ 194 h 308"/>
                        <a:gd name="T58" fmla="*/ 36 w 262"/>
                        <a:gd name="T59" fmla="*/ 82 h 308"/>
                        <a:gd name="T60" fmla="*/ 172 w 262"/>
                        <a:gd name="T61" fmla="*/ 228 h 308"/>
                        <a:gd name="T62" fmla="*/ 158 w 262"/>
                        <a:gd name="T63" fmla="*/ 236 h 308"/>
                        <a:gd name="T64" fmla="*/ 152 w 262"/>
                        <a:gd name="T65" fmla="*/ 244 h 308"/>
                        <a:gd name="T66" fmla="*/ 182 w 262"/>
                        <a:gd name="T67" fmla="*/ 26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 h="308">
                          <a:moveTo>
                            <a:pt x="246" y="66"/>
                          </a:moveTo>
                          <a:lnTo>
                            <a:pt x="196" y="16"/>
                          </a:lnTo>
                          <a:lnTo>
                            <a:pt x="180" y="0"/>
                          </a:lnTo>
                          <a:lnTo>
                            <a:pt x="48" y="0"/>
                          </a:lnTo>
                          <a:lnTo>
                            <a:pt x="48" y="0"/>
                          </a:lnTo>
                          <a:lnTo>
                            <a:pt x="42" y="2"/>
                          </a:lnTo>
                          <a:lnTo>
                            <a:pt x="38" y="4"/>
                          </a:lnTo>
                          <a:lnTo>
                            <a:pt x="34" y="10"/>
                          </a:lnTo>
                          <a:lnTo>
                            <a:pt x="32" y="16"/>
                          </a:lnTo>
                          <a:lnTo>
                            <a:pt x="32" y="62"/>
                          </a:lnTo>
                          <a:lnTo>
                            <a:pt x="32" y="62"/>
                          </a:lnTo>
                          <a:lnTo>
                            <a:pt x="42" y="64"/>
                          </a:lnTo>
                          <a:lnTo>
                            <a:pt x="50" y="70"/>
                          </a:lnTo>
                          <a:lnTo>
                            <a:pt x="176" y="196"/>
                          </a:lnTo>
                          <a:lnTo>
                            <a:pt x="198" y="276"/>
                          </a:lnTo>
                          <a:lnTo>
                            <a:pt x="118" y="254"/>
                          </a:lnTo>
                          <a:lnTo>
                            <a:pt x="32" y="168"/>
                          </a:lnTo>
                          <a:lnTo>
                            <a:pt x="32" y="292"/>
                          </a:lnTo>
                          <a:lnTo>
                            <a:pt x="32" y="292"/>
                          </a:lnTo>
                          <a:lnTo>
                            <a:pt x="34" y="300"/>
                          </a:lnTo>
                          <a:lnTo>
                            <a:pt x="38" y="304"/>
                          </a:lnTo>
                          <a:lnTo>
                            <a:pt x="42" y="308"/>
                          </a:lnTo>
                          <a:lnTo>
                            <a:pt x="48" y="308"/>
                          </a:lnTo>
                          <a:lnTo>
                            <a:pt x="246" y="308"/>
                          </a:lnTo>
                          <a:lnTo>
                            <a:pt x="246" y="308"/>
                          </a:lnTo>
                          <a:lnTo>
                            <a:pt x="252" y="308"/>
                          </a:lnTo>
                          <a:lnTo>
                            <a:pt x="258" y="304"/>
                          </a:lnTo>
                          <a:lnTo>
                            <a:pt x="262" y="300"/>
                          </a:lnTo>
                          <a:lnTo>
                            <a:pt x="262" y="292"/>
                          </a:lnTo>
                          <a:lnTo>
                            <a:pt x="262" y="82"/>
                          </a:lnTo>
                          <a:lnTo>
                            <a:pt x="246" y="66"/>
                          </a:lnTo>
                          <a:close/>
                          <a:moveTo>
                            <a:pt x="178" y="84"/>
                          </a:moveTo>
                          <a:lnTo>
                            <a:pt x="178" y="24"/>
                          </a:lnTo>
                          <a:lnTo>
                            <a:pt x="196" y="42"/>
                          </a:lnTo>
                          <a:lnTo>
                            <a:pt x="196" y="66"/>
                          </a:lnTo>
                          <a:lnTo>
                            <a:pt x="220" y="66"/>
                          </a:lnTo>
                          <a:lnTo>
                            <a:pt x="238" y="84"/>
                          </a:lnTo>
                          <a:lnTo>
                            <a:pt x="178" y="84"/>
                          </a:lnTo>
                          <a:close/>
                          <a:moveTo>
                            <a:pt x="36" y="126"/>
                          </a:moveTo>
                          <a:lnTo>
                            <a:pt x="124" y="214"/>
                          </a:lnTo>
                          <a:lnTo>
                            <a:pt x="124" y="214"/>
                          </a:lnTo>
                          <a:lnTo>
                            <a:pt x="116" y="226"/>
                          </a:lnTo>
                          <a:lnTo>
                            <a:pt x="22" y="132"/>
                          </a:lnTo>
                          <a:lnTo>
                            <a:pt x="4" y="114"/>
                          </a:lnTo>
                          <a:lnTo>
                            <a:pt x="0" y="110"/>
                          </a:lnTo>
                          <a:lnTo>
                            <a:pt x="0" y="110"/>
                          </a:lnTo>
                          <a:lnTo>
                            <a:pt x="8" y="98"/>
                          </a:lnTo>
                          <a:lnTo>
                            <a:pt x="14" y="104"/>
                          </a:lnTo>
                          <a:lnTo>
                            <a:pt x="36" y="126"/>
                          </a:lnTo>
                          <a:close/>
                          <a:moveTo>
                            <a:pt x="36" y="82"/>
                          </a:moveTo>
                          <a:lnTo>
                            <a:pt x="32" y="78"/>
                          </a:lnTo>
                          <a:lnTo>
                            <a:pt x="32" y="78"/>
                          </a:lnTo>
                          <a:lnTo>
                            <a:pt x="20" y="86"/>
                          </a:lnTo>
                          <a:lnTo>
                            <a:pt x="26" y="92"/>
                          </a:lnTo>
                          <a:lnTo>
                            <a:pt x="48" y="114"/>
                          </a:lnTo>
                          <a:lnTo>
                            <a:pt x="136" y="202"/>
                          </a:lnTo>
                          <a:lnTo>
                            <a:pt x="136" y="202"/>
                          </a:lnTo>
                          <a:lnTo>
                            <a:pt x="148" y="194"/>
                          </a:lnTo>
                          <a:lnTo>
                            <a:pt x="54" y="100"/>
                          </a:lnTo>
                          <a:lnTo>
                            <a:pt x="36" y="82"/>
                          </a:lnTo>
                          <a:close/>
                          <a:moveTo>
                            <a:pt x="172" y="228"/>
                          </a:moveTo>
                          <a:lnTo>
                            <a:pt x="172" y="228"/>
                          </a:lnTo>
                          <a:lnTo>
                            <a:pt x="166" y="230"/>
                          </a:lnTo>
                          <a:lnTo>
                            <a:pt x="158" y="236"/>
                          </a:lnTo>
                          <a:lnTo>
                            <a:pt x="158" y="236"/>
                          </a:lnTo>
                          <a:lnTo>
                            <a:pt x="152" y="244"/>
                          </a:lnTo>
                          <a:lnTo>
                            <a:pt x="150" y="250"/>
                          </a:lnTo>
                          <a:lnTo>
                            <a:pt x="182" y="260"/>
                          </a:lnTo>
                          <a:lnTo>
                            <a:pt x="172" y="22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tLang="zh-CN" dirty="0"/>
                    </a:p>
                  </p:txBody>
                </p:sp>
              </p:grpSp>
            </p:grpSp>
            <p:grpSp>
              <p:nvGrpSpPr>
                <p:cNvPr id="88" name="Group 87"/>
                <p:cNvGrpSpPr/>
                <p:nvPr/>
              </p:nvGrpSpPr>
              <p:grpSpPr>
                <a:xfrm>
                  <a:off x="4646542" y="4722334"/>
                  <a:ext cx="699135" cy="688848"/>
                  <a:chOff x="3625367" y="5382173"/>
                  <a:chExt cx="699135" cy="688848"/>
                </a:xfrm>
              </p:grpSpPr>
              <p:sp>
                <p:nvSpPr>
                  <p:cNvPr id="103" name="Oval 102"/>
                  <p:cNvSpPr/>
                  <p:nvPr/>
                </p:nvSpPr>
                <p:spPr>
                  <a:xfrm>
                    <a:off x="3625367" y="5382173"/>
                    <a:ext cx="699135" cy="688848"/>
                  </a:xfrm>
                  <a:prstGeom prst="ellipse">
                    <a:avLst/>
                  </a:prstGeom>
                  <a:solidFill>
                    <a:schemeClr val="bg1"/>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tLang="zh-CN" dirty="0" smtClean="0"/>
                  </a:p>
                </p:txBody>
              </p:sp>
              <p:grpSp>
                <p:nvGrpSpPr>
                  <p:cNvPr id="104" name="Group 103"/>
                  <p:cNvGrpSpPr/>
                  <p:nvPr/>
                </p:nvGrpSpPr>
                <p:grpSpPr>
                  <a:xfrm>
                    <a:off x="3696260" y="5449840"/>
                    <a:ext cx="536257" cy="536257"/>
                    <a:chOff x="2342233" y="2258092"/>
                    <a:chExt cx="612000" cy="612000"/>
                  </a:xfrm>
                </p:grpSpPr>
                <p:sp>
                  <p:nvSpPr>
                    <p:cNvPr id="105" name="Oval 104"/>
                    <p:cNvSpPr/>
                    <p:nvPr/>
                  </p:nvSpPr>
                  <p:spPr bwMode="ltGray">
                    <a:xfrm>
                      <a:off x="2342233" y="2258092"/>
                      <a:ext cx="612000" cy="6120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tLang="zh-CN" dirty="0" err="1" smtClean="0">
                        <a:solidFill>
                          <a:schemeClr val="bg1"/>
                        </a:solidFill>
                        <a:latin typeface="Georgia" pitchFamily="18" charset="0"/>
                      </a:endParaRPr>
                    </a:p>
                  </p:txBody>
                </p:sp>
                <p:sp>
                  <p:nvSpPr>
                    <p:cNvPr id="106" name="Freeform 4899"/>
                    <p:cNvSpPr>
                      <a:spLocks noEditPoints="1"/>
                    </p:cNvSpPr>
                    <p:nvPr/>
                  </p:nvSpPr>
                  <p:spPr bwMode="auto">
                    <a:xfrm>
                      <a:off x="2451818" y="2356153"/>
                      <a:ext cx="392831" cy="392831"/>
                    </a:xfrm>
                    <a:custGeom>
                      <a:avLst/>
                      <a:gdLst>
                        <a:gd name="T0" fmla="*/ 190 w 324"/>
                        <a:gd name="T1" fmla="*/ 0 h 324"/>
                        <a:gd name="T2" fmla="*/ 134 w 324"/>
                        <a:gd name="T3" fmla="*/ 20 h 324"/>
                        <a:gd name="T4" fmla="*/ 90 w 324"/>
                        <a:gd name="T5" fmla="*/ 74 h 324"/>
                        <a:gd name="T6" fmla="*/ 82 w 324"/>
                        <a:gd name="T7" fmla="*/ 120 h 324"/>
                        <a:gd name="T8" fmla="*/ 84 w 324"/>
                        <a:gd name="T9" fmla="*/ 146 h 324"/>
                        <a:gd name="T10" fmla="*/ 118 w 324"/>
                        <a:gd name="T11" fmla="*/ 206 h 324"/>
                        <a:gd name="T12" fmla="*/ 178 w 324"/>
                        <a:gd name="T13" fmla="*/ 240 h 324"/>
                        <a:gd name="T14" fmla="*/ 202 w 324"/>
                        <a:gd name="T15" fmla="*/ 242 h 324"/>
                        <a:gd name="T16" fmla="*/ 250 w 324"/>
                        <a:gd name="T17" fmla="*/ 232 h 324"/>
                        <a:gd name="T18" fmla="*/ 304 w 324"/>
                        <a:gd name="T19" fmla="*/ 188 h 324"/>
                        <a:gd name="T20" fmla="*/ 324 w 324"/>
                        <a:gd name="T21" fmla="*/ 132 h 324"/>
                        <a:gd name="T22" fmla="*/ 324 w 324"/>
                        <a:gd name="T23" fmla="*/ 108 h 324"/>
                        <a:gd name="T24" fmla="*/ 304 w 324"/>
                        <a:gd name="T25" fmla="*/ 52 h 324"/>
                        <a:gd name="T26" fmla="*/ 250 w 324"/>
                        <a:gd name="T27" fmla="*/ 8 h 324"/>
                        <a:gd name="T28" fmla="*/ 202 w 324"/>
                        <a:gd name="T29" fmla="*/ 0 h 324"/>
                        <a:gd name="T30" fmla="*/ 202 w 324"/>
                        <a:gd name="T31" fmla="*/ 212 h 324"/>
                        <a:gd name="T32" fmla="*/ 152 w 324"/>
                        <a:gd name="T33" fmla="*/ 196 h 324"/>
                        <a:gd name="T34" fmla="*/ 118 w 324"/>
                        <a:gd name="T35" fmla="*/ 156 h 324"/>
                        <a:gd name="T36" fmla="*/ 112 w 324"/>
                        <a:gd name="T37" fmla="*/ 120 h 324"/>
                        <a:gd name="T38" fmla="*/ 128 w 324"/>
                        <a:gd name="T39" fmla="*/ 70 h 324"/>
                        <a:gd name="T40" fmla="*/ 168 w 324"/>
                        <a:gd name="T41" fmla="*/ 36 h 324"/>
                        <a:gd name="T42" fmla="*/ 202 w 324"/>
                        <a:gd name="T43" fmla="*/ 30 h 324"/>
                        <a:gd name="T44" fmla="*/ 254 w 324"/>
                        <a:gd name="T45" fmla="*/ 46 h 324"/>
                        <a:gd name="T46" fmla="*/ 286 w 324"/>
                        <a:gd name="T47" fmla="*/ 86 h 324"/>
                        <a:gd name="T48" fmla="*/ 294 w 324"/>
                        <a:gd name="T49" fmla="*/ 120 h 324"/>
                        <a:gd name="T50" fmla="*/ 278 w 324"/>
                        <a:gd name="T51" fmla="*/ 172 h 324"/>
                        <a:gd name="T52" fmla="*/ 238 w 324"/>
                        <a:gd name="T53" fmla="*/ 204 h 324"/>
                        <a:gd name="T54" fmla="*/ 202 w 324"/>
                        <a:gd name="T55" fmla="*/ 212 h 324"/>
                        <a:gd name="T56" fmla="*/ 138 w 324"/>
                        <a:gd name="T57" fmla="*/ 130 h 324"/>
                        <a:gd name="T58" fmla="*/ 132 w 324"/>
                        <a:gd name="T59" fmla="*/ 120 h 324"/>
                        <a:gd name="T60" fmla="*/ 138 w 324"/>
                        <a:gd name="T61" fmla="*/ 94 h 324"/>
                        <a:gd name="T62" fmla="*/ 164 w 324"/>
                        <a:gd name="T63" fmla="*/ 62 h 324"/>
                        <a:gd name="T64" fmla="*/ 202 w 324"/>
                        <a:gd name="T65" fmla="*/ 50 h 324"/>
                        <a:gd name="T66" fmla="*/ 210 w 324"/>
                        <a:gd name="T67" fmla="*/ 54 h 324"/>
                        <a:gd name="T68" fmla="*/ 212 w 324"/>
                        <a:gd name="T69" fmla="*/ 60 h 324"/>
                        <a:gd name="T70" fmla="*/ 206 w 324"/>
                        <a:gd name="T71" fmla="*/ 70 h 324"/>
                        <a:gd name="T72" fmla="*/ 192 w 324"/>
                        <a:gd name="T73" fmla="*/ 72 h 324"/>
                        <a:gd name="T74" fmla="*/ 168 w 324"/>
                        <a:gd name="T75" fmla="*/ 86 h 324"/>
                        <a:gd name="T76" fmla="*/ 154 w 324"/>
                        <a:gd name="T77" fmla="*/ 110 h 324"/>
                        <a:gd name="T78" fmla="*/ 152 w 324"/>
                        <a:gd name="T79" fmla="*/ 124 h 324"/>
                        <a:gd name="T80" fmla="*/ 142 w 324"/>
                        <a:gd name="T81" fmla="*/ 130 h 324"/>
                        <a:gd name="T82" fmla="*/ 48 w 324"/>
                        <a:gd name="T83" fmla="*/ 316 h 324"/>
                        <a:gd name="T84" fmla="*/ 28 w 324"/>
                        <a:gd name="T85" fmla="*/ 324 h 324"/>
                        <a:gd name="T86" fmla="*/ 8 w 324"/>
                        <a:gd name="T87" fmla="*/ 316 h 324"/>
                        <a:gd name="T88" fmla="*/ 0 w 324"/>
                        <a:gd name="T89" fmla="*/ 296 h 324"/>
                        <a:gd name="T90" fmla="*/ 86 w 324"/>
                        <a:gd name="T91" fmla="*/ 198 h 324"/>
                        <a:gd name="T92" fmla="*/ 102 w 324"/>
                        <a:gd name="T93" fmla="*/ 220 h 324"/>
                        <a:gd name="T94" fmla="*/ 124 w 324"/>
                        <a:gd name="T95" fmla="*/ 23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02" y="0"/>
                          </a:moveTo>
                          <a:lnTo>
                            <a:pt x="202" y="0"/>
                          </a:lnTo>
                          <a:lnTo>
                            <a:pt x="190" y="0"/>
                          </a:lnTo>
                          <a:lnTo>
                            <a:pt x="178" y="2"/>
                          </a:lnTo>
                          <a:lnTo>
                            <a:pt x="156" y="8"/>
                          </a:lnTo>
                          <a:lnTo>
                            <a:pt x="134" y="20"/>
                          </a:lnTo>
                          <a:lnTo>
                            <a:pt x="118" y="34"/>
                          </a:lnTo>
                          <a:lnTo>
                            <a:pt x="102" y="52"/>
                          </a:lnTo>
                          <a:lnTo>
                            <a:pt x="90" y="74"/>
                          </a:lnTo>
                          <a:lnTo>
                            <a:pt x="84" y="96"/>
                          </a:lnTo>
                          <a:lnTo>
                            <a:pt x="82" y="108"/>
                          </a:lnTo>
                          <a:lnTo>
                            <a:pt x="82" y="120"/>
                          </a:lnTo>
                          <a:lnTo>
                            <a:pt x="82" y="120"/>
                          </a:lnTo>
                          <a:lnTo>
                            <a:pt x="82" y="132"/>
                          </a:lnTo>
                          <a:lnTo>
                            <a:pt x="84" y="146"/>
                          </a:lnTo>
                          <a:lnTo>
                            <a:pt x="90" y="168"/>
                          </a:lnTo>
                          <a:lnTo>
                            <a:pt x="102" y="188"/>
                          </a:lnTo>
                          <a:lnTo>
                            <a:pt x="118" y="206"/>
                          </a:lnTo>
                          <a:lnTo>
                            <a:pt x="134" y="222"/>
                          </a:lnTo>
                          <a:lnTo>
                            <a:pt x="156" y="232"/>
                          </a:lnTo>
                          <a:lnTo>
                            <a:pt x="178" y="240"/>
                          </a:lnTo>
                          <a:lnTo>
                            <a:pt x="190" y="242"/>
                          </a:lnTo>
                          <a:lnTo>
                            <a:pt x="202" y="242"/>
                          </a:lnTo>
                          <a:lnTo>
                            <a:pt x="202" y="242"/>
                          </a:lnTo>
                          <a:lnTo>
                            <a:pt x="216" y="242"/>
                          </a:lnTo>
                          <a:lnTo>
                            <a:pt x="228" y="240"/>
                          </a:lnTo>
                          <a:lnTo>
                            <a:pt x="250" y="232"/>
                          </a:lnTo>
                          <a:lnTo>
                            <a:pt x="270" y="222"/>
                          </a:lnTo>
                          <a:lnTo>
                            <a:pt x="288" y="206"/>
                          </a:lnTo>
                          <a:lnTo>
                            <a:pt x="304" y="188"/>
                          </a:lnTo>
                          <a:lnTo>
                            <a:pt x="314" y="168"/>
                          </a:lnTo>
                          <a:lnTo>
                            <a:pt x="322" y="146"/>
                          </a:lnTo>
                          <a:lnTo>
                            <a:pt x="324" y="132"/>
                          </a:lnTo>
                          <a:lnTo>
                            <a:pt x="324" y="120"/>
                          </a:lnTo>
                          <a:lnTo>
                            <a:pt x="324" y="120"/>
                          </a:lnTo>
                          <a:lnTo>
                            <a:pt x="324" y="108"/>
                          </a:lnTo>
                          <a:lnTo>
                            <a:pt x="322" y="96"/>
                          </a:lnTo>
                          <a:lnTo>
                            <a:pt x="314" y="74"/>
                          </a:lnTo>
                          <a:lnTo>
                            <a:pt x="304" y="52"/>
                          </a:lnTo>
                          <a:lnTo>
                            <a:pt x="288" y="34"/>
                          </a:lnTo>
                          <a:lnTo>
                            <a:pt x="270" y="20"/>
                          </a:lnTo>
                          <a:lnTo>
                            <a:pt x="250" y="8"/>
                          </a:lnTo>
                          <a:lnTo>
                            <a:pt x="228" y="2"/>
                          </a:lnTo>
                          <a:lnTo>
                            <a:pt x="216" y="0"/>
                          </a:lnTo>
                          <a:lnTo>
                            <a:pt x="202" y="0"/>
                          </a:lnTo>
                          <a:lnTo>
                            <a:pt x="202" y="0"/>
                          </a:lnTo>
                          <a:close/>
                          <a:moveTo>
                            <a:pt x="202" y="212"/>
                          </a:moveTo>
                          <a:lnTo>
                            <a:pt x="202" y="212"/>
                          </a:lnTo>
                          <a:lnTo>
                            <a:pt x="184" y="210"/>
                          </a:lnTo>
                          <a:lnTo>
                            <a:pt x="168" y="204"/>
                          </a:lnTo>
                          <a:lnTo>
                            <a:pt x="152" y="196"/>
                          </a:lnTo>
                          <a:lnTo>
                            <a:pt x="138" y="184"/>
                          </a:lnTo>
                          <a:lnTo>
                            <a:pt x="128" y="172"/>
                          </a:lnTo>
                          <a:lnTo>
                            <a:pt x="118" y="156"/>
                          </a:lnTo>
                          <a:lnTo>
                            <a:pt x="114" y="138"/>
                          </a:lnTo>
                          <a:lnTo>
                            <a:pt x="112" y="120"/>
                          </a:lnTo>
                          <a:lnTo>
                            <a:pt x="112" y="120"/>
                          </a:lnTo>
                          <a:lnTo>
                            <a:pt x="114" y="102"/>
                          </a:lnTo>
                          <a:lnTo>
                            <a:pt x="118" y="86"/>
                          </a:lnTo>
                          <a:lnTo>
                            <a:pt x="128" y="70"/>
                          </a:lnTo>
                          <a:lnTo>
                            <a:pt x="138" y="56"/>
                          </a:lnTo>
                          <a:lnTo>
                            <a:pt x="152" y="46"/>
                          </a:lnTo>
                          <a:lnTo>
                            <a:pt x="168" y="36"/>
                          </a:lnTo>
                          <a:lnTo>
                            <a:pt x="184" y="32"/>
                          </a:lnTo>
                          <a:lnTo>
                            <a:pt x="202" y="30"/>
                          </a:lnTo>
                          <a:lnTo>
                            <a:pt x="202" y="30"/>
                          </a:lnTo>
                          <a:lnTo>
                            <a:pt x="222" y="32"/>
                          </a:lnTo>
                          <a:lnTo>
                            <a:pt x="238" y="36"/>
                          </a:lnTo>
                          <a:lnTo>
                            <a:pt x="254" y="46"/>
                          </a:lnTo>
                          <a:lnTo>
                            <a:pt x="268" y="56"/>
                          </a:lnTo>
                          <a:lnTo>
                            <a:pt x="278" y="70"/>
                          </a:lnTo>
                          <a:lnTo>
                            <a:pt x="286" y="86"/>
                          </a:lnTo>
                          <a:lnTo>
                            <a:pt x="292" y="102"/>
                          </a:lnTo>
                          <a:lnTo>
                            <a:pt x="294" y="120"/>
                          </a:lnTo>
                          <a:lnTo>
                            <a:pt x="294" y="120"/>
                          </a:lnTo>
                          <a:lnTo>
                            <a:pt x="292" y="138"/>
                          </a:lnTo>
                          <a:lnTo>
                            <a:pt x="286" y="156"/>
                          </a:lnTo>
                          <a:lnTo>
                            <a:pt x="278" y="172"/>
                          </a:lnTo>
                          <a:lnTo>
                            <a:pt x="268" y="184"/>
                          </a:lnTo>
                          <a:lnTo>
                            <a:pt x="254" y="196"/>
                          </a:lnTo>
                          <a:lnTo>
                            <a:pt x="238" y="204"/>
                          </a:lnTo>
                          <a:lnTo>
                            <a:pt x="222" y="210"/>
                          </a:lnTo>
                          <a:lnTo>
                            <a:pt x="202" y="212"/>
                          </a:lnTo>
                          <a:lnTo>
                            <a:pt x="202" y="212"/>
                          </a:lnTo>
                          <a:close/>
                          <a:moveTo>
                            <a:pt x="142" y="130"/>
                          </a:moveTo>
                          <a:lnTo>
                            <a:pt x="142" y="130"/>
                          </a:lnTo>
                          <a:lnTo>
                            <a:pt x="138" y="130"/>
                          </a:lnTo>
                          <a:lnTo>
                            <a:pt x="136" y="128"/>
                          </a:lnTo>
                          <a:lnTo>
                            <a:pt x="134" y="124"/>
                          </a:lnTo>
                          <a:lnTo>
                            <a:pt x="132" y="120"/>
                          </a:lnTo>
                          <a:lnTo>
                            <a:pt x="132" y="120"/>
                          </a:lnTo>
                          <a:lnTo>
                            <a:pt x="134" y="106"/>
                          </a:lnTo>
                          <a:lnTo>
                            <a:pt x="138" y="94"/>
                          </a:lnTo>
                          <a:lnTo>
                            <a:pt x="144" y="82"/>
                          </a:lnTo>
                          <a:lnTo>
                            <a:pt x="154" y="72"/>
                          </a:lnTo>
                          <a:lnTo>
                            <a:pt x="164" y="62"/>
                          </a:lnTo>
                          <a:lnTo>
                            <a:pt x="176" y="56"/>
                          </a:lnTo>
                          <a:lnTo>
                            <a:pt x="188" y="52"/>
                          </a:lnTo>
                          <a:lnTo>
                            <a:pt x="202" y="50"/>
                          </a:lnTo>
                          <a:lnTo>
                            <a:pt x="202" y="50"/>
                          </a:lnTo>
                          <a:lnTo>
                            <a:pt x="206" y="52"/>
                          </a:lnTo>
                          <a:lnTo>
                            <a:pt x="210" y="54"/>
                          </a:lnTo>
                          <a:lnTo>
                            <a:pt x="212" y="56"/>
                          </a:lnTo>
                          <a:lnTo>
                            <a:pt x="212" y="60"/>
                          </a:lnTo>
                          <a:lnTo>
                            <a:pt x="212" y="60"/>
                          </a:lnTo>
                          <a:lnTo>
                            <a:pt x="212" y="64"/>
                          </a:lnTo>
                          <a:lnTo>
                            <a:pt x="210" y="68"/>
                          </a:lnTo>
                          <a:lnTo>
                            <a:pt x="206" y="70"/>
                          </a:lnTo>
                          <a:lnTo>
                            <a:pt x="202" y="70"/>
                          </a:lnTo>
                          <a:lnTo>
                            <a:pt x="202" y="70"/>
                          </a:lnTo>
                          <a:lnTo>
                            <a:pt x="192" y="72"/>
                          </a:lnTo>
                          <a:lnTo>
                            <a:pt x="184" y="74"/>
                          </a:lnTo>
                          <a:lnTo>
                            <a:pt x="174" y="80"/>
                          </a:lnTo>
                          <a:lnTo>
                            <a:pt x="168" y="86"/>
                          </a:lnTo>
                          <a:lnTo>
                            <a:pt x="162" y="92"/>
                          </a:lnTo>
                          <a:lnTo>
                            <a:pt x="156" y="102"/>
                          </a:lnTo>
                          <a:lnTo>
                            <a:pt x="154" y="110"/>
                          </a:lnTo>
                          <a:lnTo>
                            <a:pt x="152" y="120"/>
                          </a:lnTo>
                          <a:lnTo>
                            <a:pt x="152" y="120"/>
                          </a:lnTo>
                          <a:lnTo>
                            <a:pt x="152" y="124"/>
                          </a:lnTo>
                          <a:lnTo>
                            <a:pt x="150" y="128"/>
                          </a:lnTo>
                          <a:lnTo>
                            <a:pt x="146" y="130"/>
                          </a:lnTo>
                          <a:lnTo>
                            <a:pt x="142" y="130"/>
                          </a:lnTo>
                          <a:lnTo>
                            <a:pt x="142" y="130"/>
                          </a:lnTo>
                          <a:close/>
                          <a:moveTo>
                            <a:pt x="124" y="238"/>
                          </a:moveTo>
                          <a:lnTo>
                            <a:pt x="48" y="316"/>
                          </a:lnTo>
                          <a:lnTo>
                            <a:pt x="48" y="316"/>
                          </a:lnTo>
                          <a:lnTo>
                            <a:pt x="38" y="322"/>
                          </a:lnTo>
                          <a:lnTo>
                            <a:pt x="28" y="324"/>
                          </a:lnTo>
                          <a:lnTo>
                            <a:pt x="28" y="324"/>
                          </a:lnTo>
                          <a:lnTo>
                            <a:pt x="18" y="322"/>
                          </a:lnTo>
                          <a:lnTo>
                            <a:pt x="8" y="316"/>
                          </a:lnTo>
                          <a:lnTo>
                            <a:pt x="8" y="316"/>
                          </a:lnTo>
                          <a:lnTo>
                            <a:pt x="2" y="306"/>
                          </a:lnTo>
                          <a:lnTo>
                            <a:pt x="0" y="296"/>
                          </a:lnTo>
                          <a:lnTo>
                            <a:pt x="2" y="286"/>
                          </a:lnTo>
                          <a:lnTo>
                            <a:pt x="8" y="276"/>
                          </a:lnTo>
                          <a:lnTo>
                            <a:pt x="86" y="198"/>
                          </a:lnTo>
                          <a:lnTo>
                            <a:pt x="86" y="198"/>
                          </a:lnTo>
                          <a:lnTo>
                            <a:pt x="94" y="210"/>
                          </a:lnTo>
                          <a:lnTo>
                            <a:pt x="102" y="220"/>
                          </a:lnTo>
                          <a:lnTo>
                            <a:pt x="114" y="230"/>
                          </a:lnTo>
                          <a:lnTo>
                            <a:pt x="124" y="238"/>
                          </a:lnTo>
                          <a:lnTo>
                            <a:pt x="124" y="238"/>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tLang="zh-CN" dirty="0"/>
                    </a:p>
                  </p:txBody>
                </p:sp>
              </p:grpSp>
            </p:grpSp>
            <p:grpSp>
              <p:nvGrpSpPr>
                <p:cNvPr id="89" name="Group 88"/>
                <p:cNvGrpSpPr/>
                <p:nvPr/>
              </p:nvGrpSpPr>
              <p:grpSpPr>
                <a:xfrm>
                  <a:off x="7612652" y="4857271"/>
                  <a:ext cx="699135" cy="688848"/>
                  <a:chOff x="5134395" y="6355609"/>
                  <a:chExt cx="699135" cy="688848"/>
                </a:xfrm>
              </p:grpSpPr>
              <p:sp>
                <p:nvSpPr>
                  <p:cNvPr id="99" name="Oval 98"/>
                  <p:cNvSpPr/>
                  <p:nvPr/>
                </p:nvSpPr>
                <p:spPr>
                  <a:xfrm>
                    <a:off x="5134395" y="6355609"/>
                    <a:ext cx="699135" cy="688848"/>
                  </a:xfrm>
                  <a:prstGeom prst="ellipse">
                    <a:avLst/>
                  </a:prstGeom>
                  <a:solidFill>
                    <a:schemeClr val="bg1"/>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tLang="zh-CN" dirty="0" smtClean="0"/>
                  </a:p>
                </p:txBody>
              </p:sp>
              <p:grpSp>
                <p:nvGrpSpPr>
                  <p:cNvPr id="100" name="Group 99"/>
                  <p:cNvGrpSpPr/>
                  <p:nvPr/>
                </p:nvGrpSpPr>
                <p:grpSpPr>
                  <a:xfrm>
                    <a:off x="5216938" y="6433009"/>
                    <a:ext cx="536400" cy="536400"/>
                    <a:chOff x="5221252" y="6423582"/>
                    <a:chExt cx="536400" cy="536400"/>
                  </a:xfrm>
                </p:grpSpPr>
                <p:sp>
                  <p:nvSpPr>
                    <p:cNvPr id="101" name="Oval 100"/>
                    <p:cNvSpPr/>
                    <p:nvPr/>
                  </p:nvSpPr>
                  <p:spPr bwMode="ltGray">
                    <a:xfrm>
                      <a:off x="5221252" y="6423582"/>
                      <a:ext cx="536400" cy="536400"/>
                    </a:xfrm>
                    <a:prstGeom prst="ellipse">
                      <a:avLst/>
                    </a:prstGeom>
                    <a:solidFill>
                      <a:schemeClr val="tx2"/>
                    </a:solid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tLang="zh-CN" dirty="0" err="1" smtClean="0">
                        <a:solidFill>
                          <a:schemeClr val="bg1"/>
                        </a:solidFill>
                        <a:latin typeface="Georgia" pitchFamily="18" charset="0"/>
                      </a:endParaRPr>
                    </a:p>
                  </p:txBody>
                </p:sp>
                <p:sp>
                  <p:nvSpPr>
                    <p:cNvPr id="102" name="Freeform 4827"/>
                    <p:cNvSpPr>
                      <a:spLocks noEditPoints="1"/>
                    </p:cNvSpPr>
                    <p:nvPr/>
                  </p:nvSpPr>
                  <p:spPr bwMode="auto">
                    <a:xfrm>
                      <a:off x="5296580" y="6480727"/>
                      <a:ext cx="403087" cy="387055"/>
                    </a:xfrm>
                    <a:custGeom>
                      <a:avLst/>
                      <a:gdLst>
                        <a:gd name="T0" fmla="*/ 338 w 352"/>
                        <a:gd name="T1" fmla="*/ 194 h 338"/>
                        <a:gd name="T2" fmla="*/ 294 w 352"/>
                        <a:gd name="T3" fmla="*/ 46 h 338"/>
                        <a:gd name="T4" fmla="*/ 292 w 352"/>
                        <a:gd name="T5" fmla="*/ 46 h 338"/>
                        <a:gd name="T6" fmla="*/ 292 w 352"/>
                        <a:gd name="T7" fmla="*/ 44 h 338"/>
                        <a:gd name="T8" fmla="*/ 290 w 352"/>
                        <a:gd name="T9" fmla="*/ 44 h 338"/>
                        <a:gd name="T10" fmla="*/ 288 w 352"/>
                        <a:gd name="T11" fmla="*/ 42 h 338"/>
                        <a:gd name="T12" fmla="*/ 288 w 352"/>
                        <a:gd name="T13" fmla="*/ 42 h 338"/>
                        <a:gd name="T14" fmla="*/ 286 w 352"/>
                        <a:gd name="T15" fmla="*/ 40 h 338"/>
                        <a:gd name="T16" fmla="*/ 284 w 352"/>
                        <a:gd name="T17" fmla="*/ 40 h 338"/>
                        <a:gd name="T18" fmla="*/ 202 w 352"/>
                        <a:gd name="T19" fmla="*/ 40 h 338"/>
                        <a:gd name="T20" fmla="*/ 192 w 352"/>
                        <a:gd name="T21" fmla="*/ 26 h 338"/>
                        <a:gd name="T22" fmla="*/ 186 w 352"/>
                        <a:gd name="T23" fmla="*/ 10 h 338"/>
                        <a:gd name="T24" fmla="*/ 180 w 352"/>
                        <a:gd name="T25" fmla="*/ 2 h 338"/>
                        <a:gd name="T26" fmla="*/ 172 w 352"/>
                        <a:gd name="T27" fmla="*/ 2 h 338"/>
                        <a:gd name="T28" fmla="*/ 166 w 352"/>
                        <a:gd name="T29" fmla="*/ 10 h 338"/>
                        <a:gd name="T30" fmla="*/ 160 w 352"/>
                        <a:gd name="T31" fmla="*/ 26 h 338"/>
                        <a:gd name="T32" fmla="*/ 150 w 352"/>
                        <a:gd name="T33" fmla="*/ 40 h 338"/>
                        <a:gd name="T34" fmla="*/ 68 w 352"/>
                        <a:gd name="T35" fmla="*/ 40 h 338"/>
                        <a:gd name="T36" fmla="*/ 66 w 352"/>
                        <a:gd name="T37" fmla="*/ 40 h 338"/>
                        <a:gd name="T38" fmla="*/ 64 w 352"/>
                        <a:gd name="T39" fmla="*/ 42 h 338"/>
                        <a:gd name="T40" fmla="*/ 64 w 352"/>
                        <a:gd name="T41" fmla="*/ 42 h 338"/>
                        <a:gd name="T42" fmla="*/ 62 w 352"/>
                        <a:gd name="T43" fmla="*/ 44 h 338"/>
                        <a:gd name="T44" fmla="*/ 60 w 352"/>
                        <a:gd name="T45" fmla="*/ 44 h 338"/>
                        <a:gd name="T46" fmla="*/ 60 w 352"/>
                        <a:gd name="T47" fmla="*/ 46 h 338"/>
                        <a:gd name="T48" fmla="*/ 58 w 352"/>
                        <a:gd name="T49" fmla="*/ 46 h 338"/>
                        <a:gd name="T50" fmla="*/ 14 w 352"/>
                        <a:gd name="T51" fmla="*/ 194 h 338"/>
                        <a:gd name="T52" fmla="*/ 0 w 352"/>
                        <a:gd name="T53" fmla="*/ 194 h 338"/>
                        <a:gd name="T54" fmla="*/ 18 w 352"/>
                        <a:gd name="T55" fmla="*/ 220 h 338"/>
                        <a:gd name="T56" fmla="*/ 46 w 352"/>
                        <a:gd name="T57" fmla="*/ 236 h 338"/>
                        <a:gd name="T58" fmla="*/ 68 w 352"/>
                        <a:gd name="T59" fmla="*/ 240 h 338"/>
                        <a:gd name="T60" fmla="*/ 100 w 352"/>
                        <a:gd name="T61" fmla="*/ 232 h 338"/>
                        <a:gd name="T62" fmla="*/ 124 w 352"/>
                        <a:gd name="T63" fmla="*/ 212 h 338"/>
                        <a:gd name="T64" fmla="*/ 122 w 352"/>
                        <a:gd name="T65" fmla="*/ 194 h 338"/>
                        <a:gd name="T66" fmla="*/ 82 w 352"/>
                        <a:gd name="T67" fmla="*/ 60 h 338"/>
                        <a:gd name="T68" fmla="*/ 152 w 352"/>
                        <a:gd name="T69" fmla="*/ 66 h 338"/>
                        <a:gd name="T70" fmla="*/ 166 w 352"/>
                        <a:gd name="T71" fmla="*/ 78 h 338"/>
                        <a:gd name="T72" fmla="*/ 122 w 352"/>
                        <a:gd name="T73" fmla="*/ 306 h 338"/>
                        <a:gd name="T74" fmla="*/ 108 w 352"/>
                        <a:gd name="T75" fmla="*/ 316 h 338"/>
                        <a:gd name="T76" fmla="*/ 108 w 352"/>
                        <a:gd name="T77" fmla="*/ 328 h 338"/>
                        <a:gd name="T78" fmla="*/ 122 w 352"/>
                        <a:gd name="T79" fmla="*/ 338 h 338"/>
                        <a:gd name="T80" fmla="*/ 236 w 352"/>
                        <a:gd name="T81" fmla="*/ 338 h 338"/>
                        <a:gd name="T82" fmla="*/ 246 w 352"/>
                        <a:gd name="T83" fmla="*/ 322 h 338"/>
                        <a:gd name="T84" fmla="*/ 242 w 352"/>
                        <a:gd name="T85" fmla="*/ 312 h 338"/>
                        <a:gd name="T86" fmla="*/ 186 w 352"/>
                        <a:gd name="T87" fmla="*/ 306 h 338"/>
                        <a:gd name="T88" fmla="*/ 192 w 352"/>
                        <a:gd name="T89" fmla="*/ 74 h 338"/>
                        <a:gd name="T90" fmla="*/ 202 w 352"/>
                        <a:gd name="T91" fmla="*/ 60 h 338"/>
                        <a:gd name="T92" fmla="*/ 230 w 352"/>
                        <a:gd name="T93" fmla="*/ 194 h 338"/>
                        <a:gd name="T94" fmla="*/ 216 w 352"/>
                        <a:gd name="T95" fmla="*/ 194 h 338"/>
                        <a:gd name="T96" fmla="*/ 234 w 352"/>
                        <a:gd name="T97" fmla="*/ 220 h 338"/>
                        <a:gd name="T98" fmla="*/ 262 w 352"/>
                        <a:gd name="T99" fmla="*/ 236 h 338"/>
                        <a:gd name="T100" fmla="*/ 284 w 352"/>
                        <a:gd name="T101" fmla="*/ 240 h 338"/>
                        <a:gd name="T102" fmla="*/ 316 w 352"/>
                        <a:gd name="T103" fmla="*/ 232 h 338"/>
                        <a:gd name="T104" fmla="*/ 340 w 352"/>
                        <a:gd name="T105" fmla="*/ 212 h 338"/>
                        <a:gd name="T106" fmla="*/ 338 w 352"/>
                        <a:gd name="T107" fmla="*/ 194 h 338"/>
                        <a:gd name="T108" fmla="*/ 100 w 352"/>
                        <a:gd name="T109" fmla="*/ 194 h 338"/>
                        <a:gd name="T110" fmla="*/ 284 w 352"/>
                        <a:gd name="T111" fmla="*/ 8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52" h="338">
                          <a:moveTo>
                            <a:pt x="338" y="194"/>
                          </a:moveTo>
                          <a:lnTo>
                            <a:pt x="338" y="194"/>
                          </a:lnTo>
                          <a:lnTo>
                            <a:pt x="338" y="194"/>
                          </a:lnTo>
                          <a:lnTo>
                            <a:pt x="294" y="48"/>
                          </a:lnTo>
                          <a:lnTo>
                            <a:pt x="294" y="48"/>
                          </a:lnTo>
                          <a:lnTo>
                            <a:pt x="294" y="46"/>
                          </a:lnTo>
                          <a:lnTo>
                            <a:pt x="294" y="46"/>
                          </a:lnTo>
                          <a:lnTo>
                            <a:pt x="292" y="46"/>
                          </a:lnTo>
                          <a:lnTo>
                            <a:pt x="292" y="46"/>
                          </a:lnTo>
                          <a:lnTo>
                            <a:pt x="292" y="44"/>
                          </a:lnTo>
                          <a:lnTo>
                            <a:pt x="292" y="44"/>
                          </a:lnTo>
                          <a:lnTo>
                            <a:pt x="292" y="44"/>
                          </a:lnTo>
                          <a:lnTo>
                            <a:pt x="292" y="44"/>
                          </a:lnTo>
                          <a:lnTo>
                            <a:pt x="290" y="44"/>
                          </a:lnTo>
                          <a:lnTo>
                            <a:pt x="290" y="44"/>
                          </a:lnTo>
                          <a:lnTo>
                            <a:pt x="290" y="42"/>
                          </a:lnTo>
                          <a:lnTo>
                            <a:pt x="290" y="42"/>
                          </a:lnTo>
                          <a:lnTo>
                            <a:pt x="288" y="42"/>
                          </a:lnTo>
                          <a:lnTo>
                            <a:pt x="288" y="42"/>
                          </a:lnTo>
                          <a:lnTo>
                            <a:pt x="288" y="42"/>
                          </a:lnTo>
                          <a:lnTo>
                            <a:pt x="288" y="42"/>
                          </a:lnTo>
                          <a:lnTo>
                            <a:pt x="286" y="40"/>
                          </a:lnTo>
                          <a:lnTo>
                            <a:pt x="286" y="40"/>
                          </a:lnTo>
                          <a:lnTo>
                            <a:pt x="286" y="40"/>
                          </a:lnTo>
                          <a:lnTo>
                            <a:pt x="286" y="40"/>
                          </a:lnTo>
                          <a:lnTo>
                            <a:pt x="284" y="40"/>
                          </a:lnTo>
                          <a:lnTo>
                            <a:pt x="284" y="40"/>
                          </a:lnTo>
                          <a:lnTo>
                            <a:pt x="284" y="40"/>
                          </a:lnTo>
                          <a:lnTo>
                            <a:pt x="202" y="40"/>
                          </a:lnTo>
                          <a:lnTo>
                            <a:pt x="202" y="40"/>
                          </a:lnTo>
                          <a:lnTo>
                            <a:pt x="200" y="34"/>
                          </a:lnTo>
                          <a:lnTo>
                            <a:pt x="196" y="30"/>
                          </a:lnTo>
                          <a:lnTo>
                            <a:pt x="192" y="26"/>
                          </a:lnTo>
                          <a:lnTo>
                            <a:pt x="186" y="24"/>
                          </a:lnTo>
                          <a:lnTo>
                            <a:pt x="186" y="10"/>
                          </a:lnTo>
                          <a:lnTo>
                            <a:pt x="186" y="10"/>
                          </a:lnTo>
                          <a:lnTo>
                            <a:pt x="186" y="6"/>
                          </a:lnTo>
                          <a:lnTo>
                            <a:pt x="184" y="4"/>
                          </a:lnTo>
                          <a:lnTo>
                            <a:pt x="180" y="2"/>
                          </a:lnTo>
                          <a:lnTo>
                            <a:pt x="176" y="0"/>
                          </a:lnTo>
                          <a:lnTo>
                            <a:pt x="176" y="0"/>
                          </a:lnTo>
                          <a:lnTo>
                            <a:pt x="172" y="2"/>
                          </a:lnTo>
                          <a:lnTo>
                            <a:pt x="168" y="4"/>
                          </a:lnTo>
                          <a:lnTo>
                            <a:pt x="166" y="6"/>
                          </a:lnTo>
                          <a:lnTo>
                            <a:pt x="166" y="10"/>
                          </a:lnTo>
                          <a:lnTo>
                            <a:pt x="166" y="24"/>
                          </a:lnTo>
                          <a:lnTo>
                            <a:pt x="166" y="24"/>
                          </a:lnTo>
                          <a:lnTo>
                            <a:pt x="160" y="26"/>
                          </a:lnTo>
                          <a:lnTo>
                            <a:pt x="156" y="30"/>
                          </a:lnTo>
                          <a:lnTo>
                            <a:pt x="152" y="34"/>
                          </a:lnTo>
                          <a:lnTo>
                            <a:pt x="150" y="40"/>
                          </a:lnTo>
                          <a:lnTo>
                            <a:pt x="68" y="40"/>
                          </a:lnTo>
                          <a:lnTo>
                            <a:pt x="68" y="40"/>
                          </a:lnTo>
                          <a:lnTo>
                            <a:pt x="68" y="40"/>
                          </a:lnTo>
                          <a:lnTo>
                            <a:pt x="68" y="40"/>
                          </a:lnTo>
                          <a:lnTo>
                            <a:pt x="66" y="40"/>
                          </a:lnTo>
                          <a:lnTo>
                            <a:pt x="66" y="40"/>
                          </a:lnTo>
                          <a:lnTo>
                            <a:pt x="66" y="40"/>
                          </a:lnTo>
                          <a:lnTo>
                            <a:pt x="66" y="40"/>
                          </a:lnTo>
                          <a:lnTo>
                            <a:pt x="64" y="42"/>
                          </a:lnTo>
                          <a:lnTo>
                            <a:pt x="64" y="42"/>
                          </a:lnTo>
                          <a:lnTo>
                            <a:pt x="64" y="42"/>
                          </a:lnTo>
                          <a:lnTo>
                            <a:pt x="64" y="42"/>
                          </a:lnTo>
                          <a:lnTo>
                            <a:pt x="62" y="42"/>
                          </a:lnTo>
                          <a:lnTo>
                            <a:pt x="62" y="42"/>
                          </a:lnTo>
                          <a:lnTo>
                            <a:pt x="62" y="44"/>
                          </a:lnTo>
                          <a:lnTo>
                            <a:pt x="62" y="44"/>
                          </a:lnTo>
                          <a:lnTo>
                            <a:pt x="60" y="44"/>
                          </a:lnTo>
                          <a:lnTo>
                            <a:pt x="60" y="44"/>
                          </a:lnTo>
                          <a:lnTo>
                            <a:pt x="60" y="44"/>
                          </a:lnTo>
                          <a:lnTo>
                            <a:pt x="60" y="44"/>
                          </a:lnTo>
                          <a:lnTo>
                            <a:pt x="60" y="46"/>
                          </a:lnTo>
                          <a:lnTo>
                            <a:pt x="60" y="46"/>
                          </a:lnTo>
                          <a:lnTo>
                            <a:pt x="58" y="46"/>
                          </a:lnTo>
                          <a:lnTo>
                            <a:pt x="58" y="46"/>
                          </a:lnTo>
                          <a:lnTo>
                            <a:pt x="58" y="48"/>
                          </a:lnTo>
                          <a:lnTo>
                            <a:pt x="14" y="194"/>
                          </a:lnTo>
                          <a:lnTo>
                            <a:pt x="14" y="194"/>
                          </a:lnTo>
                          <a:lnTo>
                            <a:pt x="14" y="194"/>
                          </a:lnTo>
                          <a:lnTo>
                            <a:pt x="0" y="194"/>
                          </a:lnTo>
                          <a:lnTo>
                            <a:pt x="0" y="194"/>
                          </a:lnTo>
                          <a:lnTo>
                            <a:pt x="6" y="204"/>
                          </a:lnTo>
                          <a:lnTo>
                            <a:pt x="12" y="212"/>
                          </a:lnTo>
                          <a:lnTo>
                            <a:pt x="18" y="220"/>
                          </a:lnTo>
                          <a:lnTo>
                            <a:pt x="26" y="228"/>
                          </a:lnTo>
                          <a:lnTo>
                            <a:pt x="36" y="232"/>
                          </a:lnTo>
                          <a:lnTo>
                            <a:pt x="46" y="236"/>
                          </a:lnTo>
                          <a:lnTo>
                            <a:pt x="56" y="240"/>
                          </a:lnTo>
                          <a:lnTo>
                            <a:pt x="68" y="240"/>
                          </a:lnTo>
                          <a:lnTo>
                            <a:pt x="68" y="240"/>
                          </a:lnTo>
                          <a:lnTo>
                            <a:pt x="80" y="240"/>
                          </a:lnTo>
                          <a:lnTo>
                            <a:pt x="90" y="236"/>
                          </a:lnTo>
                          <a:lnTo>
                            <a:pt x="100" y="232"/>
                          </a:lnTo>
                          <a:lnTo>
                            <a:pt x="110" y="228"/>
                          </a:lnTo>
                          <a:lnTo>
                            <a:pt x="118" y="220"/>
                          </a:lnTo>
                          <a:lnTo>
                            <a:pt x="124" y="212"/>
                          </a:lnTo>
                          <a:lnTo>
                            <a:pt x="130" y="204"/>
                          </a:lnTo>
                          <a:lnTo>
                            <a:pt x="136" y="194"/>
                          </a:lnTo>
                          <a:lnTo>
                            <a:pt x="122" y="194"/>
                          </a:lnTo>
                          <a:lnTo>
                            <a:pt x="122" y="194"/>
                          </a:lnTo>
                          <a:lnTo>
                            <a:pt x="122" y="194"/>
                          </a:lnTo>
                          <a:lnTo>
                            <a:pt x="82" y="60"/>
                          </a:lnTo>
                          <a:lnTo>
                            <a:pt x="150" y="60"/>
                          </a:lnTo>
                          <a:lnTo>
                            <a:pt x="150" y="60"/>
                          </a:lnTo>
                          <a:lnTo>
                            <a:pt x="152" y="66"/>
                          </a:lnTo>
                          <a:lnTo>
                            <a:pt x="156" y="70"/>
                          </a:lnTo>
                          <a:lnTo>
                            <a:pt x="160" y="74"/>
                          </a:lnTo>
                          <a:lnTo>
                            <a:pt x="166" y="78"/>
                          </a:lnTo>
                          <a:lnTo>
                            <a:pt x="166" y="306"/>
                          </a:lnTo>
                          <a:lnTo>
                            <a:pt x="122" y="306"/>
                          </a:lnTo>
                          <a:lnTo>
                            <a:pt x="122" y="306"/>
                          </a:lnTo>
                          <a:lnTo>
                            <a:pt x="116" y="308"/>
                          </a:lnTo>
                          <a:lnTo>
                            <a:pt x="110" y="312"/>
                          </a:lnTo>
                          <a:lnTo>
                            <a:pt x="108" y="316"/>
                          </a:lnTo>
                          <a:lnTo>
                            <a:pt x="106" y="322"/>
                          </a:lnTo>
                          <a:lnTo>
                            <a:pt x="106" y="322"/>
                          </a:lnTo>
                          <a:lnTo>
                            <a:pt x="108" y="328"/>
                          </a:lnTo>
                          <a:lnTo>
                            <a:pt x="110" y="334"/>
                          </a:lnTo>
                          <a:lnTo>
                            <a:pt x="116" y="338"/>
                          </a:lnTo>
                          <a:lnTo>
                            <a:pt x="122" y="338"/>
                          </a:lnTo>
                          <a:lnTo>
                            <a:pt x="230" y="338"/>
                          </a:lnTo>
                          <a:lnTo>
                            <a:pt x="230" y="338"/>
                          </a:lnTo>
                          <a:lnTo>
                            <a:pt x="236" y="338"/>
                          </a:lnTo>
                          <a:lnTo>
                            <a:pt x="242" y="334"/>
                          </a:lnTo>
                          <a:lnTo>
                            <a:pt x="244" y="328"/>
                          </a:lnTo>
                          <a:lnTo>
                            <a:pt x="246" y="322"/>
                          </a:lnTo>
                          <a:lnTo>
                            <a:pt x="246" y="322"/>
                          </a:lnTo>
                          <a:lnTo>
                            <a:pt x="244" y="316"/>
                          </a:lnTo>
                          <a:lnTo>
                            <a:pt x="242" y="312"/>
                          </a:lnTo>
                          <a:lnTo>
                            <a:pt x="236" y="308"/>
                          </a:lnTo>
                          <a:lnTo>
                            <a:pt x="230" y="306"/>
                          </a:lnTo>
                          <a:lnTo>
                            <a:pt x="186" y="306"/>
                          </a:lnTo>
                          <a:lnTo>
                            <a:pt x="186" y="78"/>
                          </a:lnTo>
                          <a:lnTo>
                            <a:pt x="186" y="78"/>
                          </a:lnTo>
                          <a:lnTo>
                            <a:pt x="192" y="74"/>
                          </a:lnTo>
                          <a:lnTo>
                            <a:pt x="196" y="70"/>
                          </a:lnTo>
                          <a:lnTo>
                            <a:pt x="200" y="66"/>
                          </a:lnTo>
                          <a:lnTo>
                            <a:pt x="202" y="60"/>
                          </a:lnTo>
                          <a:lnTo>
                            <a:pt x="270" y="60"/>
                          </a:lnTo>
                          <a:lnTo>
                            <a:pt x="230" y="194"/>
                          </a:lnTo>
                          <a:lnTo>
                            <a:pt x="230" y="194"/>
                          </a:lnTo>
                          <a:lnTo>
                            <a:pt x="230" y="194"/>
                          </a:lnTo>
                          <a:lnTo>
                            <a:pt x="216" y="194"/>
                          </a:lnTo>
                          <a:lnTo>
                            <a:pt x="216" y="194"/>
                          </a:lnTo>
                          <a:lnTo>
                            <a:pt x="222" y="204"/>
                          </a:lnTo>
                          <a:lnTo>
                            <a:pt x="228" y="212"/>
                          </a:lnTo>
                          <a:lnTo>
                            <a:pt x="234" y="220"/>
                          </a:lnTo>
                          <a:lnTo>
                            <a:pt x="242" y="228"/>
                          </a:lnTo>
                          <a:lnTo>
                            <a:pt x="252" y="232"/>
                          </a:lnTo>
                          <a:lnTo>
                            <a:pt x="262" y="236"/>
                          </a:lnTo>
                          <a:lnTo>
                            <a:pt x="272" y="240"/>
                          </a:lnTo>
                          <a:lnTo>
                            <a:pt x="284" y="240"/>
                          </a:lnTo>
                          <a:lnTo>
                            <a:pt x="284" y="240"/>
                          </a:lnTo>
                          <a:lnTo>
                            <a:pt x="296" y="240"/>
                          </a:lnTo>
                          <a:lnTo>
                            <a:pt x="306" y="236"/>
                          </a:lnTo>
                          <a:lnTo>
                            <a:pt x="316" y="232"/>
                          </a:lnTo>
                          <a:lnTo>
                            <a:pt x="326" y="228"/>
                          </a:lnTo>
                          <a:lnTo>
                            <a:pt x="334" y="220"/>
                          </a:lnTo>
                          <a:lnTo>
                            <a:pt x="340" y="212"/>
                          </a:lnTo>
                          <a:lnTo>
                            <a:pt x="346" y="204"/>
                          </a:lnTo>
                          <a:lnTo>
                            <a:pt x="352" y="194"/>
                          </a:lnTo>
                          <a:lnTo>
                            <a:pt x="338" y="194"/>
                          </a:lnTo>
                          <a:close/>
                          <a:moveTo>
                            <a:pt x="36" y="194"/>
                          </a:moveTo>
                          <a:lnTo>
                            <a:pt x="68" y="86"/>
                          </a:lnTo>
                          <a:lnTo>
                            <a:pt x="100" y="194"/>
                          </a:lnTo>
                          <a:lnTo>
                            <a:pt x="36" y="194"/>
                          </a:lnTo>
                          <a:close/>
                          <a:moveTo>
                            <a:pt x="252" y="194"/>
                          </a:moveTo>
                          <a:lnTo>
                            <a:pt x="284" y="86"/>
                          </a:lnTo>
                          <a:lnTo>
                            <a:pt x="316" y="194"/>
                          </a:lnTo>
                          <a:lnTo>
                            <a:pt x="252" y="194"/>
                          </a:lnTo>
                          <a:close/>
                        </a:path>
                      </a:pathLst>
                    </a:custGeom>
                    <a:solidFill>
                      <a:schemeClr val="bg2"/>
                    </a:solidFill>
                    <a:ln>
                      <a:noFill/>
                    </a:ln>
                    <a:extLst/>
                  </p:spPr>
                  <p:txBody>
                    <a:bodyPr vert="horz" wrap="square" lIns="91440" tIns="45720" rIns="91440" bIns="45720" numCol="1" anchor="t" anchorCtr="0" compatLnSpc="1">
                      <a:prstTxWarp prst="textNoShape">
                        <a:avLst/>
                      </a:prstTxWarp>
                    </a:bodyPr>
                    <a:lstStyle/>
                    <a:p>
                      <a:endParaRPr lang="en-GB" altLang="zh-CN" dirty="0"/>
                    </a:p>
                  </p:txBody>
                </p:sp>
              </p:grpSp>
            </p:grpSp>
            <p:sp>
              <p:nvSpPr>
                <p:cNvPr id="90" name="Oval 89"/>
                <p:cNvSpPr/>
                <p:nvPr/>
              </p:nvSpPr>
              <p:spPr>
                <a:xfrm>
                  <a:off x="5518778" y="2997137"/>
                  <a:ext cx="699135" cy="688848"/>
                </a:xfrm>
                <a:prstGeom prst="ellipse">
                  <a:avLst/>
                </a:prstGeom>
                <a:solidFill>
                  <a:schemeClr val="bg1"/>
                </a:soli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tLang="zh-CN" dirty="0" smtClean="0"/>
                </a:p>
              </p:txBody>
            </p:sp>
            <p:grpSp>
              <p:nvGrpSpPr>
                <p:cNvPr id="91" name="Gruppieren 25"/>
                <p:cNvGrpSpPr>
                  <a:grpSpLocks noChangeAspect="1"/>
                </p:cNvGrpSpPr>
                <p:nvPr>
                  <p:custDataLst>
                    <p:tags r:id="rId12"/>
                  </p:custDataLst>
                </p:nvPr>
              </p:nvGrpSpPr>
              <p:grpSpPr bwMode="gray">
                <a:xfrm>
                  <a:off x="5598763" y="3072629"/>
                  <a:ext cx="536400" cy="536400"/>
                  <a:chOff x="533400" y="2101850"/>
                  <a:chExt cx="866775" cy="866775"/>
                </a:xfrm>
              </p:grpSpPr>
              <p:sp>
                <p:nvSpPr>
                  <p:cNvPr id="92" name="Ellipse 26"/>
                  <p:cNvSpPr/>
                  <p:nvPr/>
                </p:nvSpPr>
                <p:spPr bwMode="gray">
                  <a:xfrm>
                    <a:off x="533400" y="2101850"/>
                    <a:ext cx="866775" cy="866775"/>
                  </a:xfrm>
                  <a:prstGeom prst="ellipse">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dirty="0" smtClean="0">
                      <a:solidFill>
                        <a:schemeClr val="bg1"/>
                      </a:solidFill>
                      <a:latin typeface="Georgia" pitchFamily="18" charset="0"/>
                    </a:endParaRPr>
                  </a:p>
                </p:txBody>
              </p:sp>
              <p:grpSp>
                <p:nvGrpSpPr>
                  <p:cNvPr id="93" name="Gruppieren 1"/>
                  <p:cNvGrpSpPr/>
                  <p:nvPr/>
                </p:nvGrpSpPr>
                <p:grpSpPr bwMode="gray">
                  <a:xfrm>
                    <a:off x="712787" y="2328862"/>
                    <a:ext cx="508000" cy="412751"/>
                    <a:chOff x="711201" y="2330451"/>
                    <a:chExt cx="508000" cy="412751"/>
                  </a:xfrm>
                </p:grpSpPr>
                <p:sp>
                  <p:nvSpPr>
                    <p:cNvPr id="94" name="Freeform 724" descr="© INSCALE GmbH, 21.06.2010"/>
                    <p:cNvSpPr>
                      <a:spLocks noChangeAspect="1"/>
                    </p:cNvSpPr>
                    <p:nvPr/>
                  </p:nvSpPr>
                  <p:spPr bwMode="gray">
                    <a:xfrm>
                      <a:off x="823914" y="2330451"/>
                      <a:ext cx="188913" cy="182563"/>
                    </a:xfrm>
                    <a:custGeom>
                      <a:avLst/>
                      <a:gdLst>
                        <a:gd name="T0" fmla="*/ 44 w 50"/>
                        <a:gd name="T1" fmla="*/ 7 h 49"/>
                        <a:gd name="T2" fmla="*/ 45 w 50"/>
                        <a:gd name="T3" fmla="*/ 26 h 49"/>
                        <a:gd name="T4" fmla="*/ 25 w 50"/>
                        <a:gd name="T5" fmla="*/ 44 h 49"/>
                        <a:gd name="T6" fmla="*/ 6 w 50"/>
                        <a:gd name="T7" fmla="*/ 42 h 49"/>
                        <a:gd name="T8" fmla="*/ 6 w 50"/>
                        <a:gd name="T9" fmla="*/ 42 h 49"/>
                        <a:gd name="T10" fmla="*/ 5 w 50"/>
                        <a:gd name="T11" fmla="*/ 23 h 49"/>
                        <a:gd name="T12" fmla="*/ 25 w 50"/>
                        <a:gd name="T13" fmla="*/ 5 h 49"/>
                        <a:gd name="T14" fmla="*/ 44 w 50"/>
                        <a:gd name="T15" fmla="*/ 7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 h="49">
                          <a:moveTo>
                            <a:pt x="44" y="7"/>
                          </a:moveTo>
                          <a:cubicBezTo>
                            <a:pt x="49" y="13"/>
                            <a:pt x="50" y="21"/>
                            <a:pt x="45" y="26"/>
                          </a:cubicBezTo>
                          <a:cubicBezTo>
                            <a:pt x="25" y="44"/>
                            <a:pt x="25" y="44"/>
                            <a:pt x="25" y="44"/>
                          </a:cubicBezTo>
                          <a:cubicBezTo>
                            <a:pt x="20" y="49"/>
                            <a:pt x="11" y="48"/>
                            <a:pt x="6" y="42"/>
                          </a:cubicBezTo>
                          <a:cubicBezTo>
                            <a:pt x="6" y="42"/>
                            <a:pt x="6" y="42"/>
                            <a:pt x="6" y="42"/>
                          </a:cubicBezTo>
                          <a:cubicBezTo>
                            <a:pt x="0" y="36"/>
                            <a:pt x="0" y="27"/>
                            <a:pt x="5" y="23"/>
                          </a:cubicBezTo>
                          <a:cubicBezTo>
                            <a:pt x="25" y="5"/>
                            <a:pt x="25" y="5"/>
                            <a:pt x="25" y="5"/>
                          </a:cubicBezTo>
                          <a:cubicBezTo>
                            <a:pt x="30" y="0"/>
                            <a:pt x="39" y="1"/>
                            <a:pt x="44" y="7"/>
                          </a:cubicBezTo>
                          <a:close/>
                        </a:path>
                      </a:pathLst>
                    </a:custGeom>
                    <a:solidFill>
                      <a:schemeClr val="bg1"/>
                    </a:solidFill>
                    <a:ln>
                      <a:noFill/>
                    </a:ln>
                  </p:spPr>
                  <p:txBody>
                    <a:bodyPr/>
                    <a:lstStyle/>
                    <a:p>
                      <a:endParaRPr lang="en-GB" dirty="0"/>
                    </a:p>
                  </p:txBody>
                </p:sp>
                <p:sp>
                  <p:nvSpPr>
                    <p:cNvPr id="95" name="Freeform 725" descr="© INSCALE GmbH, 21.06.2010"/>
                    <p:cNvSpPr>
                      <a:spLocks noChangeAspect="1"/>
                    </p:cNvSpPr>
                    <p:nvPr/>
                  </p:nvSpPr>
                  <p:spPr bwMode="gray">
                    <a:xfrm>
                      <a:off x="920751" y="2427289"/>
                      <a:ext cx="298450" cy="315913"/>
                    </a:xfrm>
                    <a:custGeom>
                      <a:avLst/>
                      <a:gdLst>
                        <a:gd name="T0" fmla="*/ 12 w 79"/>
                        <a:gd name="T1" fmla="*/ 1 h 84"/>
                        <a:gd name="T2" fmla="*/ 5 w 79"/>
                        <a:gd name="T3" fmla="*/ 4 h 84"/>
                        <a:gd name="T4" fmla="*/ 1 w 79"/>
                        <a:gd name="T5" fmla="*/ 11 h 84"/>
                        <a:gd name="T6" fmla="*/ 62 w 79"/>
                        <a:gd name="T7" fmla="*/ 83 h 84"/>
                        <a:gd name="T8" fmla="*/ 72 w 79"/>
                        <a:gd name="T9" fmla="*/ 78 h 84"/>
                        <a:gd name="T10" fmla="*/ 78 w 79"/>
                        <a:gd name="T11" fmla="*/ 68 h 84"/>
                        <a:gd name="T12" fmla="*/ 12 w 79"/>
                        <a:gd name="T13" fmla="*/ 1 h 84"/>
                      </a:gdLst>
                      <a:ahLst/>
                      <a:cxnLst>
                        <a:cxn ang="0">
                          <a:pos x="T0" y="T1"/>
                        </a:cxn>
                        <a:cxn ang="0">
                          <a:pos x="T2" y="T3"/>
                        </a:cxn>
                        <a:cxn ang="0">
                          <a:pos x="T4" y="T5"/>
                        </a:cxn>
                        <a:cxn ang="0">
                          <a:pos x="T6" y="T7"/>
                        </a:cxn>
                        <a:cxn ang="0">
                          <a:pos x="T8" y="T9"/>
                        </a:cxn>
                        <a:cxn ang="0">
                          <a:pos x="T10" y="T11"/>
                        </a:cxn>
                        <a:cxn ang="0">
                          <a:pos x="T12" y="T13"/>
                        </a:cxn>
                      </a:cxnLst>
                      <a:rect l="0" t="0" r="r" b="b"/>
                      <a:pathLst>
                        <a:path w="79" h="84">
                          <a:moveTo>
                            <a:pt x="12" y="1"/>
                          </a:moveTo>
                          <a:cubicBezTo>
                            <a:pt x="11" y="0"/>
                            <a:pt x="8" y="1"/>
                            <a:pt x="5" y="4"/>
                          </a:cubicBezTo>
                          <a:cubicBezTo>
                            <a:pt x="2" y="7"/>
                            <a:pt x="0" y="10"/>
                            <a:pt x="1" y="11"/>
                          </a:cubicBezTo>
                          <a:cubicBezTo>
                            <a:pt x="1" y="11"/>
                            <a:pt x="62" y="83"/>
                            <a:pt x="62" y="83"/>
                          </a:cubicBezTo>
                          <a:cubicBezTo>
                            <a:pt x="63" y="84"/>
                            <a:pt x="67" y="82"/>
                            <a:pt x="72" y="78"/>
                          </a:cubicBezTo>
                          <a:cubicBezTo>
                            <a:pt x="76" y="74"/>
                            <a:pt x="79" y="69"/>
                            <a:pt x="78" y="68"/>
                          </a:cubicBezTo>
                          <a:cubicBezTo>
                            <a:pt x="78" y="68"/>
                            <a:pt x="12" y="1"/>
                            <a:pt x="12" y="1"/>
                          </a:cubicBezTo>
                          <a:close/>
                        </a:path>
                      </a:pathLst>
                    </a:custGeom>
                    <a:solidFill>
                      <a:schemeClr val="bg1"/>
                    </a:solidFill>
                    <a:ln>
                      <a:noFill/>
                    </a:ln>
                  </p:spPr>
                  <p:txBody>
                    <a:bodyPr/>
                    <a:lstStyle/>
                    <a:p>
                      <a:endParaRPr lang="en-GB" dirty="0"/>
                    </a:p>
                  </p:txBody>
                </p:sp>
                <p:sp>
                  <p:nvSpPr>
                    <p:cNvPr id="96" name="Freeform 726" descr="© INSCALE GmbH, 21.06.2010"/>
                    <p:cNvSpPr>
                      <a:spLocks noChangeAspect="1"/>
                    </p:cNvSpPr>
                    <p:nvPr/>
                  </p:nvSpPr>
                  <p:spPr bwMode="gray">
                    <a:xfrm>
                      <a:off x="711201" y="2563814"/>
                      <a:ext cx="209550" cy="139700"/>
                    </a:xfrm>
                    <a:custGeom>
                      <a:avLst/>
                      <a:gdLst>
                        <a:gd name="T0" fmla="*/ 29 w 56"/>
                        <a:gd name="T1" fmla="*/ 0 h 37"/>
                        <a:gd name="T2" fmla="*/ 56 w 56"/>
                        <a:gd name="T3" fmla="*/ 20 h 37"/>
                        <a:gd name="T4" fmla="*/ 28 w 56"/>
                        <a:gd name="T5" fmla="*/ 37 h 37"/>
                        <a:gd name="T6" fmla="*/ 1 w 56"/>
                        <a:gd name="T7" fmla="*/ 18 h 37"/>
                        <a:gd name="T8" fmla="*/ 29 w 56"/>
                        <a:gd name="T9" fmla="*/ 0 h 37"/>
                      </a:gdLst>
                      <a:ahLst/>
                      <a:cxnLst>
                        <a:cxn ang="0">
                          <a:pos x="T0" y="T1"/>
                        </a:cxn>
                        <a:cxn ang="0">
                          <a:pos x="T2" y="T3"/>
                        </a:cxn>
                        <a:cxn ang="0">
                          <a:pos x="T4" y="T5"/>
                        </a:cxn>
                        <a:cxn ang="0">
                          <a:pos x="T6" y="T7"/>
                        </a:cxn>
                        <a:cxn ang="0">
                          <a:pos x="T8" y="T9"/>
                        </a:cxn>
                      </a:cxnLst>
                      <a:rect l="0" t="0" r="r" b="b"/>
                      <a:pathLst>
                        <a:path w="56" h="37">
                          <a:moveTo>
                            <a:pt x="29" y="0"/>
                          </a:moveTo>
                          <a:cubicBezTo>
                            <a:pt x="44" y="1"/>
                            <a:pt x="56" y="9"/>
                            <a:pt x="56" y="20"/>
                          </a:cubicBezTo>
                          <a:cubicBezTo>
                            <a:pt x="56" y="30"/>
                            <a:pt x="43" y="37"/>
                            <a:pt x="28" y="37"/>
                          </a:cubicBezTo>
                          <a:cubicBezTo>
                            <a:pt x="12" y="36"/>
                            <a:pt x="0" y="28"/>
                            <a:pt x="1" y="18"/>
                          </a:cubicBezTo>
                          <a:cubicBezTo>
                            <a:pt x="1" y="8"/>
                            <a:pt x="13" y="0"/>
                            <a:pt x="29" y="0"/>
                          </a:cubicBezTo>
                          <a:close/>
                        </a:path>
                      </a:pathLst>
                    </a:custGeom>
                    <a:solidFill>
                      <a:schemeClr val="bg1"/>
                    </a:solidFill>
                    <a:ln>
                      <a:noFill/>
                    </a:ln>
                  </p:spPr>
                  <p:txBody>
                    <a:bodyPr/>
                    <a:lstStyle/>
                    <a:p>
                      <a:endParaRPr lang="en-GB" dirty="0"/>
                    </a:p>
                  </p:txBody>
                </p:sp>
                <p:sp>
                  <p:nvSpPr>
                    <p:cNvPr id="97" name="Freeform 727" descr="© INSCALE GmbH, 21.06.2010"/>
                    <p:cNvSpPr>
                      <a:spLocks noChangeAspect="1"/>
                    </p:cNvSpPr>
                    <p:nvPr/>
                  </p:nvSpPr>
                  <p:spPr bwMode="gray">
                    <a:xfrm>
                      <a:off x="738189" y="2571751"/>
                      <a:ext cx="160338" cy="77788"/>
                    </a:xfrm>
                    <a:custGeom>
                      <a:avLst/>
                      <a:gdLst>
                        <a:gd name="T0" fmla="*/ 21 w 43"/>
                        <a:gd name="T1" fmla="*/ 0 h 21"/>
                        <a:gd name="T2" fmla="*/ 43 w 43"/>
                        <a:gd name="T3" fmla="*/ 11 h 21"/>
                        <a:gd name="T4" fmla="*/ 21 w 43"/>
                        <a:gd name="T5" fmla="*/ 21 h 21"/>
                        <a:gd name="T6" fmla="*/ 0 w 43"/>
                        <a:gd name="T7" fmla="*/ 10 h 21"/>
                        <a:gd name="T8" fmla="*/ 21 w 43"/>
                        <a:gd name="T9" fmla="*/ 0 h 21"/>
                      </a:gdLst>
                      <a:ahLst/>
                      <a:cxnLst>
                        <a:cxn ang="0">
                          <a:pos x="T0" y="T1"/>
                        </a:cxn>
                        <a:cxn ang="0">
                          <a:pos x="T2" y="T3"/>
                        </a:cxn>
                        <a:cxn ang="0">
                          <a:pos x="T4" y="T5"/>
                        </a:cxn>
                        <a:cxn ang="0">
                          <a:pos x="T6" y="T7"/>
                        </a:cxn>
                        <a:cxn ang="0">
                          <a:pos x="T8" y="T9"/>
                        </a:cxn>
                      </a:cxnLst>
                      <a:rect l="0" t="0" r="r" b="b"/>
                      <a:pathLst>
                        <a:path w="43" h="21">
                          <a:moveTo>
                            <a:pt x="21" y="0"/>
                          </a:moveTo>
                          <a:cubicBezTo>
                            <a:pt x="33" y="1"/>
                            <a:pt x="43" y="6"/>
                            <a:pt x="43" y="11"/>
                          </a:cubicBezTo>
                          <a:cubicBezTo>
                            <a:pt x="42" y="17"/>
                            <a:pt x="33" y="21"/>
                            <a:pt x="21" y="21"/>
                          </a:cubicBezTo>
                          <a:cubicBezTo>
                            <a:pt x="9" y="20"/>
                            <a:pt x="0" y="16"/>
                            <a:pt x="0" y="10"/>
                          </a:cubicBezTo>
                          <a:cubicBezTo>
                            <a:pt x="0" y="4"/>
                            <a:pt x="10" y="0"/>
                            <a:pt x="21" y="0"/>
                          </a:cubicBezTo>
                          <a:close/>
                        </a:path>
                      </a:pathLst>
                    </a:custGeom>
                    <a:solidFill>
                      <a:schemeClr val="accent1"/>
                    </a:solidFill>
                    <a:ln>
                      <a:noFill/>
                    </a:ln>
                  </p:spPr>
                  <p:txBody>
                    <a:bodyPr/>
                    <a:lstStyle/>
                    <a:p>
                      <a:endParaRPr lang="en-GB" dirty="0"/>
                    </a:p>
                  </p:txBody>
                </p:sp>
                <p:sp>
                  <p:nvSpPr>
                    <p:cNvPr id="98" name="Freeform 728" descr="© INSCALE GmbH, 21.06.2010"/>
                    <p:cNvSpPr>
                      <a:spLocks noChangeAspect="1"/>
                    </p:cNvSpPr>
                    <p:nvPr/>
                  </p:nvSpPr>
                  <p:spPr bwMode="gray">
                    <a:xfrm>
                      <a:off x="944564" y="2344739"/>
                      <a:ext cx="46038" cy="52388"/>
                    </a:xfrm>
                    <a:custGeom>
                      <a:avLst/>
                      <a:gdLst>
                        <a:gd name="T0" fmla="*/ 2 w 12"/>
                        <a:gd name="T1" fmla="*/ 0 h 14"/>
                        <a:gd name="T2" fmla="*/ 12 w 12"/>
                        <a:gd name="T3" fmla="*/ 14 h 14"/>
                      </a:gdLst>
                      <a:ahLst/>
                      <a:cxnLst>
                        <a:cxn ang="0">
                          <a:pos x="T0" y="T1"/>
                        </a:cxn>
                        <a:cxn ang="0">
                          <a:pos x="T2" y="T3"/>
                        </a:cxn>
                      </a:cxnLst>
                      <a:rect l="0" t="0" r="r" b="b"/>
                      <a:pathLst>
                        <a:path w="12" h="14">
                          <a:moveTo>
                            <a:pt x="2" y="0"/>
                          </a:moveTo>
                          <a:cubicBezTo>
                            <a:pt x="2" y="0"/>
                            <a:pt x="0" y="11"/>
                            <a:pt x="12" y="14"/>
                          </a:cubicBezTo>
                        </a:path>
                      </a:pathLst>
                    </a:custGeom>
                    <a:noFill/>
                    <a:ln w="317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a:lstStyle/>
                    <a:p>
                      <a:endParaRPr lang="en-GB" dirty="0"/>
                    </a:p>
                  </p:txBody>
                </p:sp>
              </p:grpSp>
            </p:grpSp>
          </p:grpSp>
        </p:grpSp>
      </p:grpSp>
      <p:sp>
        <p:nvSpPr>
          <p:cNvPr id="111" name="Rectangle 110"/>
          <p:cNvSpPr/>
          <p:nvPr/>
        </p:nvSpPr>
        <p:spPr>
          <a:xfrm>
            <a:off x="521897" y="6308770"/>
            <a:ext cx="8992907" cy="45719"/>
          </a:xfrm>
          <a:prstGeom prst="rect">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0800000" scaled="1"/>
            <a:tileRect/>
          </a:gra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tLang="zh-CN" sz="1600" dirty="0">
              <a:solidFill>
                <a:schemeClr val="bg1"/>
              </a:solidFill>
              <a:latin typeface="宋体" panose="02010600030101010101" pitchFamily="2" charset="-122"/>
              <a:ea typeface="宋体" panose="02010600030101010101" pitchFamily="2" charset="-122"/>
            </a:endParaRPr>
          </a:p>
        </p:txBody>
      </p:sp>
      <p:sp>
        <p:nvSpPr>
          <p:cNvPr id="112" name="Rectangle 111"/>
          <p:cNvSpPr/>
          <p:nvPr/>
        </p:nvSpPr>
        <p:spPr>
          <a:xfrm>
            <a:off x="533400" y="2758891"/>
            <a:ext cx="8985504" cy="62072"/>
          </a:xfrm>
          <a:prstGeom prst="rect">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10800000" scaled="1"/>
            <a:tileRect/>
          </a:gradFill>
          <a:ln w="6350">
            <a:no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tLang="zh-CN" sz="1600" dirty="0">
              <a:solidFill>
                <a:schemeClr val="bg1"/>
              </a:solidFill>
              <a:latin typeface="宋体" panose="02010600030101010101" pitchFamily="2" charset="-122"/>
              <a:ea typeface="宋体" panose="02010600030101010101" pitchFamily="2" charset="-122"/>
            </a:endParaRPr>
          </a:p>
        </p:txBody>
      </p:sp>
      <p:sp>
        <p:nvSpPr>
          <p:cNvPr id="2" name="TextBox 1"/>
          <p:cNvSpPr txBox="1"/>
          <p:nvPr/>
        </p:nvSpPr>
        <p:spPr>
          <a:xfrm>
            <a:off x="1558693" y="3861406"/>
            <a:ext cx="1493697" cy="569387"/>
          </a:xfrm>
          <a:prstGeom prst="rect">
            <a:avLst/>
          </a:prstGeom>
          <a:noFill/>
          <a:ln>
            <a:noFill/>
          </a:ln>
        </p:spPr>
        <p:txBody>
          <a:bodyPr wrap="square" lIns="0" tIns="0" rIns="0" bIns="0" rtlCol="0">
            <a:spAutoFit/>
          </a:bodyPr>
          <a:lstStyle/>
          <a:p>
            <a:r>
              <a:rPr lang="en-GB" sz="1400" dirty="0" smtClean="0">
                <a:solidFill>
                  <a:schemeClr val="bg1"/>
                </a:solidFill>
                <a:latin typeface="Georgia" pitchFamily="18" charset="0"/>
                <a:cs typeface="Arial" pitchFamily="34" charset="0"/>
              </a:rPr>
              <a:t>     </a:t>
            </a:r>
            <a:r>
              <a:rPr lang="en-GB" sz="1200" b="1" dirty="0" smtClean="0">
                <a:solidFill>
                  <a:schemeClr val="bg1"/>
                </a:solidFill>
                <a:latin typeface="Georgia" pitchFamily="18" charset="0"/>
                <a:cs typeface="Arial" pitchFamily="34" charset="0"/>
              </a:rPr>
              <a:t>1.Selection </a:t>
            </a:r>
            <a:r>
              <a:rPr lang="en-GB" sz="1200" b="1" dirty="0">
                <a:solidFill>
                  <a:schemeClr val="bg1"/>
                </a:solidFill>
                <a:latin typeface="Georgia" pitchFamily="18" charset="0"/>
                <a:cs typeface="Arial" pitchFamily="34" charset="0"/>
              </a:rPr>
              <a:t>of potential cases</a:t>
            </a:r>
          </a:p>
          <a:p>
            <a:endParaRPr lang="en-GB" sz="1050" noProof="0" dirty="0" smtClean="0">
              <a:solidFill>
                <a:schemeClr val="tx1"/>
              </a:solidFill>
              <a:latin typeface="Georgia" pitchFamily="18" charset="0"/>
              <a:cs typeface="Arial" pitchFamily="34" charset="0"/>
            </a:endParaRPr>
          </a:p>
        </p:txBody>
      </p:sp>
      <p:sp>
        <p:nvSpPr>
          <p:cNvPr id="58" name="TextBox 57"/>
          <p:cNvSpPr txBox="1"/>
          <p:nvPr/>
        </p:nvSpPr>
        <p:spPr>
          <a:xfrm>
            <a:off x="3431812" y="4964044"/>
            <a:ext cx="1253162" cy="184666"/>
          </a:xfrm>
          <a:prstGeom prst="rect">
            <a:avLst/>
          </a:prstGeom>
          <a:noFill/>
          <a:ln>
            <a:noFill/>
          </a:ln>
        </p:spPr>
        <p:txBody>
          <a:bodyPr wrap="square" lIns="0" tIns="0" rIns="0" bIns="0" rtlCol="0">
            <a:spAutoFit/>
          </a:bodyPr>
          <a:lstStyle/>
          <a:p>
            <a:r>
              <a:rPr lang="en-GB" sz="1200" b="1" noProof="0" dirty="0" smtClean="0">
                <a:solidFill>
                  <a:schemeClr val="bg1"/>
                </a:solidFill>
                <a:latin typeface="Georgia" pitchFamily="18" charset="0"/>
                <a:cs typeface="Arial" pitchFamily="34" charset="0"/>
              </a:rPr>
              <a:t>2. Investigation </a:t>
            </a:r>
          </a:p>
        </p:txBody>
      </p:sp>
      <p:sp>
        <p:nvSpPr>
          <p:cNvPr id="119" name="TextBox 118"/>
          <p:cNvSpPr txBox="1"/>
          <p:nvPr/>
        </p:nvSpPr>
        <p:spPr>
          <a:xfrm>
            <a:off x="6035048" y="3779681"/>
            <a:ext cx="1493697" cy="561692"/>
          </a:xfrm>
          <a:prstGeom prst="rect">
            <a:avLst/>
          </a:prstGeom>
          <a:noFill/>
          <a:ln>
            <a:noFill/>
          </a:ln>
        </p:spPr>
        <p:txBody>
          <a:bodyPr wrap="square" lIns="0" tIns="0" rIns="0" bIns="0" rtlCol="0">
            <a:spAutoFit/>
          </a:bodyPr>
          <a:lstStyle/>
          <a:p>
            <a:r>
              <a:rPr lang="en-GB" sz="1400" b="1" dirty="0" smtClean="0">
                <a:solidFill>
                  <a:schemeClr val="bg1"/>
                </a:solidFill>
                <a:latin typeface="Georgia" pitchFamily="18" charset="0"/>
                <a:cs typeface="Arial" pitchFamily="34" charset="0"/>
              </a:rPr>
              <a:t>   </a:t>
            </a:r>
            <a:r>
              <a:rPr lang="en-GB" sz="1200" b="1" dirty="0" smtClean="0">
                <a:solidFill>
                  <a:schemeClr val="bg1"/>
                </a:solidFill>
                <a:latin typeface="Georgia" pitchFamily="18" charset="0"/>
                <a:cs typeface="Arial" pitchFamily="34" charset="0"/>
              </a:rPr>
              <a:t>3. Case Conclusion </a:t>
            </a:r>
            <a:endParaRPr lang="en-GB" sz="1200" b="1" dirty="0">
              <a:solidFill>
                <a:schemeClr val="bg1"/>
              </a:solidFill>
              <a:latin typeface="Georgia" pitchFamily="18" charset="0"/>
              <a:cs typeface="Arial" pitchFamily="34" charset="0"/>
            </a:endParaRPr>
          </a:p>
          <a:p>
            <a:endParaRPr lang="en-GB" sz="1050" noProof="0" dirty="0" smtClean="0">
              <a:solidFill>
                <a:schemeClr val="tx1"/>
              </a:solidFill>
              <a:latin typeface="Georgia" pitchFamily="18" charset="0"/>
              <a:cs typeface="Arial" pitchFamily="34" charset="0"/>
            </a:endParaRPr>
          </a:p>
        </p:txBody>
      </p:sp>
      <p:sp>
        <p:nvSpPr>
          <p:cNvPr id="120" name="TextBox 119"/>
          <p:cNvSpPr txBox="1"/>
          <p:nvPr/>
        </p:nvSpPr>
        <p:spPr>
          <a:xfrm>
            <a:off x="8270048" y="5110995"/>
            <a:ext cx="1467842" cy="561692"/>
          </a:xfrm>
          <a:prstGeom prst="rect">
            <a:avLst/>
          </a:prstGeom>
          <a:noFill/>
          <a:ln>
            <a:noFill/>
          </a:ln>
        </p:spPr>
        <p:txBody>
          <a:bodyPr wrap="square" lIns="0" tIns="0" rIns="0" bIns="0" rtlCol="0">
            <a:spAutoFit/>
          </a:bodyPr>
          <a:lstStyle/>
          <a:p>
            <a:r>
              <a:rPr lang="en-GB" sz="1400" b="1" dirty="0" smtClean="0">
                <a:solidFill>
                  <a:schemeClr val="bg1"/>
                </a:solidFill>
                <a:latin typeface="Georgia" pitchFamily="18" charset="0"/>
                <a:cs typeface="Arial" pitchFamily="34" charset="0"/>
              </a:rPr>
              <a:t>   </a:t>
            </a:r>
            <a:r>
              <a:rPr lang="en-GB" sz="1200" b="1" dirty="0" smtClean="0">
                <a:solidFill>
                  <a:schemeClr val="bg1"/>
                </a:solidFill>
                <a:latin typeface="Georgia" pitchFamily="18" charset="0"/>
                <a:cs typeface="Arial" pitchFamily="34" charset="0"/>
              </a:rPr>
              <a:t>4. Dispute Resolution </a:t>
            </a:r>
            <a:endParaRPr lang="en-GB" sz="1200" b="1" dirty="0">
              <a:solidFill>
                <a:schemeClr val="bg1"/>
              </a:solidFill>
              <a:latin typeface="Georgia" pitchFamily="18" charset="0"/>
              <a:cs typeface="Arial" pitchFamily="34" charset="0"/>
            </a:endParaRPr>
          </a:p>
          <a:p>
            <a:endParaRPr lang="en-GB" sz="1050" noProof="0" dirty="0" smtClean="0">
              <a:solidFill>
                <a:schemeClr val="tx1"/>
              </a:solidFill>
              <a:latin typeface="Georgia" pitchFamily="18" charset="0"/>
              <a:cs typeface="Arial" pitchFamily="34" charset="0"/>
            </a:endParaRPr>
          </a:p>
        </p:txBody>
      </p:sp>
      <p:grpSp>
        <p:nvGrpSpPr>
          <p:cNvPr id="133" name="Group 132"/>
          <p:cNvGrpSpPr/>
          <p:nvPr>
            <p:custDataLst>
              <p:tags r:id="rId6"/>
            </p:custDataLst>
          </p:nvPr>
        </p:nvGrpSpPr>
        <p:grpSpPr>
          <a:xfrm>
            <a:off x="5283980" y="704088"/>
            <a:ext cx="4236835" cy="138499"/>
            <a:chOff x="5283980" y="704088"/>
            <a:chExt cx="4236835" cy="138499"/>
          </a:xfrm>
        </p:grpSpPr>
        <p:sp>
          <p:nvSpPr>
            <p:cNvPr id="134" name="745">
              <a:hlinkClick r:id="rId14" action="ppaction://hlinksldjump"/>
            </p:cNvPr>
            <p:cNvSpPr txBox="1"/>
            <p:nvPr>
              <p:custDataLst>
                <p:tags r:id="rId7"/>
              </p:custDataLst>
            </p:nvPr>
          </p:nvSpPr>
          <p:spPr>
            <a:xfrm>
              <a:off x="7868824" y="704088"/>
              <a:ext cx="1651991" cy="138499"/>
            </a:xfrm>
            <a:prstGeom prst="rect">
              <a:avLst/>
            </a:prstGeom>
            <a:noFill/>
            <a:ln>
              <a:noFill/>
            </a:ln>
          </p:spPr>
          <p:txBody>
            <a:bodyPr wrap="none" lIns="27432" tIns="0" rIns="27432" bIns="0" rtlCol="0">
              <a:spAutoFit/>
            </a:bodyPr>
            <a:lstStyle/>
            <a:p>
              <a:r>
                <a:rPr lang="en-US" sz="900" noProof="1" smtClean="0">
                  <a:solidFill>
                    <a:schemeClr val="tx1"/>
                  </a:solidFill>
                  <a:latin typeface="+mn-lt"/>
                  <a:cs typeface="Arial" pitchFamily="34" charset="0"/>
                </a:rPr>
                <a:t>Part II  Indirect Equity Transfer </a:t>
              </a:r>
              <a:endParaRPr lang="en-GB" sz="900" noProof="1" smtClean="0">
                <a:solidFill>
                  <a:schemeClr val="tx1"/>
                </a:solidFill>
                <a:latin typeface="+mn-lt"/>
                <a:cs typeface="Arial" pitchFamily="34" charset="0"/>
              </a:endParaRPr>
            </a:p>
          </p:txBody>
        </p:sp>
        <p:cxnSp>
          <p:nvCxnSpPr>
            <p:cNvPr id="135" name="Divider1"/>
            <p:cNvCxnSpPr/>
            <p:nvPr>
              <p:custDataLst>
                <p:tags r:id="rId8"/>
              </p:custDataLst>
            </p:nvPr>
          </p:nvCxnSpPr>
          <p:spPr>
            <a:xfrm>
              <a:off x="7843424"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36" name="638">
              <a:hlinkClick r:id="rId15" action="ppaction://hlinksldjump"/>
            </p:cNvPr>
            <p:cNvSpPr txBox="1"/>
            <p:nvPr>
              <p:custDataLst>
                <p:tags r:id="rId9"/>
              </p:custDataLst>
            </p:nvPr>
          </p:nvSpPr>
          <p:spPr>
            <a:xfrm>
              <a:off x="5787725" y="704088"/>
              <a:ext cx="2030299" cy="138499"/>
            </a:xfrm>
            <a:prstGeom prst="rect">
              <a:avLst/>
            </a:prstGeom>
            <a:noFill/>
            <a:ln>
              <a:noFill/>
            </a:ln>
          </p:spPr>
          <p:txBody>
            <a:bodyPr wrap="none" lIns="27432" tIns="0" rIns="27432" bIns="0" rtlCol="0">
              <a:spAutoFit/>
            </a:bodyPr>
            <a:lstStyle/>
            <a:p>
              <a:r>
                <a:rPr lang="en-US" sz="900" noProof="1" smtClean="0">
                  <a:solidFill>
                    <a:schemeClr val="tx2"/>
                  </a:solidFill>
                  <a:cs typeface="Arial" pitchFamily="34" charset="0"/>
                </a:rPr>
                <a:t>Part I  Brief Introduction to PRC GAAR</a:t>
              </a:r>
              <a:endParaRPr lang="en-GB" sz="900" noProof="1" smtClean="0">
                <a:solidFill>
                  <a:schemeClr val="tx2"/>
                </a:solidFill>
                <a:cs typeface="Arial" pitchFamily="34" charset="0"/>
              </a:endParaRPr>
            </a:p>
          </p:txBody>
        </p:sp>
        <p:cxnSp>
          <p:nvCxnSpPr>
            <p:cNvPr id="137" name="Divider2"/>
            <p:cNvCxnSpPr/>
            <p:nvPr>
              <p:custDataLst>
                <p:tags r:id="rId10"/>
              </p:custDataLst>
            </p:nvPr>
          </p:nvCxnSpPr>
          <p:spPr>
            <a:xfrm>
              <a:off x="5762325"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38" name="735">
              <a:hlinkClick r:id="rId16" action="ppaction://hlinksldjump"/>
            </p:cNvPr>
            <p:cNvSpPr txBox="1"/>
            <p:nvPr>
              <p:custDataLst>
                <p:tags r:id="rId11"/>
              </p:custDataLst>
            </p:nvPr>
          </p:nvSpPr>
          <p:spPr>
            <a:xfrm>
              <a:off x="5283980" y="704088"/>
              <a:ext cx="452945" cy="138499"/>
            </a:xfrm>
            <a:prstGeom prst="rect">
              <a:avLst/>
            </a:prstGeom>
            <a:noFill/>
            <a:ln>
              <a:noFill/>
            </a:ln>
          </p:spPr>
          <p:txBody>
            <a:bodyPr wrap="none" lIns="27432" tIns="0" rIns="27432" bIns="0" rtlCol="0">
              <a:spAutoFit/>
            </a:bodyPr>
            <a:lstStyle/>
            <a:p>
              <a:r>
                <a:rPr lang="en-GB" sz="900" noProof="1" smtClean="0">
                  <a:solidFill>
                    <a:schemeClr val="tx1"/>
                  </a:solidFill>
                  <a:latin typeface="+mn-lt"/>
                  <a:cs typeface="Arial" pitchFamily="34" charset="0"/>
                </a:rPr>
                <a:t>Agenda</a:t>
              </a:r>
              <a:endParaRPr lang="en-GB" sz="900" noProof="1" smtClean="0">
                <a:solidFill>
                  <a:schemeClr val="tx1"/>
                </a:solidFill>
                <a:latin typeface="+mn-lt"/>
                <a:cs typeface="Arial" pitchFamily="34" charset="0"/>
              </a:endParaRPr>
            </a:p>
          </p:txBody>
        </p:sp>
      </p:grpSp>
    </p:spTree>
    <p:custDataLst>
      <p:tags r:id="rId1"/>
    </p:custDataLst>
    <p:extLst>
      <p:ext uri="{BB962C8B-B14F-4D97-AF65-F5344CB8AC3E}">
        <p14:creationId xmlns:p14="http://schemas.microsoft.com/office/powerpoint/2010/main" val="9030007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en-GB"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sp>
        <p:nvSpPr>
          <p:cNvPr id="3" name="Title 2"/>
          <p:cNvSpPr>
            <a:spLocks noGrp="1"/>
          </p:cNvSpPr>
          <p:nvPr>
            <p:ph type="title"/>
          </p:nvPr>
        </p:nvSpPr>
        <p:spPr/>
        <p:txBody>
          <a:bodyPr/>
          <a:lstStyle/>
          <a:p>
            <a:r>
              <a:rPr lang="en-GB" dirty="0" smtClean="0">
                <a:ea typeface="宋体" panose="02010600030101010101" pitchFamily="2" charset="-122"/>
              </a:rPr>
              <a:t>Status Quo</a:t>
            </a:r>
            <a:endParaRPr lang="en-GB" b="0" i="0" dirty="0">
              <a:ea typeface="宋体" panose="02010600030101010101" pitchFamily="2" charset="-122"/>
            </a:endParaRPr>
          </a:p>
        </p:txBody>
      </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en-GB" sz="1100" noProof="1" smtClean="0">
                <a:latin typeface="+mj-lt"/>
              </a:rPr>
              <a:t>7</a:t>
            </a:r>
            <a:endParaRPr lang="en-GB" sz="1100" noProof="1" smtClean="0">
              <a:latin typeface="+mj-lt"/>
            </a:endParaRP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en-GB" altLang="zh-CN" sz="1100" noProof="1" smtClean="0">
                <a:solidFill>
                  <a:schemeClr val="tx1"/>
                </a:solidFill>
                <a:latin typeface="+mj-lt"/>
                <a:ea typeface="宋体" panose="02010600030101010101" pitchFamily="2" charset="-122"/>
              </a:rPr>
              <a:t>Overview of PRC GAAR</a:t>
            </a:r>
            <a:endParaRPr lang="en-GB" sz="1100" noProof="1" smtClean="0">
              <a:solidFill>
                <a:schemeClr val="tx1"/>
              </a:solidFill>
              <a:latin typeface="+mj-lt"/>
              <a:ea typeface="宋体" panose="02010600030101010101" pitchFamily="2" charset="-122"/>
            </a:endParaRP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en-GB" altLang="zh-CN" sz="900" noProof="1" smtClean="0">
                <a:solidFill>
                  <a:schemeClr val="tx1"/>
                </a:solidFill>
              </a:rPr>
              <a:t>-1 Part I  Brief Introduction to PRC GAAR</a:t>
            </a:r>
            <a:endParaRPr lang="en-GB" sz="900" noProof="1" smtClean="0">
              <a:solidFill>
                <a:schemeClr val="tx1"/>
              </a:solidFill>
            </a:endParaRPr>
          </a:p>
        </p:txBody>
      </p:sp>
      <p:grpSp>
        <p:nvGrpSpPr>
          <p:cNvPr id="63" name="Group 62"/>
          <p:cNvGrpSpPr/>
          <p:nvPr>
            <p:custDataLst>
              <p:tags r:id="rId6"/>
            </p:custDataLst>
          </p:nvPr>
        </p:nvGrpSpPr>
        <p:grpSpPr>
          <a:xfrm>
            <a:off x="575168" y="2340471"/>
            <a:ext cx="8955138" cy="3984129"/>
            <a:chOff x="575168" y="2340471"/>
            <a:chExt cx="8955138" cy="3984129"/>
          </a:xfrm>
        </p:grpSpPr>
        <p:sp>
          <p:nvSpPr>
            <p:cNvPr id="64" name="Rectangle 7"/>
            <p:cNvSpPr>
              <a:spLocks noChangeArrowheads="1"/>
            </p:cNvSpPr>
            <p:nvPr/>
          </p:nvSpPr>
          <p:spPr bwMode="auto">
            <a:xfrm>
              <a:off x="575168" y="2686618"/>
              <a:ext cx="8952880" cy="3291835"/>
            </a:xfrm>
            <a:prstGeom prst="rect">
              <a:avLst/>
            </a:prstGeom>
            <a:noFill/>
            <a:ln w="25400">
              <a:solidFill>
                <a:schemeClr val="accent5"/>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p>
          </p:txBody>
        </p:sp>
        <p:grpSp>
          <p:nvGrpSpPr>
            <p:cNvPr id="65" name="Group 64"/>
            <p:cNvGrpSpPr/>
            <p:nvPr/>
          </p:nvGrpSpPr>
          <p:grpSpPr>
            <a:xfrm>
              <a:off x="2555462" y="2340471"/>
              <a:ext cx="2467236" cy="1382296"/>
              <a:chOff x="4317121" y="2340471"/>
              <a:chExt cx="2607028" cy="1467822"/>
            </a:xfrm>
          </p:grpSpPr>
          <p:sp>
            <p:nvSpPr>
              <p:cNvPr id="92" name="Freeform 91"/>
              <p:cNvSpPr>
                <a:spLocks/>
              </p:cNvSpPr>
              <p:nvPr/>
            </p:nvSpPr>
            <p:spPr bwMode="auto">
              <a:xfrm>
                <a:off x="4317121" y="2364813"/>
                <a:ext cx="1017495" cy="343222"/>
              </a:xfrm>
              <a:custGeom>
                <a:avLst/>
                <a:gdLst>
                  <a:gd name="T0" fmla="*/ 0 w 836"/>
                  <a:gd name="T1" fmla="*/ 282 h 282"/>
                  <a:gd name="T2" fmla="*/ 836 w 836"/>
                  <a:gd name="T3" fmla="*/ 282 h 282"/>
                  <a:gd name="T4" fmla="*/ 836 w 836"/>
                  <a:gd name="T5" fmla="*/ 0 h 282"/>
                  <a:gd name="T6" fmla="*/ 268 w 836"/>
                  <a:gd name="T7" fmla="*/ 0 h 282"/>
                  <a:gd name="T8" fmla="*/ 268 w 836"/>
                  <a:gd name="T9" fmla="*/ 0 h 282"/>
                  <a:gd name="T10" fmla="*/ 262 w 836"/>
                  <a:gd name="T11" fmla="*/ 2 h 282"/>
                  <a:gd name="T12" fmla="*/ 242 w 836"/>
                  <a:gd name="T13" fmla="*/ 4 h 282"/>
                  <a:gd name="T14" fmla="*/ 228 w 836"/>
                  <a:gd name="T15" fmla="*/ 8 h 282"/>
                  <a:gd name="T16" fmla="*/ 210 w 836"/>
                  <a:gd name="T17" fmla="*/ 14 h 282"/>
                  <a:gd name="T18" fmla="*/ 192 w 836"/>
                  <a:gd name="T19" fmla="*/ 22 h 282"/>
                  <a:gd name="T20" fmla="*/ 172 w 836"/>
                  <a:gd name="T21" fmla="*/ 32 h 282"/>
                  <a:gd name="T22" fmla="*/ 152 w 836"/>
                  <a:gd name="T23" fmla="*/ 48 h 282"/>
                  <a:gd name="T24" fmla="*/ 130 w 836"/>
                  <a:gd name="T25" fmla="*/ 66 h 282"/>
                  <a:gd name="T26" fmla="*/ 108 w 836"/>
                  <a:gd name="T27" fmla="*/ 88 h 282"/>
                  <a:gd name="T28" fmla="*/ 84 w 836"/>
                  <a:gd name="T29" fmla="*/ 116 h 282"/>
                  <a:gd name="T30" fmla="*/ 62 w 836"/>
                  <a:gd name="T31" fmla="*/ 148 h 282"/>
                  <a:gd name="T32" fmla="*/ 40 w 836"/>
                  <a:gd name="T33" fmla="*/ 186 h 282"/>
                  <a:gd name="T34" fmla="*/ 20 w 836"/>
                  <a:gd name="T35" fmla="*/ 230 h 282"/>
                  <a:gd name="T36" fmla="*/ 0 w 836"/>
                  <a:gd name="T37" fmla="*/ 282 h 282"/>
                  <a:gd name="T38" fmla="*/ 0 w 836"/>
                  <a:gd name="T3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2">
                    <a:moveTo>
                      <a:pt x="0" y="282"/>
                    </a:moveTo>
                    <a:lnTo>
                      <a:pt x="836" y="282"/>
                    </a:lnTo>
                    <a:lnTo>
                      <a:pt x="836" y="0"/>
                    </a:lnTo>
                    <a:lnTo>
                      <a:pt x="268" y="0"/>
                    </a:lnTo>
                    <a:lnTo>
                      <a:pt x="268" y="0"/>
                    </a:lnTo>
                    <a:lnTo>
                      <a:pt x="262" y="2"/>
                    </a:lnTo>
                    <a:lnTo>
                      <a:pt x="242" y="4"/>
                    </a:lnTo>
                    <a:lnTo>
                      <a:pt x="228" y="8"/>
                    </a:lnTo>
                    <a:lnTo>
                      <a:pt x="210" y="14"/>
                    </a:lnTo>
                    <a:lnTo>
                      <a:pt x="192" y="22"/>
                    </a:lnTo>
                    <a:lnTo>
                      <a:pt x="172" y="32"/>
                    </a:lnTo>
                    <a:lnTo>
                      <a:pt x="152" y="48"/>
                    </a:lnTo>
                    <a:lnTo>
                      <a:pt x="130" y="66"/>
                    </a:lnTo>
                    <a:lnTo>
                      <a:pt x="108" y="88"/>
                    </a:lnTo>
                    <a:lnTo>
                      <a:pt x="84" y="116"/>
                    </a:lnTo>
                    <a:lnTo>
                      <a:pt x="62" y="148"/>
                    </a:lnTo>
                    <a:lnTo>
                      <a:pt x="40" y="186"/>
                    </a:lnTo>
                    <a:lnTo>
                      <a:pt x="20" y="230"/>
                    </a:lnTo>
                    <a:lnTo>
                      <a:pt x="0" y="282"/>
                    </a:lnTo>
                    <a:lnTo>
                      <a:pt x="0" y="28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3" name="Freeform 31"/>
              <p:cNvSpPr>
                <a:spLocks/>
              </p:cNvSpPr>
              <p:nvPr/>
            </p:nvSpPr>
            <p:spPr bwMode="auto">
              <a:xfrm>
                <a:off x="4533765" y="2340471"/>
                <a:ext cx="2390384" cy="1467822"/>
              </a:xfrm>
              <a:custGeom>
                <a:avLst/>
                <a:gdLst>
                  <a:gd name="T0" fmla="*/ 1962 w 1964"/>
                  <a:gd name="T1" fmla="*/ 394 h 1206"/>
                  <a:gd name="T2" fmla="*/ 1960 w 1964"/>
                  <a:gd name="T3" fmla="*/ 384 h 1206"/>
                  <a:gd name="T4" fmla="*/ 1954 w 1964"/>
                  <a:gd name="T5" fmla="*/ 368 h 1206"/>
                  <a:gd name="T6" fmla="*/ 1948 w 1964"/>
                  <a:gd name="T7" fmla="*/ 362 h 1206"/>
                  <a:gd name="T8" fmla="*/ 1932 w 1964"/>
                  <a:gd name="T9" fmla="*/ 350 h 1206"/>
                  <a:gd name="T10" fmla="*/ 1912 w 1964"/>
                  <a:gd name="T11" fmla="*/ 346 h 1206"/>
                  <a:gd name="T12" fmla="*/ 1894 w 1964"/>
                  <a:gd name="T13" fmla="*/ 350 h 1206"/>
                  <a:gd name="T14" fmla="*/ 1876 w 1964"/>
                  <a:gd name="T15" fmla="*/ 360 h 1206"/>
                  <a:gd name="T16" fmla="*/ 1738 w 1964"/>
                  <a:gd name="T17" fmla="*/ 410 h 1206"/>
                  <a:gd name="T18" fmla="*/ 1444 w 1964"/>
                  <a:gd name="T19" fmla="*/ 116 h 1206"/>
                  <a:gd name="T20" fmla="*/ 1402 w 1964"/>
                  <a:gd name="T21" fmla="*/ 76 h 1206"/>
                  <a:gd name="T22" fmla="*/ 1356 w 1964"/>
                  <a:gd name="T23" fmla="*/ 40 h 1206"/>
                  <a:gd name="T24" fmla="*/ 1310 w 1964"/>
                  <a:gd name="T25" fmla="*/ 14 h 1206"/>
                  <a:gd name="T26" fmla="*/ 1276 w 1964"/>
                  <a:gd name="T27" fmla="*/ 4 h 1206"/>
                  <a:gd name="T28" fmla="*/ 1264 w 1964"/>
                  <a:gd name="T29" fmla="*/ 4 h 1206"/>
                  <a:gd name="T30" fmla="*/ 334 w 1964"/>
                  <a:gd name="T31" fmla="*/ 0 h 1206"/>
                  <a:gd name="T32" fmla="*/ 138 w 1964"/>
                  <a:gd name="T33" fmla="*/ 2 h 1206"/>
                  <a:gd name="T34" fmla="*/ 114 w 1964"/>
                  <a:gd name="T35" fmla="*/ 4 h 1206"/>
                  <a:gd name="T36" fmla="*/ 74 w 1964"/>
                  <a:gd name="T37" fmla="*/ 12 h 1206"/>
                  <a:gd name="T38" fmla="*/ 42 w 1964"/>
                  <a:gd name="T39" fmla="*/ 26 h 1206"/>
                  <a:gd name="T40" fmla="*/ 0 w 1964"/>
                  <a:gd name="T41" fmla="*/ 52 h 1206"/>
                  <a:gd name="T42" fmla="*/ 16 w 1964"/>
                  <a:gd name="T43" fmla="*/ 44 h 1206"/>
                  <a:gd name="T44" fmla="*/ 54 w 1964"/>
                  <a:gd name="T45" fmla="*/ 30 h 1206"/>
                  <a:gd name="T46" fmla="*/ 92 w 1964"/>
                  <a:gd name="T47" fmla="*/ 26 h 1206"/>
                  <a:gd name="T48" fmla="*/ 132 w 1964"/>
                  <a:gd name="T49" fmla="*/ 28 h 1206"/>
                  <a:gd name="T50" fmla="*/ 172 w 1964"/>
                  <a:gd name="T51" fmla="*/ 38 h 1206"/>
                  <a:gd name="T52" fmla="*/ 214 w 1964"/>
                  <a:gd name="T53" fmla="*/ 54 h 1206"/>
                  <a:gd name="T54" fmla="*/ 256 w 1964"/>
                  <a:gd name="T55" fmla="*/ 80 h 1206"/>
                  <a:gd name="T56" fmla="*/ 298 w 1964"/>
                  <a:gd name="T57" fmla="*/ 112 h 1206"/>
                  <a:gd name="T58" fmla="*/ 1212 w 1964"/>
                  <a:gd name="T59" fmla="*/ 1026 h 1206"/>
                  <a:gd name="T60" fmla="*/ 1120 w 1964"/>
                  <a:gd name="T61" fmla="*/ 1118 h 1206"/>
                  <a:gd name="T62" fmla="*/ 1108 w 1964"/>
                  <a:gd name="T63" fmla="*/ 1136 h 1206"/>
                  <a:gd name="T64" fmla="*/ 1104 w 1964"/>
                  <a:gd name="T65" fmla="*/ 1154 h 1206"/>
                  <a:gd name="T66" fmla="*/ 1108 w 1964"/>
                  <a:gd name="T67" fmla="*/ 1174 h 1206"/>
                  <a:gd name="T68" fmla="*/ 1118 w 1964"/>
                  <a:gd name="T69" fmla="*/ 1190 h 1206"/>
                  <a:gd name="T70" fmla="*/ 1126 w 1964"/>
                  <a:gd name="T71" fmla="*/ 1194 h 1206"/>
                  <a:gd name="T72" fmla="*/ 1142 w 1964"/>
                  <a:gd name="T73" fmla="*/ 1202 h 1206"/>
                  <a:gd name="T74" fmla="*/ 1874 w 1964"/>
                  <a:gd name="T75" fmla="*/ 1206 h 1206"/>
                  <a:gd name="T76" fmla="*/ 1892 w 1964"/>
                  <a:gd name="T77" fmla="*/ 1206 h 1206"/>
                  <a:gd name="T78" fmla="*/ 1926 w 1964"/>
                  <a:gd name="T79" fmla="*/ 1194 h 1206"/>
                  <a:gd name="T80" fmla="*/ 1940 w 1964"/>
                  <a:gd name="T81" fmla="*/ 1182 h 1206"/>
                  <a:gd name="T82" fmla="*/ 1960 w 1964"/>
                  <a:gd name="T83" fmla="*/ 1152 h 1206"/>
                  <a:gd name="T84" fmla="*/ 1964 w 1964"/>
                  <a:gd name="T85" fmla="*/ 1116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1964" y="1116"/>
                    </a:moveTo>
                    <a:lnTo>
                      <a:pt x="1962" y="394"/>
                    </a:lnTo>
                    <a:lnTo>
                      <a:pt x="1962" y="394"/>
                    </a:lnTo>
                    <a:lnTo>
                      <a:pt x="1960" y="384"/>
                    </a:lnTo>
                    <a:lnTo>
                      <a:pt x="1958" y="376"/>
                    </a:lnTo>
                    <a:lnTo>
                      <a:pt x="1954" y="368"/>
                    </a:lnTo>
                    <a:lnTo>
                      <a:pt x="1948" y="362"/>
                    </a:lnTo>
                    <a:lnTo>
                      <a:pt x="1948" y="362"/>
                    </a:lnTo>
                    <a:lnTo>
                      <a:pt x="1940" y="354"/>
                    </a:lnTo>
                    <a:lnTo>
                      <a:pt x="1932" y="350"/>
                    </a:lnTo>
                    <a:lnTo>
                      <a:pt x="1922" y="348"/>
                    </a:lnTo>
                    <a:lnTo>
                      <a:pt x="1912" y="346"/>
                    </a:lnTo>
                    <a:lnTo>
                      <a:pt x="1904" y="348"/>
                    </a:lnTo>
                    <a:lnTo>
                      <a:pt x="1894" y="350"/>
                    </a:lnTo>
                    <a:lnTo>
                      <a:pt x="1884" y="354"/>
                    </a:lnTo>
                    <a:lnTo>
                      <a:pt x="1876" y="360"/>
                    </a:lnTo>
                    <a:lnTo>
                      <a:pt x="1782" y="456"/>
                    </a:lnTo>
                    <a:lnTo>
                      <a:pt x="1738" y="410"/>
                    </a:lnTo>
                    <a:lnTo>
                      <a:pt x="1738" y="410"/>
                    </a:lnTo>
                    <a:lnTo>
                      <a:pt x="1444" y="116"/>
                    </a:lnTo>
                    <a:lnTo>
                      <a:pt x="1444" y="116"/>
                    </a:lnTo>
                    <a:lnTo>
                      <a:pt x="1402" y="76"/>
                    </a:lnTo>
                    <a:lnTo>
                      <a:pt x="1380" y="58"/>
                    </a:lnTo>
                    <a:lnTo>
                      <a:pt x="1356" y="40"/>
                    </a:lnTo>
                    <a:lnTo>
                      <a:pt x="1332" y="26"/>
                    </a:lnTo>
                    <a:lnTo>
                      <a:pt x="1310" y="14"/>
                    </a:lnTo>
                    <a:lnTo>
                      <a:pt x="1286" y="6"/>
                    </a:lnTo>
                    <a:lnTo>
                      <a:pt x="1276" y="4"/>
                    </a:lnTo>
                    <a:lnTo>
                      <a:pt x="1264" y="4"/>
                    </a:lnTo>
                    <a:lnTo>
                      <a:pt x="1264" y="4"/>
                    </a:lnTo>
                    <a:lnTo>
                      <a:pt x="716" y="2"/>
                    </a:lnTo>
                    <a:lnTo>
                      <a:pt x="334" y="0"/>
                    </a:lnTo>
                    <a:lnTo>
                      <a:pt x="200" y="0"/>
                    </a:lnTo>
                    <a:lnTo>
                      <a:pt x="138" y="2"/>
                    </a:lnTo>
                    <a:lnTo>
                      <a:pt x="138" y="2"/>
                    </a:lnTo>
                    <a:lnTo>
                      <a:pt x="114" y="4"/>
                    </a:lnTo>
                    <a:lnTo>
                      <a:pt x="92" y="8"/>
                    </a:lnTo>
                    <a:lnTo>
                      <a:pt x="74" y="12"/>
                    </a:lnTo>
                    <a:lnTo>
                      <a:pt x="58" y="18"/>
                    </a:lnTo>
                    <a:lnTo>
                      <a:pt x="42" y="26"/>
                    </a:lnTo>
                    <a:lnTo>
                      <a:pt x="28" y="34"/>
                    </a:lnTo>
                    <a:lnTo>
                      <a:pt x="0" y="52"/>
                    </a:lnTo>
                    <a:lnTo>
                      <a:pt x="0" y="52"/>
                    </a:lnTo>
                    <a:lnTo>
                      <a:pt x="16" y="44"/>
                    </a:lnTo>
                    <a:lnTo>
                      <a:pt x="36" y="36"/>
                    </a:lnTo>
                    <a:lnTo>
                      <a:pt x="54" y="30"/>
                    </a:lnTo>
                    <a:lnTo>
                      <a:pt x="74" y="28"/>
                    </a:lnTo>
                    <a:lnTo>
                      <a:pt x="92" y="26"/>
                    </a:lnTo>
                    <a:lnTo>
                      <a:pt x="112" y="26"/>
                    </a:lnTo>
                    <a:lnTo>
                      <a:pt x="132" y="28"/>
                    </a:lnTo>
                    <a:lnTo>
                      <a:pt x="152" y="32"/>
                    </a:lnTo>
                    <a:lnTo>
                      <a:pt x="172" y="38"/>
                    </a:lnTo>
                    <a:lnTo>
                      <a:pt x="194" y="44"/>
                    </a:lnTo>
                    <a:lnTo>
                      <a:pt x="214" y="54"/>
                    </a:lnTo>
                    <a:lnTo>
                      <a:pt x="234" y="66"/>
                    </a:lnTo>
                    <a:lnTo>
                      <a:pt x="256" y="80"/>
                    </a:lnTo>
                    <a:lnTo>
                      <a:pt x="276" y="94"/>
                    </a:lnTo>
                    <a:lnTo>
                      <a:pt x="298" y="112"/>
                    </a:lnTo>
                    <a:lnTo>
                      <a:pt x="318" y="132"/>
                    </a:lnTo>
                    <a:lnTo>
                      <a:pt x="1212" y="1026"/>
                    </a:lnTo>
                    <a:lnTo>
                      <a:pt x="1120" y="1118"/>
                    </a:lnTo>
                    <a:lnTo>
                      <a:pt x="1120" y="1118"/>
                    </a:lnTo>
                    <a:lnTo>
                      <a:pt x="1114" y="1126"/>
                    </a:lnTo>
                    <a:lnTo>
                      <a:pt x="1108" y="1136"/>
                    </a:lnTo>
                    <a:lnTo>
                      <a:pt x="1106" y="1146"/>
                    </a:lnTo>
                    <a:lnTo>
                      <a:pt x="1104" y="1154"/>
                    </a:lnTo>
                    <a:lnTo>
                      <a:pt x="1106" y="1164"/>
                    </a:lnTo>
                    <a:lnTo>
                      <a:pt x="1108" y="1174"/>
                    </a:lnTo>
                    <a:lnTo>
                      <a:pt x="1112" y="1182"/>
                    </a:lnTo>
                    <a:lnTo>
                      <a:pt x="1118" y="1190"/>
                    </a:lnTo>
                    <a:lnTo>
                      <a:pt x="1118" y="1190"/>
                    </a:lnTo>
                    <a:lnTo>
                      <a:pt x="1126" y="1194"/>
                    </a:lnTo>
                    <a:lnTo>
                      <a:pt x="1134" y="1200"/>
                    </a:lnTo>
                    <a:lnTo>
                      <a:pt x="1142" y="1202"/>
                    </a:lnTo>
                    <a:lnTo>
                      <a:pt x="1152" y="1204"/>
                    </a:lnTo>
                    <a:lnTo>
                      <a:pt x="1874" y="1206"/>
                    </a:lnTo>
                    <a:lnTo>
                      <a:pt x="1874" y="1206"/>
                    </a:lnTo>
                    <a:lnTo>
                      <a:pt x="1892" y="1206"/>
                    </a:lnTo>
                    <a:lnTo>
                      <a:pt x="1910" y="1202"/>
                    </a:lnTo>
                    <a:lnTo>
                      <a:pt x="1926" y="1194"/>
                    </a:lnTo>
                    <a:lnTo>
                      <a:pt x="1940" y="1182"/>
                    </a:lnTo>
                    <a:lnTo>
                      <a:pt x="1940" y="1182"/>
                    </a:lnTo>
                    <a:lnTo>
                      <a:pt x="1952" y="1168"/>
                    </a:lnTo>
                    <a:lnTo>
                      <a:pt x="1960" y="1152"/>
                    </a:lnTo>
                    <a:lnTo>
                      <a:pt x="1964" y="1134"/>
                    </a:lnTo>
                    <a:lnTo>
                      <a:pt x="1964" y="1116"/>
                    </a:lnTo>
                    <a:lnTo>
                      <a:pt x="1964" y="1116"/>
                    </a:lnTo>
                    <a:close/>
                  </a:path>
                </a:pathLst>
              </a:custGeom>
              <a:ln/>
              <a:ex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en-GB" dirty="0"/>
              </a:p>
            </p:txBody>
          </p:sp>
        </p:grpSp>
        <p:grpSp>
          <p:nvGrpSpPr>
            <p:cNvPr id="66" name="Group 65"/>
            <p:cNvGrpSpPr/>
            <p:nvPr/>
          </p:nvGrpSpPr>
          <p:grpSpPr>
            <a:xfrm>
              <a:off x="5090845" y="4942304"/>
              <a:ext cx="2453412" cy="1382296"/>
              <a:chOff x="3832716" y="5103287"/>
              <a:chExt cx="2592421" cy="1467822"/>
            </a:xfrm>
          </p:grpSpPr>
          <p:sp>
            <p:nvSpPr>
              <p:cNvPr id="90" name="Freeform 32"/>
              <p:cNvSpPr>
                <a:spLocks/>
              </p:cNvSpPr>
              <p:nvPr/>
            </p:nvSpPr>
            <p:spPr bwMode="auto">
              <a:xfrm>
                <a:off x="5407642" y="6203545"/>
                <a:ext cx="1017495" cy="340788"/>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91" name="Freeform 35"/>
              <p:cNvSpPr>
                <a:spLocks/>
              </p:cNvSpPr>
              <p:nvPr/>
            </p:nvSpPr>
            <p:spPr bwMode="auto">
              <a:xfrm>
                <a:off x="3832716" y="5103287"/>
                <a:ext cx="2390384" cy="1467822"/>
              </a:xfrm>
              <a:custGeom>
                <a:avLst/>
                <a:gdLst>
                  <a:gd name="T0" fmla="*/ 2 w 1964"/>
                  <a:gd name="T1" fmla="*/ 812 h 1206"/>
                  <a:gd name="T2" fmla="*/ 4 w 1964"/>
                  <a:gd name="T3" fmla="*/ 820 h 1206"/>
                  <a:gd name="T4" fmla="*/ 10 w 1964"/>
                  <a:gd name="T5" fmla="*/ 838 h 1206"/>
                  <a:gd name="T6" fmla="*/ 16 w 1964"/>
                  <a:gd name="T7" fmla="*/ 844 h 1206"/>
                  <a:gd name="T8" fmla="*/ 32 w 1964"/>
                  <a:gd name="T9" fmla="*/ 854 h 1206"/>
                  <a:gd name="T10" fmla="*/ 52 w 1964"/>
                  <a:gd name="T11" fmla="*/ 858 h 1206"/>
                  <a:gd name="T12" fmla="*/ 70 w 1964"/>
                  <a:gd name="T13" fmla="*/ 854 h 1206"/>
                  <a:gd name="T14" fmla="*/ 88 w 1964"/>
                  <a:gd name="T15" fmla="*/ 844 h 1206"/>
                  <a:gd name="T16" fmla="*/ 226 w 1964"/>
                  <a:gd name="T17" fmla="*/ 794 h 1206"/>
                  <a:gd name="T18" fmla="*/ 520 w 1964"/>
                  <a:gd name="T19" fmla="*/ 1090 h 1206"/>
                  <a:gd name="T20" fmla="*/ 562 w 1964"/>
                  <a:gd name="T21" fmla="*/ 1128 h 1206"/>
                  <a:gd name="T22" fmla="*/ 608 w 1964"/>
                  <a:gd name="T23" fmla="*/ 1164 h 1206"/>
                  <a:gd name="T24" fmla="*/ 654 w 1964"/>
                  <a:gd name="T25" fmla="*/ 1190 h 1206"/>
                  <a:gd name="T26" fmla="*/ 688 w 1964"/>
                  <a:gd name="T27" fmla="*/ 1200 h 1206"/>
                  <a:gd name="T28" fmla="*/ 700 w 1964"/>
                  <a:gd name="T29" fmla="*/ 1202 h 1206"/>
                  <a:gd name="T30" fmla="*/ 1630 w 1964"/>
                  <a:gd name="T31" fmla="*/ 1206 h 1206"/>
                  <a:gd name="T32" fmla="*/ 1826 w 1964"/>
                  <a:gd name="T33" fmla="*/ 1204 h 1206"/>
                  <a:gd name="T34" fmla="*/ 1850 w 1964"/>
                  <a:gd name="T35" fmla="*/ 1202 h 1206"/>
                  <a:gd name="T36" fmla="*/ 1890 w 1964"/>
                  <a:gd name="T37" fmla="*/ 1192 h 1206"/>
                  <a:gd name="T38" fmla="*/ 1922 w 1964"/>
                  <a:gd name="T39" fmla="*/ 1180 h 1206"/>
                  <a:gd name="T40" fmla="*/ 1964 w 1964"/>
                  <a:gd name="T41" fmla="*/ 1154 h 1206"/>
                  <a:gd name="T42" fmla="*/ 1946 w 1964"/>
                  <a:gd name="T43" fmla="*/ 1162 h 1206"/>
                  <a:gd name="T44" fmla="*/ 1910 w 1964"/>
                  <a:gd name="T45" fmla="*/ 1174 h 1206"/>
                  <a:gd name="T46" fmla="*/ 1872 w 1964"/>
                  <a:gd name="T47" fmla="*/ 1180 h 1206"/>
                  <a:gd name="T48" fmla="*/ 1832 w 1964"/>
                  <a:gd name="T49" fmla="*/ 1178 h 1206"/>
                  <a:gd name="T50" fmla="*/ 1792 w 1964"/>
                  <a:gd name="T51" fmla="*/ 1168 h 1206"/>
                  <a:gd name="T52" fmla="*/ 1750 w 1964"/>
                  <a:gd name="T53" fmla="*/ 1150 h 1206"/>
                  <a:gd name="T54" fmla="*/ 1708 w 1964"/>
                  <a:gd name="T55" fmla="*/ 1126 h 1206"/>
                  <a:gd name="T56" fmla="*/ 1666 w 1964"/>
                  <a:gd name="T57" fmla="*/ 1092 h 1206"/>
                  <a:gd name="T58" fmla="*/ 752 w 1964"/>
                  <a:gd name="T59" fmla="*/ 178 h 1206"/>
                  <a:gd name="T60" fmla="*/ 844 w 1964"/>
                  <a:gd name="T61" fmla="*/ 86 h 1206"/>
                  <a:gd name="T62" fmla="*/ 856 w 1964"/>
                  <a:gd name="T63" fmla="*/ 70 h 1206"/>
                  <a:gd name="T64" fmla="*/ 860 w 1964"/>
                  <a:gd name="T65" fmla="*/ 50 h 1206"/>
                  <a:gd name="T66" fmla="*/ 856 w 1964"/>
                  <a:gd name="T67" fmla="*/ 32 h 1206"/>
                  <a:gd name="T68" fmla="*/ 846 w 1964"/>
                  <a:gd name="T69" fmla="*/ 16 h 1206"/>
                  <a:gd name="T70" fmla="*/ 838 w 1964"/>
                  <a:gd name="T71" fmla="*/ 10 h 1206"/>
                  <a:gd name="T72" fmla="*/ 822 w 1964"/>
                  <a:gd name="T73" fmla="*/ 2 h 1206"/>
                  <a:gd name="T74" fmla="*/ 90 w 1964"/>
                  <a:gd name="T75" fmla="*/ 0 h 1206"/>
                  <a:gd name="T76" fmla="*/ 72 w 1964"/>
                  <a:gd name="T77" fmla="*/ 0 h 1206"/>
                  <a:gd name="T78" fmla="*/ 38 w 1964"/>
                  <a:gd name="T79" fmla="*/ 12 h 1206"/>
                  <a:gd name="T80" fmla="*/ 24 w 1964"/>
                  <a:gd name="T81" fmla="*/ 22 h 1206"/>
                  <a:gd name="T82" fmla="*/ 4 w 1964"/>
                  <a:gd name="T83" fmla="*/ 52 h 1206"/>
                  <a:gd name="T84" fmla="*/ 0 w 1964"/>
                  <a:gd name="T85" fmla="*/ 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0" y="90"/>
                    </a:moveTo>
                    <a:lnTo>
                      <a:pt x="2" y="812"/>
                    </a:lnTo>
                    <a:lnTo>
                      <a:pt x="2" y="812"/>
                    </a:lnTo>
                    <a:lnTo>
                      <a:pt x="4" y="820"/>
                    </a:lnTo>
                    <a:lnTo>
                      <a:pt x="6" y="830"/>
                    </a:lnTo>
                    <a:lnTo>
                      <a:pt x="10" y="838"/>
                    </a:lnTo>
                    <a:lnTo>
                      <a:pt x="16" y="844"/>
                    </a:lnTo>
                    <a:lnTo>
                      <a:pt x="16" y="844"/>
                    </a:lnTo>
                    <a:lnTo>
                      <a:pt x="24" y="850"/>
                    </a:lnTo>
                    <a:lnTo>
                      <a:pt x="32" y="854"/>
                    </a:lnTo>
                    <a:lnTo>
                      <a:pt x="42" y="858"/>
                    </a:lnTo>
                    <a:lnTo>
                      <a:pt x="52" y="858"/>
                    </a:lnTo>
                    <a:lnTo>
                      <a:pt x="60" y="858"/>
                    </a:lnTo>
                    <a:lnTo>
                      <a:pt x="70" y="854"/>
                    </a:lnTo>
                    <a:lnTo>
                      <a:pt x="80" y="850"/>
                    </a:lnTo>
                    <a:lnTo>
                      <a:pt x="88" y="844"/>
                    </a:lnTo>
                    <a:lnTo>
                      <a:pt x="180" y="750"/>
                    </a:lnTo>
                    <a:lnTo>
                      <a:pt x="226" y="794"/>
                    </a:lnTo>
                    <a:lnTo>
                      <a:pt x="226" y="794"/>
                    </a:lnTo>
                    <a:lnTo>
                      <a:pt x="520" y="1090"/>
                    </a:lnTo>
                    <a:lnTo>
                      <a:pt x="520" y="1090"/>
                    </a:lnTo>
                    <a:lnTo>
                      <a:pt x="562" y="1128"/>
                    </a:lnTo>
                    <a:lnTo>
                      <a:pt x="584" y="1148"/>
                    </a:lnTo>
                    <a:lnTo>
                      <a:pt x="608" y="1164"/>
                    </a:lnTo>
                    <a:lnTo>
                      <a:pt x="632" y="1180"/>
                    </a:lnTo>
                    <a:lnTo>
                      <a:pt x="654" y="1190"/>
                    </a:lnTo>
                    <a:lnTo>
                      <a:pt x="678" y="1198"/>
                    </a:lnTo>
                    <a:lnTo>
                      <a:pt x="688" y="1200"/>
                    </a:lnTo>
                    <a:lnTo>
                      <a:pt x="700" y="1202"/>
                    </a:lnTo>
                    <a:lnTo>
                      <a:pt x="700" y="1202"/>
                    </a:lnTo>
                    <a:lnTo>
                      <a:pt x="1248" y="1204"/>
                    </a:lnTo>
                    <a:lnTo>
                      <a:pt x="1630" y="1206"/>
                    </a:lnTo>
                    <a:lnTo>
                      <a:pt x="1764" y="1204"/>
                    </a:lnTo>
                    <a:lnTo>
                      <a:pt x="1826" y="1204"/>
                    </a:lnTo>
                    <a:lnTo>
                      <a:pt x="1826" y="1204"/>
                    </a:lnTo>
                    <a:lnTo>
                      <a:pt x="1850" y="1202"/>
                    </a:lnTo>
                    <a:lnTo>
                      <a:pt x="1872" y="1198"/>
                    </a:lnTo>
                    <a:lnTo>
                      <a:pt x="1890" y="1192"/>
                    </a:lnTo>
                    <a:lnTo>
                      <a:pt x="1906" y="1186"/>
                    </a:lnTo>
                    <a:lnTo>
                      <a:pt x="1922" y="1180"/>
                    </a:lnTo>
                    <a:lnTo>
                      <a:pt x="1936" y="1172"/>
                    </a:lnTo>
                    <a:lnTo>
                      <a:pt x="1964" y="1154"/>
                    </a:lnTo>
                    <a:lnTo>
                      <a:pt x="1964" y="1154"/>
                    </a:lnTo>
                    <a:lnTo>
                      <a:pt x="1946" y="1162"/>
                    </a:lnTo>
                    <a:lnTo>
                      <a:pt x="1928" y="1168"/>
                    </a:lnTo>
                    <a:lnTo>
                      <a:pt x="1910" y="1174"/>
                    </a:lnTo>
                    <a:lnTo>
                      <a:pt x="1890" y="1178"/>
                    </a:lnTo>
                    <a:lnTo>
                      <a:pt x="1872" y="1180"/>
                    </a:lnTo>
                    <a:lnTo>
                      <a:pt x="1852" y="1180"/>
                    </a:lnTo>
                    <a:lnTo>
                      <a:pt x="1832" y="1178"/>
                    </a:lnTo>
                    <a:lnTo>
                      <a:pt x="1812" y="1174"/>
                    </a:lnTo>
                    <a:lnTo>
                      <a:pt x="1792" y="1168"/>
                    </a:lnTo>
                    <a:lnTo>
                      <a:pt x="1770" y="1160"/>
                    </a:lnTo>
                    <a:lnTo>
                      <a:pt x="1750" y="1150"/>
                    </a:lnTo>
                    <a:lnTo>
                      <a:pt x="1730" y="1140"/>
                    </a:lnTo>
                    <a:lnTo>
                      <a:pt x="1708" y="1126"/>
                    </a:lnTo>
                    <a:lnTo>
                      <a:pt x="1688" y="1110"/>
                    </a:lnTo>
                    <a:lnTo>
                      <a:pt x="1666" y="1092"/>
                    </a:lnTo>
                    <a:lnTo>
                      <a:pt x="1646" y="1074"/>
                    </a:lnTo>
                    <a:lnTo>
                      <a:pt x="752" y="178"/>
                    </a:lnTo>
                    <a:lnTo>
                      <a:pt x="844" y="86"/>
                    </a:lnTo>
                    <a:lnTo>
                      <a:pt x="844" y="86"/>
                    </a:lnTo>
                    <a:lnTo>
                      <a:pt x="850" y="78"/>
                    </a:lnTo>
                    <a:lnTo>
                      <a:pt x="856" y="70"/>
                    </a:lnTo>
                    <a:lnTo>
                      <a:pt x="858" y="60"/>
                    </a:lnTo>
                    <a:lnTo>
                      <a:pt x="860" y="50"/>
                    </a:lnTo>
                    <a:lnTo>
                      <a:pt x="858" y="42"/>
                    </a:lnTo>
                    <a:lnTo>
                      <a:pt x="856" y="32"/>
                    </a:lnTo>
                    <a:lnTo>
                      <a:pt x="852" y="24"/>
                    </a:lnTo>
                    <a:lnTo>
                      <a:pt x="846" y="16"/>
                    </a:lnTo>
                    <a:lnTo>
                      <a:pt x="846" y="16"/>
                    </a:lnTo>
                    <a:lnTo>
                      <a:pt x="838" y="10"/>
                    </a:lnTo>
                    <a:lnTo>
                      <a:pt x="830" y="6"/>
                    </a:lnTo>
                    <a:lnTo>
                      <a:pt x="822" y="2"/>
                    </a:lnTo>
                    <a:lnTo>
                      <a:pt x="812" y="2"/>
                    </a:lnTo>
                    <a:lnTo>
                      <a:pt x="90" y="0"/>
                    </a:lnTo>
                    <a:lnTo>
                      <a:pt x="90" y="0"/>
                    </a:lnTo>
                    <a:lnTo>
                      <a:pt x="72" y="0"/>
                    </a:lnTo>
                    <a:lnTo>
                      <a:pt x="54" y="4"/>
                    </a:lnTo>
                    <a:lnTo>
                      <a:pt x="38" y="12"/>
                    </a:lnTo>
                    <a:lnTo>
                      <a:pt x="24" y="22"/>
                    </a:lnTo>
                    <a:lnTo>
                      <a:pt x="24" y="22"/>
                    </a:lnTo>
                    <a:lnTo>
                      <a:pt x="12" y="36"/>
                    </a:lnTo>
                    <a:lnTo>
                      <a:pt x="4" y="52"/>
                    </a:lnTo>
                    <a:lnTo>
                      <a:pt x="0" y="70"/>
                    </a:lnTo>
                    <a:lnTo>
                      <a:pt x="0" y="90"/>
                    </a:lnTo>
                    <a:lnTo>
                      <a:pt x="0" y="90"/>
                    </a:lnTo>
                    <a:close/>
                  </a:path>
                </a:pathLst>
              </a:custGeom>
              <a:ln/>
              <a:extLst/>
            </p:spPr>
            <p:style>
              <a:lnRef idx="1">
                <a:schemeClr val="accent1"/>
              </a:lnRef>
              <a:fillRef idx="3">
                <a:schemeClr val="accent1"/>
              </a:fillRef>
              <a:effectRef idx="2">
                <a:schemeClr val="accent1"/>
              </a:effectRef>
              <a:fontRef idx="minor">
                <a:schemeClr val="lt1"/>
              </a:fontRef>
            </p:style>
            <p:txBody>
              <a:bodyPr vert="horz" wrap="square" lIns="91440" tIns="45720" rIns="91440" bIns="45720" numCol="1" anchor="t" anchorCtr="0" compatLnSpc="1">
                <a:prstTxWarp prst="textNoShape">
                  <a:avLst/>
                </a:prstTxWarp>
              </a:bodyPr>
              <a:lstStyle/>
              <a:p>
                <a:endParaRPr lang="en-GB" dirty="0"/>
              </a:p>
            </p:txBody>
          </p:sp>
        </p:grpSp>
        <p:grpSp>
          <p:nvGrpSpPr>
            <p:cNvPr id="67" name="Group 66"/>
            <p:cNvGrpSpPr/>
            <p:nvPr/>
          </p:nvGrpSpPr>
          <p:grpSpPr>
            <a:xfrm flipH="1">
              <a:off x="5090845" y="2342312"/>
              <a:ext cx="2467236" cy="1382296"/>
              <a:chOff x="4317121" y="2340471"/>
              <a:chExt cx="2607028" cy="1467822"/>
            </a:xfrm>
          </p:grpSpPr>
          <p:sp>
            <p:nvSpPr>
              <p:cNvPr id="88" name="Freeform 87"/>
              <p:cNvSpPr>
                <a:spLocks/>
              </p:cNvSpPr>
              <p:nvPr/>
            </p:nvSpPr>
            <p:spPr bwMode="auto">
              <a:xfrm>
                <a:off x="4317121" y="2364813"/>
                <a:ext cx="1017495" cy="343222"/>
              </a:xfrm>
              <a:custGeom>
                <a:avLst/>
                <a:gdLst>
                  <a:gd name="T0" fmla="*/ 0 w 836"/>
                  <a:gd name="T1" fmla="*/ 282 h 282"/>
                  <a:gd name="T2" fmla="*/ 836 w 836"/>
                  <a:gd name="T3" fmla="*/ 282 h 282"/>
                  <a:gd name="T4" fmla="*/ 836 w 836"/>
                  <a:gd name="T5" fmla="*/ 0 h 282"/>
                  <a:gd name="T6" fmla="*/ 268 w 836"/>
                  <a:gd name="T7" fmla="*/ 0 h 282"/>
                  <a:gd name="T8" fmla="*/ 268 w 836"/>
                  <a:gd name="T9" fmla="*/ 0 h 282"/>
                  <a:gd name="T10" fmla="*/ 262 w 836"/>
                  <a:gd name="T11" fmla="*/ 2 h 282"/>
                  <a:gd name="T12" fmla="*/ 242 w 836"/>
                  <a:gd name="T13" fmla="*/ 4 h 282"/>
                  <a:gd name="T14" fmla="*/ 228 w 836"/>
                  <a:gd name="T15" fmla="*/ 8 h 282"/>
                  <a:gd name="T16" fmla="*/ 210 w 836"/>
                  <a:gd name="T17" fmla="*/ 14 h 282"/>
                  <a:gd name="T18" fmla="*/ 192 w 836"/>
                  <a:gd name="T19" fmla="*/ 22 h 282"/>
                  <a:gd name="T20" fmla="*/ 172 w 836"/>
                  <a:gd name="T21" fmla="*/ 32 h 282"/>
                  <a:gd name="T22" fmla="*/ 152 w 836"/>
                  <a:gd name="T23" fmla="*/ 48 h 282"/>
                  <a:gd name="T24" fmla="*/ 130 w 836"/>
                  <a:gd name="T25" fmla="*/ 66 h 282"/>
                  <a:gd name="T26" fmla="*/ 108 w 836"/>
                  <a:gd name="T27" fmla="*/ 88 h 282"/>
                  <a:gd name="T28" fmla="*/ 84 w 836"/>
                  <a:gd name="T29" fmla="*/ 116 h 282"/>
                  <a:gd name="T30" fmla="*/ 62 w 836"/>
                  <a:gd name="T31" fmla="*/ 148 h 282"/>
                  <a:gd name="T32" fmla="*/ 40 w 836"/>
                  <a:gd name="T33" fmla="*/ 186 h 282"/>
                  <a:gd name="T34" fmla="*/ 20 w 836"/>
                  <a:gd name="T35" fmla="*/ 230 h 282"/>
                  <a:gd name="T36" fmla="*/ 0 w 836"/>
                  <a:gd name="T37" fmla="*/ 282 h 282"/>
                  <a:gd name="T38" fmla="*/ 0 w 836"/>
                  <a:gd name="T3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2">
                    <a:moveTo>
                      <a:pt x="0" y="282"/>
                    </a:moveTo>
                    <a:lnTo>
                      <a:pt x="836" y="282"/>
                    </a:lnTo>
                    <a:lnTo>
                      <a:pt x="836" y="0"/>
                    </a:lnTo>
                    <a:lnTo>
                      <a:pt x="268" y="0"/>
                    </a:lnTo>
                    <a:lnTo>
                      <a:pt x="268" y="0"/>
                    </a:lnTo>
                    <a:lnTo>
                      <a:pt x="262" y="2"/>
                    </a:lnTo>
                    <a:lnTo>
                      <a:pt x="242" y="4"/>
                    </a:lnTo>
                    <a:lnTo>
                      <a:pt x="228" y="8"/>
                    </a:lnTo>
                    <a:lnTo>
                      <a:pt x="210" y="14"/>
                    </a:lnTo>
                    <a:lnTo>
                      <a:pt x="192" y="22"/>
                    </a:lnTo>
                    <a:lnTo>
                      <a:pt x="172" y="32"/>
                    </a:lnTo>
                    <a:lnTo>
                      <a:pt x="152" y="48"/>
                    </a:lnTo>
                    <a:lnTo>
                      <a:pt x="130" y="66"/>
                    </a:lnTo>
                    <a:lnTo>
                      <a:pt x="108" y="88"/>
                    </a:lnTo>
                    <a:lnTo>
                      <a:pt x="84" y="116"/>
                    </a:lnTo>
                    <a:lnTo>
                      <a:pt x="62" y="148"/>
                    </a:lnTo>
                    <a:lnTo>
                      <a:pt x="40" y="186"/>
                    </a:lnTo>
                    <a:lnTo>
                      <a:pt x="20" y="230"/>
                    </a:lnTo>
                    <a:lnTo>
                      <a:pt x="0" y="282"/>
                    </a:lnTo>
                    <a:lnTo>
                      <a:pt x="0" y="282"/>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9" name="Freeform 31"/>
              <p:cNvSpPr>
                <a:spLocks/>
              </p:cNvSpPr>
              <p:nvPr/>
            </p:nvSpPr>
            <p:spPr bwMode="auto">
              <a:xfrm>
                <a:off x="4533765" y="2340471"/>
                <a:ext cx="2390384" cy="1467822"/>
              </a:xfrm>
              <a:custGeom>
                <a:avLst/>
                <a:gdLst>
                  <a:gd name="T0" fmla="*/ 1962 w 1964"/>
                  <a:gd name="T1" fmla="*/ 394 h 1206"/>
                  <a:gd name="T2" fmla="*/ 1960 w 1964"/>
                  <a:gd name="T3" fmla="*/ 384 h 1206"/>
                  <a:gd name="T4" fmla="*/ 1954 w 1964"/>
                  <a:gd name="T5" fmla="*/ 368 h 1206"/>
                  <a:gd name="T6" fmla="*/ 1948 w 1964"/>
                  <a:gd name="T7" fmla="*/ 362 h 1206"/>
                  <a:gd name="T8" fmla="*/ 1932 w 1964"/>
                  <a:gd name="T9" fmla="*/ 350 h 1206"/>
                  <a:gd name="T10" fmla="*/ 1912 w 1964"/>
                  <a:gd name="T11" fmla="*/ 346 h 1206"/>
                  <a:gd name="T12" fmla="*/ 1894 w 1964"/>
                  <a:gd name="T13" fmla="*/ 350 h 1206"/>
                  <a:gd name="T14" fmla="*/ 1876 w 1964"/>
                  <a:gd name="T15" fmla="*/ 360 h 1206"/>
                  <a:gd name="T16" fmla="*/ 1738 w 1964"/>
                  <a:gd name="T17" fmla="*/ 410 h 1206"/>
                  <a:gd name="T18" fmla="*/ 1444 w 1964"/>
                  <a:gd name="T19" fmla="*/ 116 h 1206"/>
                  <a:gd name="T20" fmla="*/ 1402 w 1964"/>
                  <a:gd name="T21" fmla="*/ 76 h 1206"/>
                  <a:gd name="T22" fmla="*/ 1356 w 1964"/>
                  <a:gd name="T23" fmla="*/ 40 h 1206"/>
                  <a:gd name="T24" fmla="*/ 1310 w 1964"/>
                  <a:gd name="T25" fmla="*/ 14 h 1206"/>
                  <a:gd name="T26" fmla="*/ 1276 w 1964"/>
                  <a:gd name="T27" fmla="*/ 4 h 1206"/>
                  <a:gd name="T28" fmla="*/ 1264 w 1964"/>
                  <a:gd name="T29" fmla="*/ 4 h 1206"/>
                  <a:gd name="T30" fmla="*/ 334 w 1964"/>
                  <a:gd name="T31" fmla="*/ 0 h 1206"/>
                  <a:gd name="T32" fmla="*/ 138 w 1964"/>
                  <a:gd name="T33" fmla="*/ 2 h 1206"/>
                  <a:gd name="T34" fmla="*/ 114 w 1964"/>
                  <a:gd name="T35" fmla="*/ 4 h 1206"/>
                  <a:gd name="T36" fmla="*/ 74 w 1964"/>
                  <a:gd name="T37" fmla="*/ 12 h 1206"/>
                  <a:gd name="T38" fmla="*/ 42 w 1964"/>
                  <a:gd name="T39" fmla="*/ 26 h 1206"/>
                  <a:gd name="T40" fmla="*/ 0 w 1964"/>
                  <a:gd name="T41" fmla="*/ 52 h 1206"/>
                  <a:gd name="T42" fmla="*/ 16 w 1964"/>
                  <a:gd name="T43" fmla="*/ 44 h 1206"/>
                  <a:gd name="T44" fmla="*/ 54 w 1964"/>
                  <a:gd name="T45" fmla="*/ 30 h 1206"/>
                  <a:gd name="T46" fmla="*/ 92 w 1964"/>
                  <a:gd name="T47" fmla="*/ 26 h 1206"/>
                  <a:gd name="T48" fmla="*/ 132 w 1964"/>
                  <a:gd name="T49" fmla="*/ 28 h 1206"/>
                  <a:gd name="T50" fmla="*/ 172 w 1964"/>
                  <a:gd name="T51" fmla="*/ 38 h 1206"/>
                  <a:gd name="T52" fmla="*/ 214 w 1964"/>
                  <a:gd name="T53" fmla="*/ 54 h 1206"/>
                  <a:gd name="T54" fmla="*/ 256 w 1964"/>
                  <a:gd name="T55" fmla="*/ 80 h 1206"/>
                  <a:gd name="T56" fmla="*/ 298 w 1964"/>
                  <a:gd name="T57" fmla="*/ 112 h 1206"/>
                  <a:gd name="T58" fmla="*/ 1212 w 1964"/>
                  <a:gd name="T59" fmla="*/ 1026 h 1206"/>
                  <a:gd name="T60" fmla="*/ 1120 w 1964"/>
                  <a:gd name="T61" fmla="*/ 1118 h 1206"/>
                  <a:gd name="T62" fmla="*/ 1108 w 1964"/>
                  <a:gd name="T63" fmla="*/ 1136 h 1206"/>
                  <a:gd name="T64" fmla="*/ 1104 w 1964"/>
                  <a:gd name="T65" fmla="*/ 1154 h 1206"/>
                  <a:gd name="T66" fmla="*/ 1108 w 1964"/>
                  <a:gd name="T67" fmla="*/ 1174 h 1206"/>
                  <a:gd name="T68" fmla="*/ 1118 w 1964"/>
                  <a:gd name="T69" fmla="*/ 1190 h 1206"/>
                  <a:gd name="T70" fmla="*/ 1126 w 1964"/>
                  <a:gd name="T71" fmla="*/ 1194 h 1206"/>
                  <a:gd name="T72" fmla="*/ 1142 w 1964"/>
                  <a:gd name="T73" fmla="*/ 1202 h 1206"/>
                  <a:gd name="T74" fmla="*/ 1874 w 1964"/>
                  <a:gd name="T75" fmla="*/ 1206 h 1206"/>
                  <a:gd name="T76" fmla="*/ 1892 w 1964"/>
                  <a:gd name="T77" fmla="*/ 1206 h 1206"/>
                  <a:gd name="T78" fmla="*/ 1926 w 1964"/>
                  <a:gd name="T79" fmla="*/ 1194 h 1206"/>
                  <a:gd name="T80" fmla="*/ 1940 w 1964"/>
                  <a:gd name="T81" fmla="*/ 1182 h 1206"/>
                  <a:gd name="T82" fmla="*/ 1960 w 1964"/>
                  <a:gd name="T83" fmla="*/ 1152 h 1206"/>
                  <a:gd name="T84" fmla="*/ 1964 w 1964"/>
                  <a:gd name="T85" fmla="*/ 1116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1964" y="1116"/>
                    </a:moveTo>
                    <a:lnTo>
                      <a:pt x="1962" y="394"/>
                    </a:lnTo>
                    <a:lnTo>
                      <a:pt x="1962" y="394"/>
                    </a:lnTo>
                    <a:lnTo>
                      <a:pt x="1960" y="384"/>
                    </a:lnTo>
                    <a:lnTo>
                      <a:pt x="1958" y="376"/>
                    </a:lnTo>
                    <a:lnTo>
                      <a:pt x="1954" y="368"/>
                    </a:lnTo>
                    <a:lnTo>
                      <a:pt x="1948" y="362"/>
                    </a:lnTo>
                    <a:lnTo>
                      <a:pt x="1948" y="362"/>
                    </a:lnTo>
                    <a:lnTo>
                      <a:pt x="1940" y="354"/>
                    </a:lnTo>
                    <a:lnTo>
                      <a:pt x="1932" y="350"/>
                    </a:lnTo>
                    <a:lnTo>
                      <a:pt x="1922" y="348"/>
                    </a:lnTo>
                    <a:lnTo>
                      <a:pt x="1912" y="346"/>
                    </a:lnTo>
                    <a:lnTo>
                      <a:pt x="1904" y="348"/>
                    </a:lnTo>
                    <a:lnTo>
                      <a:pt x="1894" y="350"/>
                    </a:lnTo>
                    <a:lnTo>
                      <a:pt x="1884" y="354"/>
                    </a:lnTo>
                    <a:lnTo>
                      <a:pt x="1876" y="360"/>
                    </a:lnTo>
                    <a:lnTo>
                      <a:pt x="1782" y="456"/>
                    </a:lnTo>
                    <a:lnTo>
                      <a:pt x="1738" y="410"/>
                    </a:lnTo>
                    <a:lnTo>
                      <a:pt x="1738" y="410"/>
                    </a:lnTo>
                    <a:lnTo>
                      <a:pt x="1444" y="116"/>
                    </a:lnTo>
                    <a:lnTo>
                      <a:pt x="1444" y="116"/>
                    </a:lnTo>
                    <a:lnTo>
                      <a:pt x="1402" y="76"/>
                    </a:lnTo>
                    <a:lnTo>
                      <a:pt x="1380" y="58"/>
                    </a:lnTo>
                    <a:lnTo>
                      <a:pt x="1356" y="40"/>
                    </a:lnTo>
                    <a:lnTo>
                      <a:pt x="1332" y="26"/>
                    </a:lnTo>
                    <a:lnTo>
                      <a:pt x="1310" y="14"/>
                    </a:lnTo>
                    <a:lnTo>
                      <a:pt x="1286" y="6"/>
                    </a:lnTo>
                    <a:lnTo>
                      <a:pt x="1276" y="4"/>
                    </a:lnTo>
                    <a:lnTo>
                      <a:pt x="1264" y="4"/>
                    </a:lnTo>
                    <a:lnTo>
                      <a:pt x="1264" y="4"/>
                    </a:lnTo>
                    <a:lnTo>
                      <a:pt x="716" y="2"/>
                    </a:lnTo>
                    <a:lnTo>
                      <a:pt x="334" y="0"/>
                    </a:lnTo>
                    <a:lnTo>
                      <a:pt x="200" y="0"/>
                    </a:lnTo>
                    <a:lnTo>
                      <a:pt x="138" y="2"/>
                    </a:lnTo>
                    <a:lnTo>
                      <a:pt x="138" y="2"/>
                    </a:lnTo>
                    <a:lnTo>
                      <a:pt x="114" y="4"/>
                    </a:lnTo>
                    <a:lnTo>
                      <a:pt x="92" y="8"/>
                    </a:lnTo>
                    <a:lnTo>
                      <a:pt x="74" y="12"/>
                    </a:lnTo>
                    <a:lnTo>
                      <a:pt x="58" y="18"/>
                    </a:lnTo>
                    <a:lnTo>
                      <a:pt x="42" y="26"/>
                    </a:lnTo>
                    <a:lnTo>
                      <a:pt x="28" y="34"/>
                    </a:lnTo>
                    <a:lnTo>
                      <a:pt x="0" y="52"/>
                    </a:lnTo>
                    <a:lnTo>
                      <a:pt x="0" y="52"/>
                    </a:lnTo>
                    <a:lnTo>
                      <a:pt x="16" y="44"/>
                    </a:lnTo>
                    <a:lnTo>
                      <a:pt x="36" y="36"/>
                    </a:lnTo>
                    <a:lnTo>
                      <a:pt x="54" y="30"/>
                    </a:lnTo>
                    <a:lnTo>
                      <a:pt x="74" y="28"/>
                    </a:lnTo>
                    <a:lnTo>
                      <a:pt x="92" y="26"/>
                    </a:lnTo>
                    <a:lnTo>
                      <a:pt x="112" y="26"/>
                    </a:lnTo>
                    <a:lnTo>
                      <a:pt x="132" y="28"/>
                    </a:lnTo>
                    <a:lnTo>
                      <a:pt x="152" y="32"/>
                    </a:lnTo>
                    <a:lnTo>
                      <a:pt x="172" y="38"/>
                    </a:lnTo>
                    <a:lnTo>
                      <a:pt x="194" y="44"/>
                    </a:lnTo>
                    <a:lnTo>
                      <a:pt x="214" y="54"/>
                    </a:lnTo>
                    <a:lnTo>
                      <a:pt x="234" y="66"/>
                    </a:lnTo>
                    <a:lnTo>
                      <a:pt x="256" y="80"/>
                    </a:lnTo>
                    <a:lnTo>
                      <a:pt x="276" y="94"/>
                    </a:lnTo>
                    <a:lnTo>
                      <a:pt x="298" y="112"/>
                    </a:lnTo>
                    <a:lnTo>
                      <a:pt x="318" y="132"/>
                    </a:lnTo>
                    <a:lnTo>
                      <a:pt x="1212" y="1026"/>
                    </a:lnTo>
                    <a:lnTo>
                      <a:pt x="1120" y="1118"/>
                    </a:lnTo>
                    <a:lnTo>
                      <a:pt x="1120" y="1118"/>
                    </a:lnTo>
                    <a:lnTo>
                      <a:pt x="1114" y="1126"/>
                    </a:lnTo>
                    <a:lnTo>
                      <a:pt x="1108" y="1136"/>
                    </a:lnTo>
                    <a:lnTo>
                      <a:pt x="1106" y="1146"/>
                    </a:lnTo>
                    <a:lnTo>
                      <a:pt x="1104" y="1154"/>
                    </a:lnTo>
                    <a:lnTo>
                      <a:pt x="1106" y="1164"/>
                    </a:lnTo>
                    <a:lnTo>
                      <a:pt x="1108" y="1174"/>
                    </a:lnTo>
                    <a:lnTo>
                      <a:pt x="1112" y="1182"/>
                    </a:lnTo>
                    <a:lnTo>
                      <a:pt x="1118" y="1190"/>
                    </a:lnTo>
                    <a:lnTo>
                      <a:pt x="1118" y="1190"/>
                    </a:lnTo>
                    <a:lnTo>
                      <a:pt x="1126" y="1194"/>
                    </a:lnTo>
                    <a:lnTo>
                      <a:pt x="1134" y="1200"/>
                    </a:lnTo>
                    <a:lnTo>
                      <a:pt x="1142" y="1202"/>
                    </a:lnTo>
                    <a:lnTo>
                      <a:pt x="1152" y="1204"/>
                    </a:lnTo>
                    <a:lnTo>
                      <a:pt x="1874" y="1206"/>
                    </a:lnTo>
                    <a:lnTo>
                      <a:pt x="1874" y="1206"/>
                    </a:lnTo>
                    <a:lnTo>
                      <a:pt x="1892" y="1206"/>
                    </a:lnTo>
                    <a:lnTo>
                      <a:pt x="1910" y="1202"/>
                    </a:lnTo>
                    <a:lnTo>
                      <a:pt x="1926" y="1194"/>
                    </a:lnTo>
                    <a:lnTo>
                      <a:pt x="1940" y="1182"/>
                    </a:lnTo>
                    <a:lnTo>
                      <a:pt x="1940" y="1182"/>
                    </a:lnTo>
                    <a:lnTo>
                      <a:pt x="1952" y="1168"/>
                    </a:lnTo>
                    <a:lnTo>
                      <a:pt x="1960" y="1152"/>
                    </a:lnTo>
                    <a:lnTo>
                      <a:pt x="1964" y="1134"/>
                    </a:lnTo>
                    <a:lnTo>
                      <a:pt x="1964" y="1116"/>
                    </a:lnTo>
                    <a:lnTo>
                      <a:pt x="1964" y="1116"/>
                    </a:lnTo>
                    <a:close/>
                  </a:path>
                </a:pathLst>
              </a:custGeom>
              <a:ln/>
              <a:ex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anchor="t" anchorCtr="0" compatLnSpc="1">
                <a:prstTxWarp prst="textNoShape">
                  <a:avLst/>
                </a:prstTxWarp>
              </a:bodyPr>
              <a:lstStyle/>
              <a:p>
                <a:endParaRPr lang="en-GB" dirty="0"/>
              </a:p>
            </p:txBody>
          </p:sp>
        </p:grpSp>
        <p:grpSp>
          <p:nvGrpSpPr>
            <p:cNvPr id="68" name="Group 67"/>
            <p:cNvGrpSpPr/>
            <p:nvPr/>
          </p:nvGrpSpPr>
          <p:grpSpPr>
            <a:xfrm flipH="1">
              <a:off x="2569286" y="4942304"/>
              <a:ext cx="2453412" cy="1382296"/>
              <a:chOff x="3832716" y="5103287"/>
              <a:chExt cx="2592421" cy="1467822"/>
            </a:xfrm>
          </p:grpSpPr>
          <p:sp>
            <p:nvSpPr>
              <p:cNvPr id="86" name="Freeform 32"/>
              <p:cNvSpPr>
                <a:spLocks/>
              </p:cNvSpPr>
              <p:nvPr/>
            </p:nvSpPr>
            <p:spPr bwMode="auto">
              <a:xfrm>
                <a:off x="5407642" y="6203545"/>
                <a:ext cx="1017495" cy="340788"/>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87" name="Freeform 35"/>
              <p:cNvSpPr>
                <a:spLocks/>
              </p:cNvSpPr>
              <p:nvPr/>
            </p:nvSpPr>
            <p:spPr bwMode="auto">
              <a:xfrm>
                <a:off x="3832716" y="5103287"/>
                <a:ext cx="2390384" cy="1467822"/>
              </a:xfrm>
              <a:custGeom>
                <a:avLst/>
                <a:gdLst>
                  <a:gd name="T0" fmla="*/ 2 w 1964"/>
                  <a:gd name="T1" fmla="*/ 812 h 1206"/>
                  <a:gd name="T2" fmla="*/ 4 w 1964"/>
                  <a:gd name="T3" fmla="*/ 820 h 1206"/>
                  <a:gd name="T4" fmla="*/ 10 w 1964"/>
                  <a:gd name="T5" fmla="*/ 838 h 1206"/>
                  <a:gd name="T6" fmla="*/ 16 w 1964"/>
                  <a:gd name="T7" fmla="*/ 844 h 1206"/>
                  <a:gd name="T8" fmla="*/ 32 w 1964"/>
                  <a:gd name="T9" fmla="*/ 854 h 1206"/>
                  <a:gd name="T10" fmla="*/ 52 w 1964"/>
                  <a:gd name="T11" fmla="*/ 858 h 1206"/>
                  <a:gd name="T12" fmla="*/ 70 w 1964"/>
                  <a:gd name="T13" fmla="*/ 854 h 1206"/>
                  <a:gd name="T14" fmla="*/ 88 w 1964"/>
                  <a:gd name="T15" fmla="*/ 844 h 1206"/>
                  <a:gd name="T16" fmla="*/ 226 w 1964"/>
                  <a:gd name="T17" fmla="*/ 794 h 1206"/>
                  <a:gd name="T18" fmla="*/ 520 w 1964"/>
                  <a:gd name="T19" fmla="*/ 1090 h 1206"/>
                  <a:gd name="T20" fmla="*/ 562 w 1964"/>
                  <a:gd name="T21" fmla="*/ 1128 h 1206"/>
                  <a:gd name="T22" fmla="*/ 608 w 1964"/>
                  <a:gd name="T23" fmla="*/ 1164 h 1206"/>
                  <a:gd name="T24" fmla="*/ 654 w 1964"/>
                  <a:gd name="T25" fmla="*/ 1190 h 1206"/>
                  <a:gd name="T26" fmla="*/ 688 w 1964"/>
                  <a:gd name="T27" fmla="*/ 1200 h 1206"/>
                  <a:gd name="T28" fmla="*/ 700 w 1964"/>
                  <a:gd name="T29" fmla="*/ 1202 h 1206"/>
                  <a:gd name="T30" fmla="*/ 1630 w 1964"/>
                  <a:gd name="T31" fmla="*/ 1206 h 1206"/>
                  <a:gd name="T32" fmla="*/ 1826 w 1964"/>
                  <a:gd name="T33" fmla="*/ 1204 h 1206"/>
                  <a:gd name="T34" fmla="*/ 1850 w 1964"/>
                  <a:gd name="T35" fmla="*/ 1202 h 1206"/>
                  <a:gd name="T36" fmla="*/ 1890 w 1964"/>
                  <a:gd name="T37" fmla="*/ 1192 h 1206"/>
                  <a:gd name="T38" fmla="*/ 1922 w 1964"/>
                  <a:gd name="T39" fmla="*/ 1180 h 1206"/>
                  <a:gd name="T40" fmla="*/ 1964 w 1964"/>
                  <a:gd name="T41" fmla="*/ 1154 h 1206"/>
                  <a:gd name="T42" fmla="*/ 1946 w 1964"/>
                  <a:gd name="T43" fmla="*/ 1162 h 1206"/>
                  <a:gd name="T44" fmla="*/ 1910 w 1964"/>
                  <a:gd name="T45" fmla="*/ 1174 h 1206"/>
                  <a:gd name="T46" fmla="*/ 1872 w 1964"/>
                  <a:gd name="T47" fmla="*/ 1180 h 1206"/>
                  <a:gd name="T48" fmla="*/ 1832 w 1964"/>
                  <a:gd name="T49" fmla="*/ 1178 h 1206"/>
                  <a:gd name="T50" fmla="*/ 1792 w 1964"/>
                  <a:gd name="T51" fmla="*/ 1168 h 1206"/>
                  <a:gd name="T52" fmla="*/ 1750 w 1964"/>
                  <a:gd name="T53" fmla="*/ 1150 h 1206"/>
                  <a:gd name="T54" fmla="*/ 1708 w 1964"/>
                  <a:gd name="T55" fmla="*/ 1126 h 1206"/>
                  <a:gd name="T56" fmla="*/ 1666 w 1964"/>
                  <a:gd name="T57" fmla="*/ 1092 h 1206"/>
                  <a:gd name="T58" fmla="*/ 752 w 1964"/>
                  <a:gd name="T59" fmla="*/ 178 h 1206"/>
                  <a:gd name="T60" fmla="*/ 844 w 1964"/>
                  <a:gd name="T61" fmla="*/ 86 h 1206"/>
                  <a:gd name="T62" fmla="*/ 856 w 1964"/>
                  <a:gd name="T63" fmla="*/ 70 h 1206"/>
                  <a:gd name="T64" fmla="*/ 860 w 1964"/>
                  <a:gd name="T65" fmla="*/ 50 h 1206"/>
                  <a:gd name="T66" fmla="*/ 856 w 1964"/>
                  <a:gd name="T67" fmla="*/ 32 h 1206"/>
                  <a:gd name="T68" fmla="*/ 846 w 1964"/>
                  <a:gd name="T69" fmla="*/ 16 h 1206"/>
                  <a:gd name="T70" fmla="*/ 838 w 1964"/>
                  <a:gd name="T71" fmla="*/ 10 h 1206"/>
                  <a:gd name="T72" fmla="*/ 822 w 1964"/>
                  <a:gd name="T73" fmla="*/ 2 h 1206"/>
                  <a:gd name="T74" fmla="*/ 90 w 1964"/>
                  <a:gd name="T75" fmla="*/ 0 h 1206"/>
                  <a:gd name="T76" fmla="*/ 72 w 1964"/>
                  <a:gd name="T77" fmla="*/ 0 h 1206"/>
                  <a:gd name="T78" fmla="*/ 38 w 1964"/>
                  <a:gd name="T79" fmla="*/ 12 h 1206"/>
                  <a:gd name="T80" fmla="*/ 24 w 1964"/>
                  <a:gd name="T81" fmla="*/ 22 h 1206"/>
                  <a:gd name="T82" fmla="*/ 4 w 1964"/>
                  <a:gd name="T83" fmla="*/ 52 h 1206"/>
                  <a:gd name="T84" fmla="*/ 0 w 1964"/>
                  <a:gd name="T85" fmla="*/ 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0" y="90"/>
                    </a:moveTo>
                    <a:lnTo>
                      <a:pt x="2" y="812"/>
                    </a:lnTo>
                    <a:lnTo>
                      <a:pt x="2" y="812"/>
                    </a:lnTo>
                    <a:lnTo>
                      <a:pt x="4" y="820"/>
                    </a:lnTo>
                    <a:lnTo>
                      <a:pt x="6" y="830"/>
                    </a:lnTo>
                    <a:lnTo>
                      <a:pt x="10" y="838"/>
                    </a:lnTo>
                    <a:lnTo>
                      <a:pt x="16" y="844"/>
                    </a:lnTo>
                    <a:lnTo>
                      <a:pt x="16" y="844"/>
                    </a:lnTo>
                    <a:lnTo>
                      <a:pt x="24" y="850"/>
                    </a:lnTo>
                    <a:lnTo>
                      <a:pt x="32" y="854"/>
                    </a:lnTo>
                    <a:lnTo>
                      <a:pt x="42" y="858"/>
                    </a:lnTo>
                    <a:lnTo>
                      <a:pt x="52" y="858"/>
                    </a:lnTo>
                    <a:lnTo>
                      <a:pt x="60" y="858"/>
                    </a:lnTo>
                    <a:lnTo>
                      <a:pt x="70" y="854"/>
                    </a:lnTo>
                    <a:lnTo>
                      <a:pt x="80" y="850"/>
                    </a:lnTo>
                    <a:lnTo>
                      <a:pt x="88" y="844"/>
                    </a:lnTo>
                    <a:lnTo>
                      <a:pt x="180" y="750"/>
                    </a:lnTo>
                    <a:lnTo>
                      <a:pt x="226" y="794"/>
                    </a:lnTo>
                    <a:lnTo>
                      <a:pt x="226" y="794"/>
                    </a:lnTo>
                    <a:lnTo>
                      <a:pt x="520" y="1090"/>
                    </a:lnTo>
                    <a:lnTo>
                      <a:pt x="520" y="1090"/>
                    </a:lnTo>
                    <a:lnTo>
                      <a:pt x="562" y="1128"/>
                    </a:lnTo>
                    <a:lnTo>
                      <a:pt x="584" y="1148"/>
                    </a:lnTo>
                    <a:lnTo>
                      <a:pt x="608" y="1164"/>
                    </a:lnTo>
                    <a:lnTo>
                      <a:pt x="632" y="1180"/>
                    </a:lnTo>
                    <a:lnTo>
                      <a:pt x="654" y="1190"/>
                    </a:lnTo>
                    <a:lnTo>
                      <a:pt x="678" y="1198"/>
                    </a:lnTo>
                    <a:lnTo>
                      <a:pt x="688" y="1200"/>
                    </a:lnTo>
                    <a:lnTo>
                      <a:pt x="700" y="1202"/>
                    </a:lnTo>
                    <a:lnTo>
                      <a:pt x="700" y="1202"/>
                    </a:lnTo>
                    <a:lnTo>
                      <a:pt x="1248" y="1204"/>
                    </a:lnTo>
                    <a:lnTo>
                      <a:pt x="1630" y="1206"/>
                    </a:lnTo>
                    <a:lnTo>
                      <a:pt x="1764" y="1204"/>
                    </a:lnTo>
                    <a:lnTo>
                      <a:pt x="1826" y="1204"/>
                    </a:lnTo>
                    <a:lnTo>
                      <a:pt x="1826" y="1204"/>
                    </a:lnTo>
                    <a:lnTo>
                      <a:pt x="1850" y="1202"/>
                    </a:lnTo>
                    <a:lnTo>
                      <a:pt x="1872" y="1198"/>
                    </a:lnTo>
                    <a:lnTo>
                      <a:pt x="1890" y="1192"/>
                    </a:lnTo>
                    <a:lnTo>
                      <a:pt x="1906" y="1186"/>
                    </a:lnTo>
                    <a:lnTo>
                      <a:pt x="1922" y="1180"/>
                    </a:lnTo>
                    <a:lnTo>
                      <a:pt x="1936" y="1172"/>
                    </a:lnTo>
                    <a:lnTo>
                      <a:pt x="1964" y="1154"/>
                    </a:lnTo>
                    <a:lnTo>
                      <a:pt x="1964" y="1154"/>
                    </a:lnTo>
                    <a:lnTo>
                      <a:pt x="1946" y="1162"/>
                    </a:lnTo>
                    <a:lnTo>
                      <a:pt x="1928" y="1168"/>
                    </a:lnTo>
                    <a:lnTo>
                      <a:pt x="1910" y="1174"/>
                    </a:lnTo>
                    <a:lnTo>
                      <a:pt x="1890" y="1178"/>
                    </a:lnTo>
                    <a:lnTo>
                      <a:pt x="1872" y="1180"/>
                    </a:lnTo>
                    <a:lnTo>
                      <a:pt x="1852" y="1180"/>
                    </a:lnTo>
                    <a:lnTo>
                      <a:pt x="1832" y="1178"/>
                    </a:lnTo>
                    <a:lnTo>
                      <a:pt x="1812" y="1174"/>
                    </a:lnTo>
                    <a:lnTo>
                      <a:pt x="1792" y="1168"/>
                    </a:lnTo>
                    <a:lnTo>
                      <a:pt x="1770" y="1160"/>
                    </a:lnTo>
                    <a:lnTo>
                      <a:pt x="1750" y="1150"/>
                    </a:lnTo>
                    <a:lnTo>
                      <a:pt x="1730" y="1140"/>
                    </a:lnTo>
                    <a:lnTo>
                      <a:pt x="1708" y="1126"/>
                    </a:lnTo>
                    <a:lnTo>
                      <a:pt x="1688" y="1110"/>
                    </a:lnTo>
                    <a:lnTo>
                      <a:pt x="1666" y="1092"/>
                    </a:lnTo>
                    <a:lnTo>
                      <a:pt x="1646" y="1074"/>
                    </a:lnTo>
                    <a:lnTo>
                      <a:pt x="752" y="178"/>
                    </a:lnTo>
                    <a:lnTo>
                      <a:pt x="844" y="86"/>
                    </a:lnTo>
                    <a:lnTo>
                      <a:pt x="844" y="86"/>
                    </a:lnTo>
                    <a:lnTo>
                      <a:pt x="850" y="78"/>
                    </a:lnTo>
                    <a:lnTo>
                      <a:pt x="856" y="70"/>
                    </a:lnTo>
                    <a:lnTo>
                      <a:pt x="858" y="60"/>
                    </a:lnTo>
                    <a:lnTo>
                      <a:pt x="860" y="50"/>
                    </a:lnTo>
                    <a:lnTo>
                      <a:pt x="858" y="42"/>
                    </a:lnTo>
                    <a:lnTo>
                      <a:pt x="856" y="32"/>
                    </a:lnTo>
                    <a:lnTo>
                      <a:pt x="852" y="24"/>
                    </a:lnTo>
                    <a:lnTo>
                      <a:pt x="846" y="16"/>
                    </a:lnTo>
                    <a:lnTo>
                      <a:pt x="846" y="16"/>
                    </a:lnTo>
                    <a:lnTo>
                      <a:pt x="838" y="10"/>
                    </a:lnTo>
                    <a:lnTo>
                      <a:pt x="830" y="6"/>
                    </a:lnTo>
                    <a:lnTo>
                      <a:pt x="822" y="2"/>
                    </a:lnTo>
                    <a:lnTo>
                      <a:pt x="812" y="2"/>
                    </a:lnTo>
                    <a:lnTo>
                      <a:pt x="90" y="0"/>
                    </a:lnTo>
                    <a:lnTo>
                      <a:pt x="90" y="0"/>
                    </a:lnTo>
                    <a:lnTo>
                      <a:pt x="72" y="0"/>
                    </a:lnTo>
                    <a:lnTo>
                      <a:pt x="54" y="4"/>
                    </a:lnTo>
                    <a:lnTo>
                      <a:pt x="38" y="12"/>
                    </a:lnTo>
                    <a:lnTo>
                      <a:pt x="24" y="22"/>
                    </a:lnTo>
                    <a:lnTo>
                      <a:pt x="24" y="22"/>
                    </a:lnTo>
                    <a:lnTo>
                      <a:pt x="12" y="36"/>
                    </a:lnTo>
                    <a:lnTo>
                      <a:pt x="4" y="52"/>
                    </a:lnTo>
                    <a:lnTo>
                      <a:pt x="0" y="70"/>
                    </a:lnTo>
                    <a:lnTo>
                      <a:pt x="0" y="90"/>
                    </a:lnTo>
                    <a:lnTo>
                      <a:pt x="0" y="90"/>
                    </a:lnTo>
                    <a:close/>
                  </a:path>
                </a:pathLst>
              </a:custGeom>
              <a:ln/>
              <a:extLst/>
            </p:spPr>
            <p:style>
              <a:lnRef idx="1">
                <a:schemeClr val="accent2"/>
              </a:lnRef>
              <a:fillRef idx="3">
                <a:schemeClr val="accent2"/>
              </a:fillRef>
              <a:effectRef idx="2">
                <a:schemeClr val="accent2"/>
              </a:effectRef>
              <a:fontRef idx="minor">
                <a:schemeClr val="lt1"/>
              </a:fontRef>
            </p:style>
            <p:txBody>
              <a:bodyPr vert="horz" wrap="square" lIns="91440" tIns="45720" rIns="91440" bIns="45720" numCol="1" anchor="t" anchorCtr="0" compatLnSpc="1">
                <a:prstTxWarp prst="textNoShape">
                  <a:avLst/>
                </a:prstTxWarp>
              </a:bodyPr>
              <a:lstStyle/>
              <a:p>
                <a:endParaRPr lang="en-GB" dirty="0"/>
              </a:p>
            </p:txBody>
          </p:sp>
        </p:grpSp>
        <p:sp>
          <p:nvSpPr>
            <p:cNvPr id="69" name="TextBox 68"/>
            <p:cNvSpPr txBox="1"/>
            <p:nvPr/>
          </p:nvSpPr>
          <p:spPr>
            <a:xfrm>
              <a:off x="6885192" y="2685454"/>
              <a:ext cx="595187" cy="536577"/>
            </a:xfrm>
            <a:prstGeom prst="rect">
              <a:avLst/>
            </a:prstGeom>
            <a:noFill/>
          </p:spPr>
          <p:txBody>
            <a:bodyPr wrap="none" lIns="0" tIns="0" rIns="0" bIns="0" rtlCol="0">
              <a:noAutofit/>
            </a:bodyPr>
            <a:lstStyle/>
            <a:p>
              <a:pPr>
                <a:spcAft>
                  <a:spcPts val="900"/>
                </a:spcAft>
              </a:pPr>
              <a:r>
                <a:rPr lang="en-GB" sz="3200" b="1" dirty="0" smtClean="0">
                  <a:solidFill>
                    <a:schemeClr val="accent4">
                      <a:lumMod val="60000"/>
                      <a:lumOff val="40000"/>
                    </a:schemeClr>
                  </a:solidFill>
                  <a:latin typeface="+mj-lt"/>
                </a:rPr>
                <a:t>02</a:t>
              </a:r>
            </a:p>
          </p:txBody>
        </p:sp>
        <p:cxnSp>
          <p:nvCxnSpPr>
            <p:cNvPr id="76" name="Straight Connector 75"/>
            <p:cNvCxnSpPr/>
            <p:nvPr/>
          </p:nvCxnSpPr>
          <p:spPr>
            <a:xfrm flipV="1">
              <a:off x="6794516" y="2832550"/>
              <a:ext cx="0" cy="881462"/>
            </a:xfrm>
            <a:prstGeom prst="line">
              <a:avLst/>
            </a:prstGeom>
            <a:ln w="22225">
              <a:solidFill>
                <a:schemeClr val="accent5"/>
              </a:solidFill>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665769" y="3117259"/>
              <a:ext cx="2652000" cy="1292662"/>
            </a:xfrm>
            <a:prstGeom prst="rect">
              <a:avLst/>
            </a:prstGeom>
          </p:spPr>
          <p:txBody>
            <a:bodyPr wrap="square" lIns="0" tIns="0" rIns="0" bIns="0">
              <a:spAutoFit/>
            </a:bodyPr>
            <a:lstStyle/>
            <a:p>
              <a:pPr marL="171450" indent="-171450">
                <a:buFont typeface="Arial" panose="020B0604020202020204" pitchFamily="34" charset="0"/>
                <a:buChar char="•"/>
              </a:pPr>
              <a:r>
                <a:rPr lang="en-GB" altLang="zh-CN" sz="1200" b="1" dirty="0" smtClean="0">
                  <a:solidFill>
                    <a:srgbClr val="000000"/>
                  </a:solidFill>
                  <a:latin typeface="+mj-lt"/>
                  <a:ea typeface="宋体" panose="02010600030101010101" pitchFamily="2" charset="-122"/>
                </a:rPr>
                <a:t>More and more </a:t>
              </a:r>
              <a:r>
                <a:rPr lang="en-GB" altLang="zh-CN" sz="1200" dirty="0" smtClean="0">
                  <a:solidFill>
                    <a:srgbClr val="000000"/>
                  </a:solidFill>
                  <a:latin typeface="+mj-lt"/>
                  <a:ea typeface="宋体" panose="02010600030101010101" pitchFamily="2" charset="-122"/>
                </a:rPr>
                <a:t>laws/regulations start to include GAAR </a:t>
              </a:r>
              <a:r>
                <a:rPr lang="en-GB" altLang="zh-CN" sz="1200" dirty="0" smtClean="0">
                  <a:solidFill>
                    <a:srgbClr val="000000"/>
                  </a:solidFill>
                  <a:latin typeface="+mj-lt"/>
                  <a:ea typeface="宋体" panose="02010600030101010101" pitchFamily="2" charset="-122"/>
                </a:rPr>
                <a:t>terms/concepts</a:t>
              </a:r>
              <a:endParaRPr lang="en-GB" altLang="zh-CN" sz="1200" dirty="0" smtClean="0">
                <a:solidFill>
                  <a:srgbClr val="000000"/>
                </a:solidFill>
                <a:latin typeface="+mj-lt"/>
                <a:ea typeface="宋体" panose="02010600030101010101" pitchFamily="2" charset="-122"/>
              </a:endParaRPr>
            </a:p>
            <a:p>
              <a:pPr marL="171450" indent="-171450">
                <a:buFont typeface="Arial" panose="020B0604020202020204" pitchFamily="34" charset="0"/>
                <a:buChar char="•"/>
              </a:pPr>
              <a:endParaRPr lang="en-GB" altLang="zh-CN" sz="1200" dirty="0" smtClean="0">
                <a:solidFill>
                  <a:srgbClr val="000000"/>
                </a:solidFill>
                <a:latin typeface="+mj-lt"/>
                <a:ea typeface="宋体" panose="02010600030101010101" pitchFamily="2" charset="-122"/>
              </a:endParaRPr>
            </a:p>
            <a:p>
              <a:pPr marL="171450" indent="-171450">
                <a:buFont typeface="Arial" panose="020B0604020202020204" pitchFamily="34" charset="0"/>
                <a:buChar char="•"/>
              </a:pPr>
              <a:r>
                <a:rPr lang="en-GB" sz="1200" dirty="0" smtClean="0">
                  <a:solidFill>
                    <a:srgbClr val="000000"/>
                  </a:solidFill>
                  <a:latin typeface="+mj-lt"/>
                  <a:ea typeface="宋体" panose="02010600030101010101" pitchFamily="2" charset="-122"/>
                </a:rPr>
                <a:t>GAAR cases </a:t>
              </a:r>
              <a:r>
                <a:rPr lang="en-GB" sz="1200" dirty="0" smtClean="0">
                  <a:solidFill>
                    <a:srgbClr val="000000"/>
                  </a:solidFill>
                  <a:latin typeface="+mj-lt"/>
                  <a:ea typeface="宋体" panose="02010600030101010101" pitchFamily="2" charset="-122"/>
                </a:rPr>
                <a:t>account </a:t>
              </a:r>
              <a:r>
                <a:rPr lang="en-GB" sz="1200" dirty="0" smtClean="0">
                  <a:solidFill>
                    <a:srgbClr val="000000"/>
                  </a:solidFill>
                  <a:latin typeface="+mj-lt"/>
                  <a:ea typeface="宋体" panose="02010600030101010101" pitchFamily="2" charset="-122"/>
                </a:rPr>
                <a:t>for a small proportion compared with SAAR and Transfer Pricing </a:t>
              </a:r>
              <a:r>
                <a:rPr lang="en-GB" sz="1200" dirty="0" smtClean="0">
                  <a:solidFill>
                    <a:srgbClr val="000000"/>
                  </a:solidFill>
                  <a:latin typeface="+mj-lt"/>
                  <a:ea typeface="宋体" panose="02010600030101010101" pitchFamily="2" charset="-122"/>
                </a:rPr>
                <a:t>cases  </a:t>
              </a:r>
              <a:endParaRPr lang="en-GB" sz="1200" b="1" dirty="0">
                <a:solidFill>
                  <a:srgbClr val="000000"/>
                </a:solidFill>
                <a:latin typeface="+mj-lt"/>
                <a:ea typeface="宋体" panose="02010600030101010101" pitchFamily="2" charset="-122"/>
              </a:endParaRPr>
            </a:p>
          </p:txBody>
        </p:sp>
        <p:sp>
          <p:nvSpPr>
            <p:cNvPr id="78" name="TextBox 77"/>
            <p:cNvSpPr txBox="1"/>
            <p:nvPr/>
          </p:nvSpPr>
          <p:spPr>
            <a:xfrm>
              <a:off x="6895988" y="4655030"/>
              <a:ext cx="595187" cy="536577"/>
            </a:xfrm>
            <a:prstGeom prst="rect">
              <a:avLst/>
            </a:prstGeom>
            <a:noFill/>
          </p:spPr>
          <p:txBody>
            <a:bodyPr wrap="none" lIns="0" tIns="0" rIns="0" bIns="0" rtlCol="0">
              <a:noAutofit/>
            </a:bodyPr>
            <a:lstStyle/>
            <a:p>
              <a:pPr>
                <a:spcAft>
                  <a:spcPts val="900"/>
                </a:spcAft>
              </a:pPr>
              <a:r>
                <a:rPr lang="en-GB" sz="3200" b="1" dirty="0" smtClean="0">
                  <a:solidFill>
                    <a:schemeClr val="accent4">
                      <a:lumMod val="60000"/>
                      <a:lumOff val="40000"/>
                    </a:schemeClr>
                  </a:solidFill>
                  <a:latin typeface="+mj-lt"/>
                </a:rPr>
                <a:t>04</a:t>
              </a:r>
            </a:p>
          </p:txBody>
        </p:sp>
        <p:cxnSp>
          <p:nvCxnSpPr>
            <p:cNvPr id="79" name="Straight Connector 78"/>
            <p:cNvCxnSpPr/>
            <p:nvPr/>
          </p:nvCxnSpPr>
          <p:spPr>
            <a:xfrm flipV="1">
              <a:off x="6794516" y="4951058"/>
              <a:ext cx="0" cy="881462"/>
            </a:xfrm>
            <a:prstGeom prst="line">
              <a:avLst/>
            </a:prstGeom>
            <a:ln w="22225">
              <a:solidFill>
                <a:schemeClr val="accent5"/>
              </a:solidFill>
            </a:ln>
          </p:spPr>
          <p:style>
            <a:lnRef idx="1">
              <a:schemeClr val="accent1"/>
            </a:lnRef>
            <a:fillRef idx="0">
              <a:schemeClr val="accent1"/>
            </a:fillRef>
            <a:effectRef idx="0">
              <a:schemeClr val="accent1"/>
            </a:effectRef>
            <a:fontRef idx="minor">
              <a:schemeClr val="tx1"/>
            </a:fontRef>
          </p:style>
        </p:cxnSp>
        <p:sp>
          <p:nvSpPr>
            <p:cNvPr id="80" name="Rectangle 10"/>
            <p:cNvSpPr>
              <a:spLocks noChangeArrowheads="1"/>
            </p:cNvSpPr>
            <p:nvPr/>
          </p:nvSpPr>
          <p:spPr bwMode="auto">
            <a:xfrm>
              <a:off x="3737617" y="4166597"/>
              <a:ext cx="2653873" cy="276999"/>
            </a:xfrm>
            <a:prstGeom prst="rect">
              <a:avLst/>
            </a:prstGeom>
            <a:noFill/>
            <a:ln w="9525">
              <a:noFill/>
              <a:miter lim="800000"/>
              <a:headEnd/>
              <a:tailEnd/>
            </a:ln>
            <a:effectLst>
              <a:outerShdw blurRad="50800" dist="38100" dir="2700000" algn="tl" rotWithShape="0">
                <a:prstClr val="black">
                  <a:alpha val="40000"/>
                </a:prstClr>
              </a:outerShdw>
            </a:effectLst>
          </p:spPr>
          <p:txBody>
            <a:bodyPr vert="horz" wrap="square" lIns="0" tIns="0" rIns="0" bIns="0" numCol="1" anchor="t" anchorCtr="0" compatLnSpc="1">
              <a:prstTxWarp prst="textNoShape">
                <a:avLst/>
              </a:prstTxWarp>
              <a:spAutoFit/>
            </a:bodyPr>
            <a:lstStyle/>
            <a:p>
              <a:pPr algn="ctr" defTabSz="798513" eaLnBrk="0" hangingPunct="0">
                <a:spcAft>
                  <a:spcPts val="200"/>
                </a:spcAft>
                <a:defRPr/>
              </a:pPr>
              <a:r>
                <a:rPr lang="en-GB" sz="1800" b="1" dirty="0" smtClean="0">
                  <a:latin typeface="+mj-lt"/>
                  <a:ea typeface="宋体" panose="02010600030101010101" pitchFamily="2" charset="-122"/>
                </a:rPr>
                <a:t>Status Quo</a:t>
              </a:r>
              <a:endParaRPr lang="en-GB" sz="1800" b="1" kern="0" dirty="0" smtClean="0">
                <a:latin typeface="+mj-lt"/>
                <a:ea typeface="宋体" panose="02010600030101010101" pitchFamily="2" charset="-122"/>
                <a:cs typeface="Arial" charset="0"/>
              </a:endParaRPr>
            </a:p>
          </p:txBody>
        </p:sp>
        <p:cxnSp>
          <p:nvCxnSpPr>
            <p:cNvPr id="81" name="Straight Connector 80"/>
            <p:cNvCxnSpPr/>
            <p:nvPr/>
          </p:nvCxnSpPr>
          <p:spPr>
            <a:xfrm flipV="1">
              <a:off x="3332619" y="2832550"/>
              <a:ext cx="0" cy="881462"/>
            </a:xfrm>
            <a:prstGeom prst="line">
              <a:avLst/>
            </a:prstGeom>
            <a:ln w="22225">
              <a:solidFill>
                <a:schemeClr val="accent5"/>
              </a:solidFill>
            </a:ln>
          </p:spPr>
          <p:style>
            <a:lnRef idx="1">
              <a:schemeClr val="accent1"/>
            </a:lnRef>
            <a:fillRef idx="0">
              <a:schemeClr val="accent1"/>
            </a:fillRef>
            <a:effectRef idx="0">
              <a:schemeClr val="accent1"/>
            </a:effectRef>
            <a:fontRef idx="minor">
              <a:schemeClr val="tx1"/>
            </a:fontRef>
          </p:style>
        </p:cxnSp>
        <p:sp>
          <p:nvSpPr>
            <p:cNvPr id="82" name="Rectangle 81"/>
            <p:cNvSpPr/>
            <p:nvPr/>
          </p:nvSpPr>
          <p:spPr>
            <a:xfrm>
              <a:off x="660921" y="5204215"/>
              <a:ext cx="2555223" cy="184666"/>
            </a:xfrm>
            <a:prstGeom prst="rect">
              <a:avLst/>
            </a:prstGeom>
          </p:spPr>
          <p:txBody>
            <a:bodyPr wrap="square" lIns="0" tIns="0" rIns="0" bIns="0">
              <a:spAutoFit/>
            </a:bodyPr>
            <a:lstStyle/>
            <a:p>
              <a:pPr marL="171450" indent="-171450">
                <a:buFont typeface="Arial" panose="020B0604020202020204" pitchFamily="34" charset="0"/>
                <a:buChar char="•"/>
              </a:pPr>
              <a:r>
                <a:rPr lang="en-GB" sz="1200" dirty="0" smtClean="0">
                  <a:solidFill>
                    <a:srgbClr val="000000"/>
                  </a:solidFill>
                  <a:latin typeface="+mj-lt"/>
                  <a:ea typeface="宋体" panose="02010600030101010101" pitchFamily="2" charset="-122"/>
                </a:rPr>
                <a:t>Currently focus on </a:t>
              </a:r>
              <a:r>
                <a:rPr lang="en-GB" sz="1200" b="1" dirty="0" smtClean="0">
                  <a:solidFill>
                    <a:srgbClr val="000000"/>
                  </a:solidFill>
                  <a:latin typeface="+mj-lt"/>
                  <a:ea typeface="宋体" panose="02010600030101010101" pitchFamily="2" charset="-122"/>
                </a:rPr>
                <a:t>CIT cases</a:t>
              </a:r>
              <a:r>
                <a:rPr lang="en-GB" sz="1200" dirty="0" smtClean="0">
                  <a:solidFill>
                    <a:srgbClr val="000000"/>
                  </a:solidFill>
                  <a:latin typeface="+mj-lt"/>
                  <a:ea typeface="宋体" panose="02010600030101010101" pitchFamily="2" charset="-122"/>
                </a:rPr>
                <a:t> </a:t>
              </a:r>
              <a:endParaRPr lang="en-GB" sz="1200" dirty="0">
                <a:solidFill>
                  <a:srgbClr val="000000"/>
                </a:solidFill>
                <a:latin typeface="+mj-lt"/>
                <a:ea typeface="宋体" panose="02010600030101010101" pitchFamily="2" charset="-122"/>
              </a:endParaRPr>
            </a:p>
          </p:txBody>
        </p:sp>
        <p:sp>
          <p:nvSpPr>
            <p:cNvPr id="83" name="TextBox 82"/>
            <p:cNvSpPr txBox="1"/>
            <p:nvPr/>
          </p:nvSpPr>
          <p:spPr>
            <a:xfrm>
              <a:off x="2687294" y="4605682"/>
              <a:ext cx="595187" cy="536577"/>
            </a:xfrm>
            <a:prstGeom prst="rect">
              <a:avLst/>
            </a:prstGeom>
            <a:noFill/>
          </p:spPr>
          <p:txBody>
            <a:bodyPr wrap="none" lIns="0" tIns="0" rIns="0" bIns="0" rtlCol="0">
              <a:noAutofit/>
            </a:bodyPr>
            <a:lstStyle/>
            <a:p>
              <a:pPr algn="r">
                <a:spcAft>
                  <a:spcPts val="900"/>
                </a:spcAft>
              </a:pPr>
              <a:r>
                <a:rPr lang="en-GB" sz="3200" b="1" dirty="0" smtClean="0">
                  <a:solidFill>
                    <a:schemeClr val="accent4">
                      <a:lumMod val="60000"/>
                      <a:lumOff val="40000"/>
                    </a:schemeClr>
                  </a:solidFill>
                  <a:latin typeface="+mj-lt"/>
                </a:rPr>
                <a:t>03</a:t>
              </a:r>
            </a:p>
          </p:txBody>
        </p:sp>
        <p:cxnSp>
          <p:nvCxnSpPr>
            <p:cNvPr id="84" name="Straight Connector 83"/>
            <p:cNvCxnSpPr/>
            <p:nvPr/>
          </p:nvCxnSpPr>
          <p:spPr>
            <a:xfrm flipV="1">
              <a:off x="3332619" y="4951058"/>
              <a:ext cx="0" cy="881462"/>
            </a:xfrm>
            <a:prstGeom prst="line">
              <a:avLst/>
            </a:prstGeom>
            <a:ln w="22225">
              <a:solidFill>
                <a:schemeClr val="accent5"/>
              </a:solidFill>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6975083" y="3119918"/>
              <a:ext cx="2555223" cy="1154162"/>
            </a:xfrm>
            <a:prstGeom prst="rect">
              <a:avLst/>
            </a:prstGeom>
          </p:spPr>
          <p:txBody>
            <a:bodyPr wrap="square" lIns="0" tIns="0" rIns="0" bIns="0">
              <a:spAutoFit/>
            </a:bodyPr>
            <a:lstStyle/>
            <a:p>
              <a:pPr marL="171450" indent="-171450">
                <a:buFont typeface="Arial" panose="020B0604020202020204" pitchFamily="34" charset="0"/>
                <a:buChar char="•"/>
              </a:pPr>
              <a:r>
                <a:rPr lang="en-GB" altLang="zh-CN" sz="1200" dirty="0" smtClean="0">
                  <a:solidFill>
                    <a:srgbClr val="000000"/>
                  </a:solidFill>
                  <a:latin typeface="+mj-lt"/>
                  <a:ea typeface="宋体" panose="02010600030101010101" pitchFamily="2" charset="-122"/>
                </a:rPr>
                <a:t>Challenges facing GAAR in China</a:t>
              </a:r>
              <a:r>
                <a:rPr lang="zh-CN" altLang="en-GB" sz="1200" dirty="0" smtClean="0">
                  <a:solidFill>
                    <a:srgbClr val="000000"/>
                  </a:solidFill>
                  <a:latin typeface="+mj-lt"/>
                  <a:ea typeface="宋体" panose="02010600030101010101" pitchFamily="2" charset="-122"/>
                </a:rPr>
                <a:t>：</a:t>
              </a:r>
              <a:endParaRPr lang="en-GB" altLang="zh-CN" sz="1200" dirty="0" smtClean="0">
                <a:solidFill>
                  <a:srgbClr val="000000"/>
                </a:solidFill>
                <a:latin typeface="+mj-lt"/>
                <a:ea typeface="宋体" panose="02010600030101010101" pitchFamily="2" charset="-122"/>
              </a:endParaRPr>
            </a:p>
            <a:p>
              <a:pPr marL="504000" lvl="1" indent="-171450">
                <a:spcBef>
                  <a:spcPts val="600"/>
                </a:spcBef>
                <a:buFont typeface="Wingdings" panose="05000000000000000000" pitchFamily="2" charset="2"/>
                <a:buChar char="Ø"/>
              </a:pPr>
              <a:r>
                <a:rPr lang="en-GB" altLang="zh-CN" sz="1200" dirty="0" smtClean="0">
                  <a:solidFill>
                    <a:srgbClr val="000000"/>
                  </a:solidFill>
                  <a:latin typeface="+mj-lt"/>
                  <a:ea typeface="宋体" panose="02010600030101010101" pitchFamily="2" charset="-122"/>
                </a:rPr>
                <a:t>Absence of transparent and efficient GAAR procedures</a:t>
              </a:r>
            </a:p>
            <a:p>
              <a:pPr marL="504000" indent="-171450">
                <a:buFont typeface="Wingdings" panose="05000000000000000000" pitchFamily="2" charset="2"/>
                <a:buChar char="Ø"/>
              </a:pPr>
              <a:r>
                <a:rPr lang="en-GB" altLang="zh-CN" sz="1200" dirty="0" smtClean="0">
                  <a:solidFill>
                    <a:srgbClr val="000000"/>
                  </a:solidFill>
                  <a:latin typeface="+mj-lt"/>
                  <a:ea typeface="宋体" panose="02010600030101010101" pitchFamily="2" charset="-122"/>
                </a:rPr>
                <a:t>Lack of unified standards on GAAR application</a:t>
              </a:r>
            </a:p>
            <a:p>
              <a:endParaRPr lang="en-GB" sz="1000" dirty="0">
                <a:solidFill>
                  <a:srgbClr val="000000"/>
                </a:solidFill>
                <a:latin typeface="宋体" panose="02010600030101010101" pitchFamily="2" charset="-122"/>
                <a:ea typeface="宋体" panose="02010600030101010101" pitchFamily="2" charset="-122"/>
              </a:endParaRPr>
            </a:p>
          </p:txBody>
        </p:sp>
      </p:grpSp>
      <p:sp>
        <p:nvSpPr>
          <p:cNvPr id="94" name="Rectangle 93"/>
          <p:cNvSpPr/>
          <p:nvPr/>
        </p:nvSpPr>
        <p:spPr>
          <a:xfrm>
            <a:off x="6905498" y="5200807"/>
            <a:ext cx="2555223" cy="369332"/>
          </a:xfrm>
          <a:prstGeom prst="rect">
            <a:avLst/>
          </a:prstGeom>
        </p:spPr>
        <p:txBody>
          <a:bodyPr wrap="square" lIns="0" tIns="0" rIns="0" bIns="0">
            <a:spAutoFit/>
          </a:bodyPr>
          <a:lstStyle/>
          <a:p>
            <a:pPr marL="171450" indent="-171450">
              <a:buFont typeface="Arial" panose="020B0604020202020204" pitchFamily="34" charset="0"/>
              <a:buChar char="•"/>
            </a:pPr>
            <a:r>
              <a:rPr lang="en-GB" altLang="zh-CN" sz="1200" dirty="0" smtClean="0">
                <a:solidFill>
                  <a:srgbClr val="000000"/>
                </a:solidFill>
                <a:latin typeface="+mj-lt"/>
                <a:ea typeface="宋体" panose="02010600030101010101" pitchFamily="2" charset="-122"/>
              </a:rPr>
              <a:t>Major cases - </a:t>
            </a:r>
            <a:r>
              <a:rPr lang="en-GB" altLang="zh-CN" sz="1200" b="1" dirty="0" smtClean="0">
                <a:solidFill>
                  <a:srgbClr val="000000"/>
                </a:solidFill>
                <a:latin typeface="+mj-lt"/>
                <a:ea typeface="宋体" panose="02010600030101010101" pitchFamily="2" charset="-122"/>
              </a:rPr>
              <a:t>Indirect Equity Transfer</a:t>
            </a:r>
            <a:endParaRPr lang="en-GB" sz="1200" b="1" dirty="0">
              <a:solidFill>
                <a:srgbClr val="000000"/>
              </a:solidFill>
              <a:latin typeface="+mj-lt"/>
              <a:ea typeface="宋体" panose="02010600030101010101" pitchFamily="2" charset="-122"/>
            </a:endParaRPr>
          </a:p>
        </p:txBody>
      </p:sp>
      <p:sp>
        <p:nvSpPr>
          <p:cNvPr id="95" name="Rectangle 94"/>
          <p:cNvSpPr/>
          <p:nvPr/>
        </p:nvSpPr>
        <p:spPr>
          <a:xfrm>
            <a:off x="497927" y="2133650"/>
            <a:ext cx="9107361" cy="4571900"/>
          </a:xfrm>
          <a:prstGeom prst="rect">
            <a:avLst/>
          </a:prstGeom>
          <a:noFill/>
          <a:ln w="34925">
            <a:solidFill>
              <a:schemeClr val="accent2">
                <a:lumMod val="75000"/>
              </a:schemeClr>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ltLang="zh-CN" dirty="0" smtClean="0"/>
          </a:p>
        </p:txBody>
      </p:sp>
      <p:sp>
        <p:nvSpPr>
          <p:cNvPr id="96" name="TextBox 95"/>
          <p:cNvSpPr txBox="1"/>
          <p:nvPr/>
        </p:nvSpPr>
        <p:spPr>
          <a:xfrm>
            <a:off x="2682172" y="2647000"/>
            <a:ext cx="595187" cy="536577"/>
          </a:xfrm>
          <a:prstGeom prst="rect">
            <a:avLst/>
          </a:prstGeom>
          <a:noFill/>
        </p:spPr>
        <p:txBody>
          <a:bodyPr wrap="none" lIns="0" tIns="0" rIns="0" bIns="0" rtlCol="0">
            <a:noAutofit/>
          </a:bodyPr>
          <a:lstStyle/>
          <a:p>
            <a:pPr algn="r">
              <a:spcAft>
                <a:spcPts val="900"/>
              </a:spcAft>
            </a:pPr>
            <a:r>
              <a:rPr lang="en-GB" sz="3200" b="1" dirty="0" smtClean="0">
                <a:solidFill>
                  <a:schemeClr val="accent4">
                    <a:lumMod val="60000"/>
                    <a:lumOff val="40000"/>
                  </a:schemeClr>
                </a:solidFill>
                <a:latin typeface="+mj-lt"/>
              </a:rPr>
              <a:t>0</a:t>
            </a:r>
            <a:r>
              <a:rPr lang="en-GB" altLang="zh-CN" sz="3200" b="1" dirty="0" smtClean="0">
                <a:solidFill>
                  <a:schemeClr val="accent4">
                    <a:lumMod val="60000"/>
                    <a:lumOff val="40000"/>
                  </a:schemeClr>
                </a:solidFill>
                <a:latin typeface="+mj-lt"/>
              </a:rPr>
              <a:t>1</a:t>
            </a:r>
            <a:endParaRPr lang="en-GB" sz="3200" b="1" dirty="0" smtClean="0">
              <a:solidFill>
                <a:schemeClr val="accent4">
                  <a:lumMod val="60000"/>
                  <a:lumOff val="40000"/>
                </a:schemeClr>
              </a:solidFill>
              <a:latin typeface="+mj-lt"/>
            </a:endParaRPr>
          </a:p>
        </p:txBody>
      </p:sp>
      <p:grpSp>
        <p:nvGrpSpPr>
          <p:cNvPr id="97" name="Group 96"/>
          <p:cNvGrpSpPr/>
          <p:nvPr/>
        </p:nvGrpSpPr>
        <p:grpSpPr>
          <a:xfrm>
            <a:off x="6483096" y="3939039"/>
            <a:ext cx="564776" cy="564776"/>
            <a:chOff x="8447928" y="2258092"/>
            <a:chExt cx="612000" cy="612000"/>
          </a:xfrm>
          <a:effectLst>
            <a:outerShdw blurRad="76200" dir="18900000" sy="23000" kx="-1200000" algn="bl" rotWithShape="0">
              <a:prstClr val="black">
                <a:alpha val="20000"/>
              </a:prstClr>
            </a:outerShdw>
          </a:effectLst>
        </p:grpSpPr>
        <p:sp>
          <p:nvSpPr>
            <p:cNvPr id="98" name="Oval 97"/>
            <p:cNvSpPr/>
            <p:nvPr/>
          </p:nvSpPr>
          <p:spPr bwMode="ltGray">
            <a:xfrm>
              <a:off x="8447928" y="2258092"/>
              <a:ext cx="612000" cy="612000"/>
            </a:xfrm>
            <a:prstGeom prst="ellipse">
              <a:avLst/>
            </a:prstGeom>
            <a:gradFill flip="none" rotWithShape="1">
              <a:gsLst>
                <a:gs pos="0">
                  <a:schemeClr val="bg2">
                    <a:lumMod val="50000"/>
                    <a:shade val="30000"/>
                    <a:satMod val="115000"/>
                  </a:schemeClr>
                </a:gs>
                <a:gs pos="50000">
                  <a:schemeClr val="bg2">
                    <a:lumMod val="50000"/>
                    <a:shade val="67500"/>
                    <a:satMod val="115000"/>
                  </a:schemeClr>
                </a:gs>
                <a:gs pos="100000">
                  <a:schemeClr val="bg2">
                    <a:lumMod val="50000"/>
                    <a:shade val="100000"/>
                    <a:satMod val="115000"/>
                  </a:schemeClr>
                </a:gs>
              </a:gsLst>
              <a:lin ang="10800000" scaled="1"/>
              <a:tileRect/>
            </a:grad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en-GB" altLang="zh-CN" dirty="0" err="1" smtClean="0">
                <a:solidFill>
                  <a:schemeClr val="bg1"/>
                </a:solidFill>
                <a:latin typeface="Georgia" pitchFamily="18" charset="0"/>
              </a:endParaRPr>
            </a:p>
          </p:txBody>
        </p:sp>
        <p:sp>
          <p:nvSpPr>
            <p:cNvPr id="99" name="Freeform 4960"/>
            <p:cNvSpPr>
              <a:spLocks noEditPoints="1"/>
            </p:cNvSpPr>
            <p:nvPr/>
          </p:nvSpPr>
          <p:spPr bwMode="auto">
            <a:xfrm>
              <a:off x="8559459" y="2479874"/>
              <a:ext cx="421594" cy="221638"/>
            </a:xfrm>
            <a:custGeom>
              <a:avLst/>
              <a:gdLst>
                <a:gd name="T0" fmla="*/ 242 w 350"/>
                <a:gd name="T1" fmla="*/ 32 h 184"/>
                <a:gd name="T2" fmla="*/ 236 w 350"/>
                <a:gd name="T3" fmla="*/ 42 h 184"/>
                <a:gd name="T4" fmla="*/ 78 w 350"/>
                <a:gd name="T5" fmla="*/ 42 h 184"/>
                <a:gd name="T6" fmla="*/ 68 w 350"/>
                <a:gd name="T7" fmla="*/ 36 h 184"/>
                <a:gd name="T8" fmla="*/ 68 w 350"/>
                <a:gd name="T9" fmla="*/ 10 h 184"/>
                <a:gd name="T10" fmla="*/ 74 w 350"/>
                <a:gd name="T11" fmla="*/ 0 h 184"/>
                <a:gd name="T12" fmla="*/ 232 w 350"/>
                <a:gd name="T13" fmla="*/ 0 h 184"/>
                <a:gd name="T14" fmla="*/ 242 w 350"/>
                <a:gd name="T15" fmla="*/ 6 h 184"/>
                <a:gd name="T16" fmla="*/ 34 w 350"/>
                <a:gd name="T17" fmla="*/ 0 h 184"/>
                <a:gd name="T18" fmla="*/ 6 w 350"/>
                <a:gd name="T19" fmla="*/ 0 h 184"/>
                <a:gd name="T20" fmla="*/ 0 w 350"/>
                <a:gd name="T21" fmla="*/ 10 h 184"/>
                <a:gd name="T22" fmla="*/ 0 w 350"/>
                <a:gd name="T23" fmla="*/ 36 h 184"/>
                <a:gd name="T24" fmla="*/ 10 w 350"/>
                <a:gd name="T25" fmla="*/ 42 h 184"/>
                <a:gd name="T26" fmla="*/ 38 w 350"/>
                <a:gd name="T27" fmla="*/ 42 h 184"/>
                <a:gd name="T28" fmla="*/ 44 w 350"/>
                <a:gd name="T29" fmla="*/ 32 h 184"/>
                <a:gd name="T30" fmla="*/ 42 w 350"/>
                <a:gd name="T31" fmla="*/ 6 h 184"/>
                <a:gd name="T32" fmla="*/ 34 w 350"/>
                <a:gd name="T33" fmla="*/ 0 h 184"/>
                <a:gd name="T34" fmla="*/ 174 w 350"/>
                <a:gd name="T35" fmla="*/ 114 h 184"/>
                <a:gd name="T36" fmla="*/ 78 w 350"/>
                <a:gd name="T37" fmla="*/ 70 h 184"/>
                <a:gd name="T38" fmla="*/ 70 w 350"/>
                <a:gd name="T39" fmla="*/ 72 h 184"/>
                <a:gd name="T40" fmla="*/ 68 w 350"/>
                <a:gd name="T41" fmla="*/ 104 h 184"/>
                <a:gd name="T42" fmla="*/ 70 w 350"/>
                <a:gd name="T43" fmla="*/ 110 h 184"/>
                <a:gd name="T44" fmla="*/ 78 w 350"/>
                <a:gd name="T45" fmla="*/ 114 h 184"/>
                <a:gd name="T46" fmla="*/ 10 w 350"/>
                <a:gd name="T47" fmla="*/ 140 h 184"/>
                <a:gd name="T48" fmla="*/ 0 w 350"/>
                <a:gd name="T49" fmla="*/ 146 h 184"/>
                <a:gd name="T50" fmla="*/ 0 w 350"/>
                <a:gd name="T51" fmla="*/ 174 h 184"/>
                <a:gd name="T52" fmla="*/ 6 w 350"/>
                <a:gd name="T53" fmla="*/ 184 h 184"/>
                <a:gd name="T54" fmla="*/ 34 w 350"/>
                <a:gd name="T55" fmla="*/ 184 h 184"/>
                <a:gd name="T56" fmla="*/ 42 w 350"/>
                <a:gd name="T57" fmla="*/ 178 h 184"/>
                <a:gd name="T58" fmla="*/ 44 w 350"/>
                <a:gd name="T59" fmla="*/ 150 h 184"/>
                <a:gd name="T60" fmla="*/ 38 w 350"/>
                <a:gd name="T61" fmla="*/ 142 h 184"/>
                <a:gd name="T62" fmla="*/ 188 w 350"/>
                <a:gd name="T63" fmla="*/ 140 h 184"/>
                <a:gd name="T64" fmla="*/ 74 w 350"/>
                <a:gd name="T65" fmla="*/ 142 h 184"/>
                <a:gd name="T66" fmla="*/ 68 w 350"/>
                <a:gd name="T67" fmla="*/ 150 h 184"/>
                <a:gd name="T68" fmla="*/ 68 w 350"/>
                <a:gd name="T69" fmla="*/ 178 h 184"/>
                <a:gd name="T70" fmla="*/ 78 w 350"/>
                <a:gd name="T71" fmla="*/ 184 h 184"/>
                <a:gd name="T72" fmla="*/ 34 w 350"/>
                <a:gd name="T73" fmla="*/ 70 h 184"/>
                <a:gd name="T74" fmla="*/ 6 w 350"/>
                <a:gd name="T75" fmla="*/ 70 h 184"/>
                <a:gd name="T76" fmla="*/ 0 w 350"/>
                <a:gd name="T77" fmla="*/ 80 h 184"/>
                <a:gd name="T78" fmla="*/ 0 w 350"/>
                <a:gd name="T79" fmla="*/ 108 h 184"/>
                <a:gd name="T80" fmla="*/ 10 w 350"/>
                <a:gd name="T81" fmla="*/ 114 h 184"/>
                <a:gd name="T82" fmla="*/ 38 w 350"/>
                <a:gd name="T83" fmla="*/ 112 h 184"/>
                <a:gd name="T84" fmla="*/ 44 w 350"/>
                <a:gd name="T85" fmla="*/ 104 h 184"/>
                <a:gd name="T86" fmla="*/ 42 w 350"/>
                <a:gd name="T87" fmla="*/ 76 h 184"/>
                <a:gd name="T88" fmla="*/ 34 w 350"/>
                <a:gd name="T89" fmla="*/ 70 h 184"/>
                <a:gd name="T90" fmla="*/ 312 w 350"/>
                <a:gd name="T91" fmla="*/ 0 h 184"/>
                <a:gd name="T92" fmla="*/ 184 w 350"/>
                <a:gd name="T93" fmla="*/ 6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0" h="184">
                  <a:moveTo>
                    <a:pt x="242" y="10"/>
                  </a:moveTo>
                  <a:lnTo>
                    <a:pt x="242" y="32"/>
                  </a:lnTo>
                  <a:lnTo>
                    <a:pt x="242" y="32"/>
                  </a:lnTo>
                  <a:lnTo>
                    <a:pt x="242" y="36"/>
                  </a:lnTo>
                  <a:lnTo>
                    <a:pt x="240" y="40"/>
                  </a:lnTo>
                  <a:lnTo>
                    <a:pt x="236" y="42"/>
                  </a:lnTo>
                  <a:lnTo>
                    <a:pt x="232" y="42"/>
                  </a:lnTo>
                  <a:lnTo>
                    <a:pt x="78" y="42"/>
                  </a:lnTo>
                  <a:lnTo>
                    <a:pt x="78" y="42"/>
                  </a:lnTo>
                  <a:lnTo>
                    <a:pt x="74" y="42"/>
                  </a:lnTo>
                  <a:lnTo>
                    <a:pt x="70" y="40"/>
                  </a:lnTo>
                  <a:lnTo>
                    <a:pt x="68" y="36"/>
                  </a:lnTo>
                  <a:lnTo>
                    <a:pt x="68" y="32"/>
                  </a:lnTo>
                  <a:lnTo>
                    <a:pt x="68" y="10"/>
                  </a:lnTo>
                  <a:lnTo>
                    <a:pt x="68" y="10"/>
                  </a:lnTo>
                  <a:lnTo>
                    <a:pt x="68" y="6"/>
                  </a:lnTo>
                  <a:lnTo>
                    <a:pt x="70" y="2"/>
                  </a:lnTo>
                  <a:lnTo>
                    <a:pt x="74" y="0"/>
                  </a:lnTo>
                  <a:lnTo>
                    <a:pt x="78" y="0"/>
                  </a:lnTo>
                  <a:lnTo>
                    <a:pt x="232" y="0"/>
                  </a:lnTo>
                  <a:lnTo>
                    <a:pt x="232" y="0"/>
                  </a:lnTo>
                  <a:lnTo>
                    <a:pt x="236" y="0"/>
                  </a:lnTo>
                  <a:lnTo>
                    <a:pt x="240" y="2"/>
                  </a:lnTo>
                  <a:lnTo>
                    <a:pt x="242" y="6"/>
                  </a:lnTo>
                  <a:lnTo>
                    <a:pt x="242" y="10"/>
                  </a:lnTo>
                  <a:lnTo>
                    <a:pt x="242" y="10"/>
                  </a:lnTo>
                  <a:close/>
                  <a:moveTo>
                    <a:pt x="34" y="0"/>
                  </a:moveTo>
                  <a:lnTo>
                    <a:pt x="10" y="0"/>
                  </a:lnTo>
                  <a:lnTo>
                    <a:pt x="10" y="0"/>
                  </a:lnTo>
                  <a:lnTo>
                    <a:pt x="6" y="0"/>
                  </a:lnTo>
                  <a:lnTo>
                    <a:pt x="2" y="2"/>
                  </a:lnTo>
                  <a:lnTo>
                    <a:pt x="0" y="6"/>
                  </a:lnTo>
                  <a:lnTo>
                    <a:pt x="0" y="10"/>
                  </a:lnTo>
                  <a:lnTo>
                    <a:pt x="0" y="32"/>
                  </a:lnTo>
                  <a:lnTo>
                    <a:pt x="0" y="32"/>
                  </a:lnTo>
                  <a:lnTo>
                    <a:pt x="0" y="36"/>
                  </a:lnTo>
                  <a:lnTo>
                    <a:pt x="2" y="40"/>
                  </a:lnTo>
                  <a:lnTo>
                    <a:pt x="6" y="42"/>
                  </a:lnTo>
                  <a:lnTo>
                    <a:pt x="10" y="42"/>
                  </a:lnTo>
                  <a:lnTo>
                    <a:pt x="34" y="42"/>
                  </a:lnTo>
                  <a:lnTo>
                    <a:pt x="34" y="42"/>
                  </a:lnTo>
                  <a:lnTo>
                    <a:pt x="38" y="42"/>
                  </a:lnTo>
                  <a:lnTo>
                    <a:pt x="40" y="40"/>
                  </a:lnTo>
                  <a:lnTo>
                    <a:pt x="42" y="36"/>
                  </a:lnTo>
                  <a:lnTo>
                    <a:pt x="44" y="32"/>
                  </a:lnTo>
                  <a:lnTo>
                    <a:pt x="44" y="10"/>
                  </a:lnTo>
                  <a:lnTo>
                    <a:pt x="44" y="10"/>
                  </a:lnTo>
                  <a:lnTo>
                    <a:pt x="42" y="6"/>
                  </a:lnTo>
                  <a:lnTo>
                    <a:pt x="40" y="2"/>
                  </a:lnTo>
                  <a:lnTo>
                    <a:pt x="38" y="0"/>
                  </a:lnTo>
                  <a:lnTo>
                    <a:pt x="34" y="0"/>
                  </a:lnTo>
                  <a:lnTo>
                    <a:pt x="34" y="0"/>
                  </a:lnTo>
                  <a:close/>
                  <a:moveTo>
                    <a:pt x="78" y="114"/>
                  </a:moveTo>
                  <a:lnTo>
                    <a:pt x="174" y="114"/>
                  </a:lnTo>
                  <a:lnTo>
                    <a:pt x="156" y="80"/>
                  </a:lnTo>
                  <a:lnTo>
                    <a:pt x="150" y="70"/>
                  </a:lnTo>
                  <a:lnTo>
                    <a:pt x="78" y="70"/>
                  </a:lnTo>
                  <a:lnTo>
                    <a:pt x="78" y="70"/>
                  </a:lnTo>
                  <a:lnTo>
                    <a:pt x="74" y="70"/>
                  </a:lnTo>
                  <a:lnTo>
                    <a:pt x="70" y="72"/>
                  </a:lnTo>
                  <a:lnTo>
                    <a:pt x="68" y="76"/>
                  </a:lnTo>
                  <a:lnTo>
                    <a:pt x="68" y="80"/>
                  </a:lnTo>
                  <a:lnTo>
                    <a:pt x="68" y="104"/>
                  </a:lnTo>
                  <a:lnTo>
                    <a:pt x="68" y="104"/>
                  </a:lnTo>
                  <a:lnTo>
                    <a:pt x="68" y="108"/>
                  </a:lnTo>
                  <a:lnTo>
                    <a:pt x="70" y="110"/>
                  </a:lnTo>
                  <a:lnTo>
                    <a:pt x="74" y="112"/>
                  </a:lnTo>
                  <a:lnTo>
                    <a:pt x="78" y="114"/>
                  </a:lnTo>
                  <a:lnTo>
                    <a:pt x="78" y="114"/>
                  </a:lnTo>
                  <a:close/>
                  <a:moveTo>
                    <a:pt x="34" y="140"/>
                  </a:moveTo>
                  <a:lnTo>
                    <a:pt x="10" y="140"/>
                  </a:lnTo>
                  <a:lnTo>
                    <a:pt x="10" y="140"/>
                  </a:lnTo>
                  <a:lnTo>
                    <a:pt x="6" y="142"/>
                  </a:lnTo>
                  <a:lnTo>
                    <a:pt x="2" y="144"/>
                  </a:lnTo>
                  <a:lnTo>
                    <a:pt x="0" y="146"/>
                  </a:lnTo>
                  <a:lnTo>
                    <a:pt x="0" y="150"/>
                  </a:lnTo>
                  <a:lnTo>
                    <a:pt x="0" y="174"/>
                  </a:lnTo>
                  <a:lnTo>
                    <a:pt x="0" y="174"/>
                  </a:lnTo>
                  <a:lnTo>
                    <a:pt x="0" y="178"/>
                  </a:lnTo>
                  <a:lnTo>
                    <a:pt x="2" y="182"/>
                  </a:lnTo>
                  <a:lnTo>
                    <a:pt x="6" y="184"/>
                  </a:lnTo>
                  <a:lnTo>
                    <a:pt x="10" y="184"/>
                  </a:lnTo>
                  <a:lnTo>
                    <a:pt x="34" y="184"/>
                  </a:lnTo>
                  <a:lnTo>
                    <a:pt x="34" y="184"/>
                  </a:lnTo>
                  <a:lnTo>
                    <a:pt x="38" y="184"/>
                  </a:lnTo>
                  <a:lnTo>
                    <a:pt x="40" y="182"/>
                  </a:lnTo>
                  <a:lnTo>
                    <a:pt x="42" y="178"/>
                  </a:lnTo>
                  <a:lnTo>
                    <a:pt x="44" y="174"/>
                  </a:lnTo>
                  <a:lnTo>
                    <a:pt x="44" y="150"/>
                  </a:lnTo>
                  <a:lnTo>
                    <a:pt x="44" y="150"/>
                  </a:lnTo>
                  <a:lnTo>
                    <a:pt x="42" y="146"/>
                  </a:lnTo>
                  <a:lnTo>
                    <a:pt x="40" y="144"/>
                  </a:lnTo>
                  <a:lnTo>
                    <a:pt x="38" y="142"/>
                  </a:lnTo>
                  <a:lnTo>
                    <a:pt x="34" y="140"/>
                  </a:lnTo>
                  <a:lnTo>
                    <a:pt x="34" y="140"/>
                  </a:lnTo>
                  <a:close/>
                  <a:moveTo>
                    <a:pt x="188" y="140"/>
                  </a:moveTo>
                  <a:lnTo>
                    <a:pt x="78" y="140"/>
                  </a:lnTo>
                  <a:lnTo>
                    <a:pt x="78" y="140"/>
                  </a:lnTo>
                  <a:lnTo>
                    <a:pt x="74" y="142"/>
                  </a:lnTo>
                  <a:lnTo>
                    <a:pt x="70" y="144"/>
                  </a:lnTo>
                  <a:lnTo>
                    <a:pt x="68" y="146"/>
                  </a:lnTo>
                  <a:lnTo>
                    <a:pt x="68" y="150"/>
                  </a:lnTo>
                  <a:lnTo>
                    <a:pt x="68" y="174"/>
                  </a:lnTo>
                  <a:lnTo>
                    <a:pt x="68" y="174"/>
                  </a:lnTo>
                  <a:lnTo>
                    <a:pt x="68" y="178"/>
                  </a:lnTo>
                  <a:lnTo>
                    <a:pt x="70" y="182"/>
                  </a:lnTo>
                  <a:lnTo>
                    <a:pt x="74" y="184"/>
                  </a:lnTo>
                  <a:lnTo>
                    <a:pt x="78" y="184"/>
                  </a:lnTo>
                  <a:lnTo>
                    <a:pt x="212" y="184"/>
                  </a:lnTo>
                  <a:lnTo>
                    <a:pt x="188" y="140"/>
                  </a:lnTo>
                  <a:close/>
                  <a:moveTo>
                    <a:pt x="34" y="70"/>
                  </a:moveTo>
                  <a:lnTo>
                    <a:pt x="10" y="70"/>
                  </a:lnTo>
                  <a:lnTo>
                    <a:pt x="10" y="70"/>
                  </a:lnTo>
                  <a:lnTo>
                    <a:pt x="6" y="70"/>
                  </a:lnTo>
                  <a:lnTo>
                    <a:pt x="2" y="72"/>
                  </a:lnTo>
                  <a:lnTo>
                    <a:pt x="0" y="76"/>
                  </a:lnTo>
                  <a:lnTo>
                    <a:pt x="0" y="80"/>
                  </a:lnTo>
                  <a:lnTo>
                    <a:pt x="0" y="104"/>
                  </a:lnTo>
                  <a:lnTo>
                    <a:pt x="0" y="104"/>
                  </a:lnTo>
                  <a:lnTo>
                    <a:pt x="0" y="108"/>
                  </a:lnTo>
                  <a:lnTo>
                    <a:pt x="2" y="110"/>
                  </a:lnTo>
                  <a:lnTo>
                    <a:pt x="6" y="112"/>
                  </a:lnTo>
                  <a:lnTo>
                    <a:pt x="10" y="114"/>
                  </a:lnTo>
                  <a:lnTo>
                    <a:pt x="34" y="114"/>
                  </a:lnTo>
                  <a:lnTo>
                    <a:pt x="34" y="114"/>
                  </a:lnTo>
                  <a:lnTo>
                    <a:pt x="38" y="112"/>
                  </a:lnTo>
                  <a:lnTo>
                    <a:pt x="40" y="110"/>
                  </a:lnTo>
                  <a:lnTo>
                    <a:pt x="42" y="108"/>
                  </a:lnTo>
                  <a:lnTo>
                    <a:pt x="44" y="104"/>
                  </a:lnTo>
                  <a:lnTo>
                    <a:pt x="44" y="80"/>
                  </a:lnTo>
                  <a:lnTo>
                    <a:pt x="44" y="80"/>
                  </a:lnTo>
                  <a:lnTo>
                    <a:pt x="42" y="76"/>
                  </a:lnTo>
                  <a:lnTo>
                    <a:pt x="40" y="72"/>
                  </a:lnTo>
                  <a:lnTo>
                    <a:pt x="38" y="70"/>
                  </a:lnTo>
                  <a:lnTo>
                    <a:pt x="34" y="70"/>
                  </a:lnTo>
                  <a:lnTo>
                    <a:pt x="34" y="70"/>
                  </a:lnTo>
                  <a:close/>
                  <a:moveTo>
                    <a:pt x="350" y="0"/>
                  </a:moveTo>
                  <a:lnTo>
                    <a:pt x="312" y="0"/>
                  </a:lnTo>
                  <a:lnTo>
                    <a:pt x="248" y="116"/>
                  </a:lnTo>
                  <a:lnTo>
                    <a:pt x="220" y="66"/>
                  </a:lnTo>
                  <a:lnTo>
                    <a:pt x="184" y="66"/>
                  </a:lnTo>
                  <a:lnTo>
                    <a:pt x="248" y="184"/>
                  </a:lnTo>
                  <a:lnTo>
                    <a:pt x="350"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tLang="zh-CN" dirty="0"/>
            </a:p>
          </p:txBody>
        </p:sp>
      </p:grpSp>
      <p:grpSp>
        <p:nvGrpSpPr>
          <p:cNvPr id="100" name="Group 99"/>
          <p:cNvGrpSpPr/>
          <p:nvPr/>
        </p:nvGrpSpPr>
        <p:grpSpPr>
          <a:xfrm>
            <a:off x="3064490" y="3959507"/>
            <a:ext cx="536257" cy="536257"/>
            <a:chOff x="9322641" y="3474401"/>
            <a:chExt cx="612000" cy="612000"/>
          </a:xfrm>
        </p:grpSpPr>
        <p:sp>
          <p:nvSpPr>
            <p:cNvPr id="101" name="Oval 100"/>
            <p:cNvSpPr/>
            <p:nvPr/>
          </p:nvSpPr>
          <p:spPr bwMode="ltGray">
            <a:xfrm>
              <a:off x="9322641" y="3474401"/>
              <a:ext cx="612000" cy="612000"/>
            </a:xfrm>
            <a:prstGeom prst="ellipse">
              <a:avLst/>
            </a:prstGeom>
            <a:gradFill flip="none" rotWithShape="1">
              <a:gsLst>
                <a:gs pos="0">
                  <a:schemeClr val="bg1">
                    <a:lumMod val="50000"/>
                    <a:shade val="30000"/>
                    <a:satMod val="115000"/>
                  </a:schemeClr>
                </a:gs>
                <a:gs pos="50000">
                  <a:schemeClr val="bg1">
                    <a:lumMod val="50000"/>
                    <a:shade val="67500"/>
                    <a:satMod val="115000"/>
                  </a:schemeClr>
                </a:gs>
                <a:gs pos="100000">
                  <a:schemeClr val="bg1">
                    <a:lumMod val="50000"/>
                    <a:shade val="100000"/>
                    <a:satMod val="115000"/>
                  </a:schemeClr>
                </a:gs>
              </a:gsLst>
              <a:lin ang="2700000" scaled="1"/>
              <a:tileRect/>
            </a:gradFill>
            <a:ln/>
            <a:effectLst>
              <a:outerShdw blurRad="76200" dir="13500000" sy="23000" kx="1200000" algn="br" rotWithShape="0">
                <a:prstClr val="black">
                  <a:alpha val="20000"/>
                </a:prstClr>
              </a:outerShdw>
            </a:effectLst>
          </p:spPr>
          <p:style>
            <a:lnRef idx="1">
              <a:schemeClr val="accent6"/>
            </a:lnRef>
            <a:fillRef idx="3">
              <a:schemeClr val="accent6"/>
            </a:fillRef>
            <a:effectRef idx="2">
              <a:schemeClr val="accent6"/>
            </a:effectRef>
            <a:fontRef idx="minor">
              <a:schemeClr val="lt1"/>
            </a:fontRef>
          </p:style>
          <p:txBody>
            <a:bodyPr rtlCol="0" anchor="ctr"/>
            <a:lstStyle/>
            <a:p>
              <a:pPr algn="ctr"/>
              <a:endParaRPr lang="en-GB" altLang="zh-CN" dirty="0" err="1" smtClean="0">
                <a:solidFill>
                  <a:schemeClr val="bg1"/>
                </a:solidFill>
                <a:latin typeface="Georgia" pitchFamily="18" charset="0"/>
              </a:endParaRPr>
            </a:p>
          </p:txBody>
        </p:sp>
        <p:sp>
          <p:nvSpPr>
            <p:cNvPr id="102" name="Freeform 4993"/>
            <p:cNvSpPr>
              <a:spLocks noEditPoints="1"/>
            </p:cNvSpPr>
            <p:nvPr/>
          </p:nvSpPr>
          <p:spPr bwMode="auto">
            <a:xfrm>
              <a:off x="9465212" y="3531032"/>
              <a:ext cx="407068" cy="465220"/>
            </a:xfrm>
            <a:custGeom>
              <a:avLst/>
              <a:gdLst>
                <a:gd name="T0" fmla="*/ 188 w 336"/>
                <a:gd name="T1" fmla="*/ 270 h 384"/>
                <a:gd name="T2" fmla="*/ 204 w 336"/>
                <a:gd name="T3" fmla="*/ 282 h 384"/>
                <a:gd name="T4" fmla="*/ 226 w 336"/>
                <a:gd name="T5" fmla="*/ 306 h 384"/>
                <a:gd name="T6" fmla="*/ 228 w 336"/>
                <a:gd name="T7" fmla="*/ 320 h 384"/>
                <a:gd name="T8" fmla="*/ 212 w 336"/>
                <a:gd name="T9" fmla="*/ 348 h 384"/>
                <a:gd name="T10" fmla="*/ 166 w 336"/>
                <a:gd name="T11" fmla="*/ 368 h 384"/>
                <a:gd name="T12" fmla="*/ 116 w 336"/>
                <a:gd name="T13" fmla="*/ 376 h 384"/>
                <a:gd name="T14" fmla="*/ 10 w 336"/>
                <a:gd name="T15" fmla="*/ 384 h 384"/>
                <a:gd name="T16" fmla="*/ 2 w 336"/>
                <a:gd name="T17" fmla="*/ 380 h 384"/>
                <a:gd name="T18" fmla="*/ 0 w 336"/>
                <a:gd name="T19" fmla="*/ 374 h 384"/>
                <a:gd name="T20" fmla="*/ 6 w 336"/>
                <a:gd name="T21" fmla="*/ 364 h 384"/>
                <a:gd name="T22" fmla="*/ 54 w 336"/>
                <a:gd name="T23" fmla="*/ 362 h 384"/>
                <a:gd name="T24" fmla="*/ 156 w 336"/>
                <a:gd name="T25" fmla="*/ 350 h 384"/>
                <a:gd name="T26" fmla="*/ 206 w 336"/>
                <a:gd name="T27" fmla="*/ 328 h 384"/>
                <a:gd name="T28" fmla="*/ 208 w 336"/>
                <a:gd name="T29" fmla="*/ 320 h 384"/>
                <a:gd name="T30" fmla="*/ 192 w 336"/>
                <a:gd name="T31" fmla="*/ 300 h 384"/>
                <a:gd name="T32" fmla="*/ 176 w 336"/>
                <a:gd name="T33" fmla="*/ 286 h 384"/>
                <a:gd name="T34" fmla="*/ 166 w 336"/>
                <a:gd name="T35" fmla="*/ 264 h 384"/>
                <a:gd name="T36" fmla="*/ 172 w 336"/>
                <a:gd name="T37" fmla="*/ 246 h 384"/>
                <a:gd name="T38" fmla="*/ 194 w 336"/>
                <a:gd name="T39" fmla="*/ 228 h 384"/>
                <a:gd name="T40" fmla="*/ 254 w 336"/>
                <a:gd name="T41" fmla="*/ 212 h 384"/>
                <a:gd name="T42" fmla="*/ 326 w 336"/>
                <a:gd name="T43" fmla="*/ 206 h 384"/>
                <a:gd name="T44" fmla="*/ 334 w 336"/>
                <a:gd name="T45" fmla="*/ 212 h 384"/>
                <a:gd name="T46" fmla="*/ 334 w 336"/>
                <a:gd name="T47" fmla="*/ 220 h 384"/>
                <a:gd name="T48" fmla="*/ 326 w 336"/>
                <a:gd name="T49" fmla="*/ 226 h 384"/>
                <a:gd name="T50" fmla="*/ 264 w 336"/>
                <a:gd name="T51" fmla="*/ 230 h 384"/>
                <a:gd name="T52" fmla="*/ 206 w 336"/>
                <a:gd name="T53" fmla="*/ 244 h 384"/>
                <a:gd name="T54" fmla="*/ 186 w 336"/>
                <a:gd name="T55" fmla="*/ 264 h 384"/>
                <a:gd name="T56" fmla="*/ 174 w 336"/>
                <a:gd name="T57" fmla="*/ 70 h 384"/>
                <a:gd name="T58" fmla="*/ 186 w 336"/>
                <a:gd name="T59" fmla="*/ 10 h 384"/>
                <a:gd name="T60" fmla="*/ 136 w 336"/>
                <a:gd name="T61" fmla="*/ 0 h 384"/>
                <a:gd name="T62" fmla="*/ 114 w 336"/>
                <a:gd name="T63" fmla="*/ 36 h 384"/>
                <a:gd name="T64" fmla="*/ 62 w 336"/>
                <a:gd name="T65" fmla="*/ 144 h 384"/>
                <a:gd name="T66" fmla="*/ 82 w 336"/>
                <a:gd name="T67" fmla="*/ 204 h 384"/>
                <a:gd name="T68" fmla="*/ 122 w 336"/>
                <a:gd name="T69" fmla="*/ 216 h 384"/>
                <a:gd name="T70" fmla="*/ 192 w 336"/>
                <a:gd name="T71" fmla="*/ 124 h 384"/>
                <a:gd name="T72" fmla="*/ 228 w 336"/>
                <a:gd name="T73" fmla="*/ 62 h 384"/>
                <a:gd name="T74" fmla="*/ 222 w 336"/>
                <a:gd name="T75" fmla="*/ 24 h 384"/>
                <a:gd name="T76" fmla="*/ 190 w 336"/>
                <a:gd name="T77" fmla="*/ 80 h 384"/>
                <a:gd name="T78" fmla="*/ 118 w 336"/>
                <a:gd name="T79" fmla="*/ 188 h 384"/>
                <a:gd name="T80" fmla="*/ 110 w 336"/>
                <a:gd name="T81" fmla="*/ 192 h 384"/>
                <a:gd name="T82" fmla="*/ 104 w 336"/>
                <a:gd name="T83" fmla="*/ 190 h 384"/>
                <a:gd name="T84" fmla="*/ 100 w 336"/>
                <a:gd name="T85" fmla="*/ 184 h 384"/>
                <a:gd name="T86" fmla="*/ 104 w 336"/>
                <a:gd name="T87" fmla="*/ 176 h 384"/>
                <a:gd name="T88" fmla="*/ 174 w 336"/>
                <a:gd name="T89" fmla="*/ 70 h 384"/>
                <a:gd name="T90" fmla="*/ 40 w 336"/>
                <a:gd name="T91" fmla="*/ 232 h 384"/>
                <a:gd name="T92" fmla="*/ 60 w 336"/>
                <a:gd name="T93" fmla="*/ 242 h 384"/>
                <a:gd name="T94" fmla="*/ 78 w 336"/>
                <a:gd name="T95" fmla="*/ 254 h 384"/>
                <a:gd name="T96" fmla="*/ 46 w 336"/>
                <a:gd name="T97" fmla="*/ 252 h 384"/>
                <a:gd name="T98" fmla="*/ 22 w 336"/>
                <a:gd name="T99" fmla="*/ 244 h 384"/>
                <a:gd name="T100" fmla="*/ 4 w 336"/>
                <a:gd name="T101" fmla="*/ 338 h 384"/>
                <a:gd name="T102" fmla="*/ 82 w 336"/>
                <a:gd name="T103" fmla="*/ 284 h 384"/>
                <a:gd name="T104" fmla="*/ 58 w 336"/>
                <a:gd name="T105" fmla="*/ 258 h 384"/>
                <a:gd name="T106" fmla="*/ 34 w 336"/>
                <a:gd name="T107" fmla="*/ 296 h 384"/>
                <a:gd name="T108" fmla="*/ 28 w 336"/>
                <a:gd name="T109" fmla="*/ 296 h 384"/>
                <a:gd name="T110" fmla="*/ 26 w 336"/>
                <a:gd name="T111" fmla="*/ 28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6" h="384">
                  <a:moveTo>
                    <a:pt x="186" y="264"/>
                  </a:moveTo>
                  <a:lnTo>
                    <a:pt x="186" y="264"/>
                  </a:lnTo>
                  <a:lnTo>
                    <a:pt x="188" y="270"/>
                  </a:lnTo>
                  <a:lnTo>
                    <a:pt x="192" y="274"/>
                  </a:lnTo>
                  <a:lnTo>
                    <a:pt x="204" y="282"/>
                  </a:lnTo>
                  <a:lnTo>
                    <a:pt x="204" y="282"/>
                  </a:lnTo>
                  <a:lnTo>
                    <a:pt x="212" y="288"/>
                  </a:lnTo>
                  <a:lnTo>
                    <a:pt x="220" y="296"/>
                  </a:lnTo>
                  <a:lnTo>
                    <a:pt x="226" y="306"/>
                  </a:lnTo>
                  <a:lnTo>
                    <a:pt x="228" y="312"/>
                  </a:lnTo>
                  <a:lnTo>
                    <a:pt x="228" y="320"/>
                  </a:lnTo>
                  <a:lnTo>
                    <a:pt x="228" y="320"/>
                  </a:lnTo>
                  <a:lnTo>
                    <a:pt x="226" y="330"/>
                  </a:lnTo>
                  <a:lnTo>
                    <a:pt x="222" y="338"/>
                  </a:lnTo>
                  <a:lnTo>
                    <a:pt x="212" y="348"/>
                  </a:lnTo>
                  <a:lnTo>
                    <a:pt x="200" y="354"/>
                  </a:lnTo>
                  <a:lnTo>
                    <a:pt x="184" y="362"/>
                  </a:lnTo>
                  <a:lnTo>
                    <a:pt x="166" y="368"/>
                  </a:lnTo>
                  <a:lnTo>
                    <a:pt x="142" y="372"/>
                  </a:lnTo>
                  <a:lnTo>
                    <a:pt x="116" y="376"/>
                  </a:lnTo>
                  <a:lnTo>
                    <a:pt x="116" y="376"/>
                  </a:lnTo>
                  <a:lnTo>
                    <a:pt x="78" y="380"/>
                  </a:lnTo>
                  <a:lnTo>
                    <a:pt x="44" y="382"/>
                  </a:lnTo>
                  <a:lnTo>
                    <a:pt x="10" y="384"/>
                  </a:lnTo>
                  <a:lnTo>
                    <a:pt x="10" y="384"/>
                  </a:lnTo>
                  <a:lnTo>
                    <a:pt x="6" y="382"/>
                  </a:lnTo>
                  <a:lnTo>
                    <a:pt x="2" y="380"/>
                  </a:lnTo>
                  <a:lnTo>
                    <a:pt x="0" y="378"/>
                  </a:lnTo>
                  <a:lnTo>
                    <a:pt x="0" y="374"/>
                  </a:lnTo>
                  <a:lnTo>
                    <a:pt x="0" y="374"/>
                  </a:lnTo>
                  <a:lnTo>
                    <a:pt x="0" y="370"/>
                  </a:lnTo>
                  <a:lnTo>
                    <a:pt x="2" y="366"/>
                  </a:lnTo>
                  <a:lnTo>
                    <a:pt x="6" y="364"/>
                  </a:lnTo>
                  <a:lnTo>
                    <a:pt x="10" y="364"/>
                  </a:lnTo>
                  <a:lnTo>
                    <a:pt x="10" y="364"/>
                  </a:lnTo>
                  <a:lnTo>
                    <a:pt x="54" y="362"/>
                  </a:lnTo>
                  <a:lnTo>
                    <a:pt x="92" y="360"/>
                  </a:lnTo>
                  <a:lnTo>
                    <a:pt x="126" y="354"/>
                  </a:lnTo>
                  <a:lnTo>
                    <a:pt x="156" y="350"/>
                  </a:lnTo>
                  <a:lnTo>
                    <a:pt x="178" y="342"/>
                  </a:lnTo>
                  <a:lnTo>
                    <a:pt x="194" y="336"/>
                  </a:lnTo>
                  <a:lnTo>
                    <a:pt x="206" y="328"/>
                  </a:lnTo>
                  <a:lnTo>
                    <a:pt x="208" y="324"/>
                  </a:lnTo>
                  <a:lnTo>
                    <a:pt x="208" y="320"/>
                  </a:lnTo>
                  <a:lnTo>
                    <a:pt x="208" y="320"/>
                  </a:lnTo>
                  <a:lnTo>
                    <a:pt x="208" y="314"/>
                  </a:lnTo>
                  <a:lnTo>
                    <a:pt x="204" y="308"/>
                  </a:lnTo>
                  <a:lnTo>
                    <a:pt x="192" y="300"/>
                  </a:lnTo>
                  <a:lnTo>
                    <a:pt x="192" y="300"/>
                  </a:lnTo>
                  <a:lnTo>
                    <a:pt x="184" y="294"/>
                  </a:lnTo>
                  <a:lnTo>
                    <a:pt x="176" y="286"/>
                  </a:lnTo>
                  <a:lnTo>
                    <a:pt x="170" y="276"/>
                  </a:lnTo>
                  <a:lnTo>
                    <a:pt x="168" y="270"/>
                  </a:lnTo>
                  <a:lnTo>
                    <a:pt x="166" y="264"/>
                  </a:lnTo>
                  <a:lnTo>
                    <a:pt x="166" y="264"/>
                  </a:lnTo>
                  <a:lnTo>
                    <a:pt x="168" y="254"/>
                  </a:lnTo>
                  <a:lnTo>
                    <a:pt x="172" y="246"/>
                  </a:lnTo>
                  <a:lnTo>
                    <a:pt x="178" y="240"/>
                  </a:lnTo>
                  <a:lnTo>
                    <a:pt x="186" y="234"/>
                  </a:lnTo>
                  <a:lnTo>
                    <a:pt x="194" y="228"/>
                  </a:lnTo>
                  <a:lnTo>
                    <a:pt x="204" y="224"/>
                  </a:lnTo>
                  <a:lnTo>
                    <a:pt x="228" y="216"/>
                  </a:lnTo>
                  <a:lnTo>
                    <a:pt x="254" y="212"/>
                  </a:lnTo>
                  <a:lnTo>
                    <a:pt x="280" y="208"/>
                  </a:lnTo>
                  <a:lnTo>
                    <a:pt x="326" y="206"/>
                  </a:lnTo>
                  <a:lnTo>
                    <a:pt x="326" y="206"/>
                  </a:lnTo>
                  <a:lnTo>
                    <a:pt x="330" y="208"/>
                  </a:lnTo>
                  <a:lnTo>
                    <a:pt x="332" y="210"/>
                  </a:lnTo>
                  <a:lnTo>
                    <a:pt x="334" y="212"/>
                  </a:lnTo>
                  <a:lnTo>
                    <a:pt x="336" y="216"/>
                  </a:lnTo>
                  <a:lnTo>
                    <a:pt x="336" y="216"/>
                  </a:lnTo>
                  <a:lnTo>
                    <a:pt x="334" y="220"/>
                  </a:lnTo>
                  <a:lnTo>
                    <a:pt x="332" y="224"/>
                  </a:lnTo>
                  <a:lnTo>
                    <a:pt x="330" y="226"/>
                  </a:lnTo>
                  <a:lnTo>
                    <a:pt x="326" y="226"/>
                  </a:lnTo>
                  <a:lnTo>
                    <a:pt x="326" y="226"/>
                  </a:lnTo>
                  <a:lnTo>
                    <a:pt x="292" y="228"/>
                  </a:lnTo>
                  <a:lnTo>
                    <a:pt x="264" y="230"/>
                  </a:lnTo>
                  <a:lnTo>
                    <a:pt x="240" y="234"/>
                  </a:lnTo>
                  <a:lnTo>
                    <a:pt x="220" y="238"/>
                  </a:lnTo>
                  <a:lnTo>
                    <a:pt x="206" y="244"/>
                  </a:lnTo>
                  <a:lnTo>
                    <a:pt x="196" y="250"/>
                  </a:lnTo>
                  <a:lnTo>
                    <a:pt x="188" y="258"/>
                  </a:lnTo>
                  <a:lnTo>
                    <a:pt x="186" y="264"/>
                  </a:lnTo>
                  <a:lnTo>
                    <a:pt x="186" y="264"/>
                  </a:lnTo>
                  <a:close/>
                  <a:moveTo>
                    <a:pt x="174" y="70"/>
                  </a:moveTo>
                  <a:lnTo>
                    <a:pt x="174" y="70"/>
                  </a:lnTo>
                  <a:lnTo>
                    <a:pt x="204" y="16"/>
                  </a:lnTo>
                  <a:lnTo>
                    <a:pt x="204" y="16"/>
                  </a:lnTo>
                  <a:lnTo>
                    <a:pt x="186" y="10"/>
                  </a:lnTo>
                  <a:lnTo>
                    <a:pt x="170" y="4"/>
                  </a:lnTo>
                  <a:lnTo>
                    <a:pt x="152" y="2"/>
                  </a:lnTo>
                  <a:lnTo>
                    <a:pt x="136" y="0"/>
                  </a:lnTo>
                  <a:lnTo>
                    <a:pt x="136" y="0"/>
                  </a:lnTo>
                  <a:lnTo>
                    <a:pt x="114" y="36"/>
                  </a:lnTo>
                  <a:lnTo>
                    <a:pt x="114" y="36"/>
                  </a:lnTo>
                  <a:lnTo>
                    <a:pt x="96" y="68"/>
                  </a:lnTo>
                  <a:lnTo>
                    <a:pt x="82" y="96"/>
                  </a:lnTo>
                  <a:lnTo>
                    <a:pt x="62" y="144"/>
                  </a:lnTo>
                  <a:lnTo>
                    <a:pt x="52" y="176"/>
                  </a:lnTo>
                  <a:lnTo>
                    <a:pt x="48" y="186"/>
                  </a:lnTo>
                  <a:lnTo>
                    <a:pt x="82" y="204"/>
                  </a:lnTo>
                  <a:lnTo>
                    <a:pt x="114" y="224"/>
                  </a:lnTo>
                  <a:lnTo>
                    <a:pt x="114" y="224"/>
                  </a:lnTo>
                  <a:lnTo>
                    <a:pt x="122" y="216"/>
                  </a:lnTo>
                  <a:lnTo>
                    <a:pt x="142" y="192"/>
                  </a:lnTo>
                  <a:lnTo>
                    <a:pt x="174" y="150"/>
                  </a:lnTo>
                  <a:lnTo>
                    <a:pt x="192" y="124"/>
                  </a:lnTo>
                  <a:lnTo>
                    <a:pt x="212" y="92"/>
                  </a:lnTo>
                  <a:lnTo>
                    <a:pt x="212" y="92"/>
                  </a:lnTo>
                  <a:lnTo>
                    <a:pt x="228" y="62"/>
                  </a:lnTo>
                  <a:lnTo>
                    <a:pt x="242" y="36"/>
                  </a:lnTo>
                  <a:lnTo>
                    <a:pt x="242" y="36"/>
                  </a:lnTo>
                  <a:lnTo>
                    <a:pt x="222" y="24"/>
                  </a:lnTo>
                  <a:lnTo>
                    <a:pt x="222" y="24"/>
                  </a:lnTo>
                  <a:lnTo>
                    <a:pt x="190" y="80"/>
                  </a:lnTo>
                  <a:lnTo>
                    <a:pt x="190" y="80"/>
                  </a:lnTo>
                  <a:lnTo>
                    <a:pt x="162" y="126"/>
                  </a:lnTo>
                  <a:lnTo>
                    <a:pt x="140" y="160"/>
                  </a:lnTo>
                  <a:lnTo>
                    <a:pt x="118" y="188"/>
                  </a:lnTo>
                  <a:lnTo>
                    <a:pt x="118" y="188"/>
                  </a:lnTo>
                  <a:lnTo>
                    <a:pt x="116" y="192"/>
                  </a:lnTo>
                  <a:lnTo>
                    <a:pt x="110" y="192"/>
                  </a:lnTo>
                  <a:lnTo>
                    <a:pt x="110" y="192"/>
                  </a:lnTo>
                  <a:lnTo>
                    <a:pt x="108" y="192"/>
                  </a:lnTo>
                  <a:lnTo>
                    <a:pt x="104" y="190"/>
                  </a:lnTo>
                  <a:lnTo>
                    <a:pt x="104" y="190"/>
                  </a:lnTo>
                  <a:lnTo>
                    <a:pt x="102" y="186"/>
                  </a:lnTo>
                  <a:lnTo>
                    <a:pt x="100" y="184"/>
                  </a:lnTo>
                  <a:lnTo>
                    <a:pt x="102" y="180"/>
                  </a:lnTo>
                  <a:lnTo>
                    <a:pt x="104" y="176"/>
                  </a:lnTo>
                  <a:lnTo>
                    <a:pt x="104" y="176"/>
                  </a:lnTo>
                  <a:lnTo>
                    <a:pt x="124" y="148"/>
                  </a:lnTo>
                  <a:lnTo>
                    <a:pt x="146" y="116"/>
                  </a:lnTo>
                  <a:lnTo>
                    <a:pt x="174" y="70"/>
                  </a:lnTo>
                  <a:lnTo>
                    <a:pt x="174" y="70"/>
                  </a:lnTo>
                  <a:close/>
                  <a:moveTo>
                    <a:pt x="44" y="202"/>
                  </a:moveTo>
                  <a:lnTo>
                    <a:pt x="40" y="232"/>
                  </a:lnTo>
                  <a:lnTo>
                    <a:pt x="40" y="232"/>
                  </a:lnTo>
                  <a:lnTo>
                    <a:pt x="50" y="236"/>
                  </a:lnTo>
                  <a:lnTo>
                    <a:pt x="60" y="242"/>
                  </a:lnTo>
                  <a:lnTo>
                    <a:pt x="60" y="242"/>
                  </a:lnTo>
                  <a:lnTo>
                    <a:pt x="70" y="248"/>
                  </a:lnTo>
                  <a:lnTo>
                    <a:pt x="78" y="254"/>
                  </a:lnTo>
                  <a:lnTo>
                    <a:pt x="100" y="236"/>
                  </a:lnTo>
                  <a:lnTo>
                    <a:pt x="44" y="202"/>
                  </a:lnTo>
                  <a:close/>
                  <a:moveTo>
                    <a:pt x="46" y="252"/>
                  </a:moveTo>
                  <a:lnTo>
                    <a:pt x="46" y="252"/>
                  </a:lnTo>
                  <a:lnTo>
                    <a:pt x="34" y="246"/>
                  </a:lnTo>
                  <a:lnTo>
                    <a:pt x="22" y="244"/>
                  </a:lnTo>
                  <a:lnTo>
                    <a:pt x="12" y="244"/>
                  </a:lnTo>
                  <a:lnTo>
                    <a:pt x="4" y="244"/>
                  </a:lnTo>
                  <a:lnTo>
                    <a:pt x="4" y="338"/>
                  </a:lnTo>
                  <a:lnTo>
                    <a:pt x="84" y="292"/>
                  </a:lnTo>
                  <a:lnTo>
                    <a:pt x="84" y="292"/>
                  </a:lnTo>
                  <a:lnTo>
                    <a:pt x="82" y="284"/>
                  </a:lnTo>
                  <a:lnTo>
                    <a:pt x="76" y="276"/>
                  </a:lnTo>
                  <a:lnTo>
                    <a:pt x="68" y="266"/>
                  </a:lnTo>
                  <a:lnTo>
                    <a:pt x="58" y="258"/>
                  </a:lnTo>
                  <a:lnTo>
                    <a:pt x="36" y="294"/>
                  </a:lnTo>
                  <a:lnTo>
                    <a:pt x="36" y="294"/>
                  </a:lnTo>
                  <a:lnTo>
                    <a:pt x="34" y="296"/>
                  </a:lnTo>
                  <a:lnTo>
                    <a:pt x="32" y="296"/>
                  </a:lnTo>
                  <a:lnTo>
                    <a:pt x="32" y="296"/>
                  </a:lnTo>
                  <a:lnTo>
                    <a:pt x="28" y="296"/>
                  </a:lnTo>
                  <a:lnTo>
                    <a:pt x="28" y="296"/>
                  </a:lnTo>
                  <a:lnTo>
                    <a:pt x="26" y="292"/>
                  </a:lnTo>
                  <a:lnTo>
                    <a:pt x="26" y="288"/>
                  </a:lnTo>
                  <a:lnTo>
                    <a:pt x="46" y="252"/>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tLang="zh-CN" dirty="0"/>
            </a:p>
          </p:txBody>
        </p:sp>
      </p:grpSp>
      <p:grpSp>
        <p:nvGrpSpPr>
          <p:cNvPr id="121" name="Group 120"/>
          <p:cNvGrpSpPr/>
          <p:nvPr>
            <p:custDataLst>
              <p:tags r:id="rId7"/>
            </p:custDataLst>
          </p:nvPr>
        </p:nvGrpSpPr>
        <p:grpSpPr>
          <a:xfrm>
            <a:off x="5283980" y="704088"/>
            <a:ext cx="4236835" cy="138499"/>
            <a:chOff x="5283980" y="704088"/>
            <a:chExt cx="4236835" cy="138499"/>
          </a:xfrm>
        </p:grpSpPr>
        <p:sp>
          <p:nvSpPr>
            <p:cNvPr id="122" name="745">
              <a:hlinkClick r:id="rId14" action="ppaction://hlinksldjump"/>
            </p:cNvPr>
            <p:cNvSpPr txBox="1"/>
            <p:nvPr>
              <p:custDataLst>
                <p:tags r:id="rId8"/>
              </p:custDataLst>
            </p:nvPr>
          </p:nvSpPr>
          <p:spPr>
            <a:xfrm>
              <a:off x="7868824" y="704088"/>
              <a:ext cx="1651991" cy="138499"/>
            </a:xfrm>
            <a:prstGeom prst="rect">
              <a:avLst/>
            </a:prstGeom>
            <a:noFill/>
            <a:ln>
              <a:noFill/>
            </a:ln>
          </p:spPr>
          <p:txBody>
            <a:bodyPr wrap="none" lIns="27432" tIns="0" rIns="27432" bIns="0" rtlCol="0">
              <a:spAutoFit/>
            </a:bodyPr>
            <a:lstStyle/>
            <a:p>
              <a:r>
                <a:rPr lang="en-US" sz="900" noProof="1" smtClean="0">
                  <a:solidFill>
                    <a:schemeClr val="tx1"/>
                  </a:solidFill>
                  <a:latin typeface="+mn-lt"/>
                  <a:cs typeface="Arial" pitchFamily="34" charset="0"/>
                </a:rPr>
                <a:t>Part II  Indirect Equity Transfer </a:t>
              </a:r>
              <a:endParaRPr lang="en-GB" sz="900" noProof="1" smtClean="0">
                <a:solidFill>
                  <a:schemeClr val="tx1"/>
                </a:solidFill>
                <a:latin typeface="+mn-lt"/>
                <a:cs typeface="Arial" pitchFamily="34" charset="0"/>
              </a:endParaRPr>
            </a:p>
          </p:txBody>
        </p:sp>
        <p:cxnSp>
          <p:nvCxnSpPr>
            <p:cNvPr id="123" name="Divider1"/>
            <p:cNvCxnSpPr/>
            <p:nvPr>
              <p:custDataLst>
                <p:tags r:id="rId9"/>
              </p:custDataLst>
            </p:nvPr>
          </p:nvCxnSpPr>
          <p:spPr>
            <a:xfrm>
              <a:off x="7843424"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24" name="638">
              <a:hlinkClick r:id="rId15" action="ppaction://hlinksldjump"/>
            </p:cNvPr>
            <p:cNvSpPr txBox="1"/>
            <p:nvPr>
              <p:custDataLst>
                <p:tags r:id="rId10"/>
              </p:custDataLst>
            </p:nvPr>
          </p:nvSpPr>
          <p:spPr>
            <a:xfrm>
              <a:off x="5787725" y="704088"/>
              <a:ext cx="2030299" cy="138499"/>
            </a:xfrm>
            <a:prstGeom prst="rect">
              <a:avLst/>
            </a:prstGeom>
            <a:noFill/>
            <a:ln>
              <a:noFill/>
            </a:ln>
          </p:spPr>
          <p:txBody>
            <a:bodyPr wrap="none" lIns="27432" tIns="0" rIns="27432" bIns="0" rtlCol="0">
              <a:spAutoFit/>
            </a:bodyPr>
            <a:lstStyle/>
            <a:p>
              <a:r>
                <a:rPr lang="en-US" sz="900" noProof="1" smtClean="0">
                  <a:solidFill>
                    <a:schemeClr val="tx2"/>
                  </a:solidFill>
                  <a:cs typeface="Arial" pitchFamily="34" charset="0"/>
                </a:rPr>
                <a:t>Part I  Brief Introduction to PRC GAAR</a:t>
              </a:r>
              <a:endParaRPr lang="en-GB" sz="900" noProof="1" smtClean="0">
                <a:solidFill>
                  <a:schemeClr val="tx2"/>
                </a:solidFill>
                <a:cs typeface="Arial" pitchFamily="34" charset="0"/>
              </a:endParaRPr>
            </a:p>
          </p:txBody>
        </p:sp>
        <p:cxnSp>
          <p:nvCxnSpPr>
            <p:cNvPr id="125" name="Divider2"/>
            <p:cNvCxnSpPr/>
            <p:nvPr>
              <p:custDataLst>
                <p:tags r:id="rId11"/>
              </p:custDataLst>
            </p:nvPr>
          </p:nvCxnSpPr>
          <p:spPr>
            <a:xfrm>
              <a:off x="5762325"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26" name="735">
              <a:hlinkClick r:id="rId16" action="ppaction://hlinksldjump"/>
            </p:cNvPr>
            <p:cNvSpPr txBox="1"/>
            <p:nvPr>
              <p:custDataLst>
                <p:tags r:id="rId12"/>
              </p:custDataLst>
            </p:nvPr>
          </p:nvSpPr>
          <p:spPr>
            <a:xfrm>
              <a:off x="5283980" y="704088"/>
              <a:ext cx="452945" cy="138499"/>
            </a:xfrm>
            <a:prstGeom prst="rect">
              <a:avLst/>
            </a:prstGeom>
            <a:noFill/>
            <a:ln>
              <a:noFill/>
            </a:ln>
          </p:spPr>
          <p:txBody>
            <a:bodyPr wrap="none" lIns="27432" tIns="0" rIns="27432" bIns="0" rtlCol="0">
              <a:spAutoFit/>
            </a:bodyPr>
            <a:lstStyle/>
            <a:p>
              <a:r>
                <a:rPr lang="en-GB" sz="900" noProof="1" smtClean="0">
                  <a:solidFill>
                    <a:schemeClr val="tx1"/>
                  </a:solidFill>
                  <a:latin typeface="+mn-lt"/>
                  <a:cs typeface="Arial" pitchFamily="34" charset="0"/>
                </a:rPr>
                <a:t>Agenda</a:t>
              </a:r>
              <a:endParaRPr lang="en-GB" sz="900" noProof="1" smtClean="0">
                <a:solidFill>
                  <a:schemeClr val="tx1"/>
                </a:solidFill>
                <a:latin typeface="+mn-lt"/>
                <a:cs typeface="Arial" pitchFamily="34" charset="0"/>
              </a:endParaRPr>
            </a:p>
          </p:txBody>
        </p:sp>
      </p:grpSp>
    </p:spTree>
    <p:custDataLst>
      <p:tags r:id="rId1"/>
    </p:custDataLst>
    <p:extLst>
      <p:ext uri="{BB962C8B-B14F-4D97-AF65-F5344CB8AC3E}">
        <p14:creationId xmlns:p14="http://schemas.microsoft.com/office/powerpoint/2010/main" val="4423770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Teardrop 74"/>
          <p:cNvSpPr/>
          <p:nvPr/>
        </p:nvSpPr>
        <p:spPr bwMode="ltGray">
          <a:xfrm rot="2700000">
            <a:off x="515388" y="5698394"/>
            <a:ext cx="714508" cy="724002"/>
          </a:xfrm>
          <a:prstGeom prst="teardrop">
            <a:avLst>
              <a:gd name="adj" fmla="val 151405"/>
            </a:avLst>
          </a:prstGeom>
          <a:solidFill>
            <a:schemeClr val="bg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tLang="zh-CN" sz="1000" dirty="0" err="1">
              <a:solidFill>
                <a:srgbClr val="FFFFFF"/>
              </a:solidFill>
              <a:latin typeface="+mj-lt"/>
            </a:endParaRPr>
          </a:p>
        </p:txBody>
      </p:sp>
      <p:grpSp>
        <p:nvGrpSpPr>
          <p:cNvPr id="4" name="Grid" hidden="1"/>
          <p:cNvGrpSpPr/>
          <p:nvPr>
            <p:custDataLst>
              <p:tags r:id="rId2"/>
            </p:custDataLst>
          </p:nvPr>
        </p:nvGrpSpPr>
        <p:grpSpPr>
          <a:xfrm>
            <a:off x="530352" y="612648"/>
            <a:ext cx="8997696" cy="6848856"/>
            <a:chOff x="530352" y="612648"/>
            <a:chExt cx="8997696" cy="6848856"/>
          </a:xfrm>
        </p:grpSpPr>
        <p:grpSp>
          <p:nvGrpSpPr>
            <p:cNvPr id="5" name="Group 4" hidden="1"/>
            <p:cNvGrpSpPr/>
            <p:nvPr userDrawn="1"/>
          </p:nvGrpSpPr>
          <p:grpSpPr>
            <a:xfrm>
              <a:off x="530352" y="7159752"/>
              <a:ext cx="8997696" cy="301752"/>
              <a:chOff x="530352" y="7159752"/>
              <a:chExt cx="8997696" cy="301752"/>
            </a:xfrm>
          </p:grpSpPr>
          <p:sp>
            <p:nvSpPr>
              <p:cNvPr id="52"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3"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4"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grpSp>
        <p:grpSp>
          <p:nvGrpSpPr>
            <p:cNvPr id="6" name="Group 5" hidden="1"/>
            <p:cNvGrpSpPr/>
            <p:nvPr userDrawn="1"/>
          </p:nvGrpSpPr>
          <p:grpSpPr>
            <a:xfrm>
              <a:off x="530352" y="1066800"/>
              <a:ext cx="8997696" cy="835152"/>
              <a:chOff x="530352" y="1066800"/>
              <a:chExt cx="8997696" cy="835152"/>
            </a:xfrm>
          </p:grpSpPr>
          <p:sp>
            <p:nvSpPr>
              <p:cNvPr id="50" name="Title block" hidden="1"/>
              <p:cNvSpPr>
                <a:spLocks noChangeArrowheads="1"/>
              </p:cNvSpPr>
              <p:nvPr userDrawn="1"/>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sp>
            <p:nvSpPr>
              <p:cNvPr id="51"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grpSp>
        <p:sp>
          <p:nvSpPr>
            <p:cNvPr id="7" name="Header block" hidden="1"/>
            <p:cNvSpPr>
              <a:spLocks noChangeArrowheads="1"/>
            </p:cNvSpPr>
            <p:nvPr userDrawn="1"/>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en-GB" sz="1400" dirty="0">
                <a:solidFill>
                  <a:schemeClr val="folHlink"/>
                </a:solidFill>
                <a:cs typeface="Arial" charset="0"/>
              </a:endParaRPr>
            </a:p>
          </p:txBody>
        </p:sp>
        <p:grpSp>
          <p:nvGrpSpPr>
            <p:cNvPr id="8" name="Group 600" hidden="1"/>
            <p:cNvGrpSpPr/>
            <p:nvPr userDrawn="1"/>
          </p:nvGrpSpPr>
          <p:grpSpPr>
            <a:xfrm>
              <a:off x="533400" y="6245352"/>
              <a:ext cx="8994648" cy="688848"/>
              <a:chOff x="533400" y="6013704"/>
              <a:chExt cx="8994648" cy="688848"/>
            </a:xfrm>
          </p:grpSpPr>
          <p:sp>
            <p:nvSpPr>
              <p:cNvPr id="44" name="Content block 606" hidden="1"/>
              <p:cNvSpPr>
                <a:spLocks noChangeArrowheads="1"/>
              </p:cNvSpPr>
              <p:nvPr userDrawn="1"/>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5" name="Content block 605" hidden="1"/>
              <p:cNvSpPr>
                <a:spLocks noChangeArrowheads="1"/>
              </p:cNvSpPr>
              <p:nvPr userDrawn="1"/>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6"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7"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8"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9"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9" name="Group 500" hidden="1"/>
            <p:cNvGrpSpPr/>
            <p:nvPr userDrawn="1"/>
          </p:nvGrpSpPr>
          <p:grpSpPr>
            <a:xfrm>
              <a:off x="533400" y="5407152"/>
              <a:ext cx="8994648" cy="688848"/>
              <a:chOff x="533400" y="5026152"/>
              <a:chExt cx="8994648" cy="688848"/>
            </a:xfrm>
          </p:grpSpPr>
          <p:sp>
            <p:nvSpPr>
              <p:cNvPr id="38" name="Content block 506" hidden="1"/>
              <p:cNvSpPr>
                <a:spLocks noChangeArrowheads="1"/>
              </p:cNvSpPr>
              <p:nvPr userDrawn="1"/>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9" name="Content block 505" hidden="1"/>
              <p:cNvSpPr>
                <a:spLocks noChangeArrowheads="1"/>
              </p:cNvSpPr>
              <p:nvPr userDrawn="1"/>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0"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1"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2"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3"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 name="Group 400" hidden="1"/>
            <p:cNvGrpSpPr/>
            <p:nvPr userDrawn="1"/>
          </p:nvGrpSpPr>
          <p:grpSpPr>
            <a:xfrm>
              <a:off x="533400" y="4568952"/>
              <a:ext cx="8994648" cy="688848"/>
              <a:chOff x="533400" y="4038600"/>
              <a:chExt cx="8994648" cy="688848"/>
            </a:xfrm>
          </p:grpSpPr>
          <p:sp>
            <p:nvSpPr>
              <p:cNvPr id="32" name="Content block 406" hidden="1"/>
              <p:cNvSpPr>
                <a:spLocks noChangeArrowheads="1"/>
              </p:cNvSpPr>
              <p:nvPr userDrawn="1"/>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3" name="Content block 405" hidden="1"/>
              <p:cNvSpPr>
                <a:spLocks noChangeArrowheads="1"/>
              </p:cNvSpPr>
              <p:nvPr userDrawn="1"/>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4"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5"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6"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7"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1" name="Group 300" hidden="1"/>
            <p:cNvGrpSpPr/>
            <p:nvPr userDrawn="1"/>
          </p:nvGrpSpPr>
          <p:grpSpPr>
            <a:xfrm>
              <a:off x="533400" y="3730752"/>
              <a:ext cx="8994648" cy="688848"/>
              <a:chOff x="533400" y="3041904"/>
              <a:chExt cx="8994648" cy="688848"/>
            </a:xfrm>
          </p:grpSpPr>
          <p:sp>
            <p:nvSpPr>
              <p:cNvPr id="26" name="Content block 306" hidden="1"/>
              <p:cNvSpPr>
                <a:spLocks noChangeArrowheads="1"/>
              </p:cNvSpPr>
              <p:nvPr userDrawn="1"/>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7" name="Content block 305" hidden="1"/>
              <p:cNvSpPr>
                <a:spLocks noChangeArrowheads="1"/>
              </p:cNvSpPr>
              <p:nvPr userDrawn="1"/>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8"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9"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0"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1"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2" name="Group 200" hidden="1"/>
            <p:cNvGrpSpPr/>
            <p:nvPr userDrawn="1"/>
          </p:nvGrpSpPr>
          <p:grpSpPr>
            <a:xfrm>
              <a:off x="533400" y="2892552"/>
              <a:ext cx="8994648" cy="688848"/>
              <a:chOff x="533400" y="1066800"/>
              <a:chExt cx="8994648" cy="688848"/>
            </a:xfrm>
          </p:grpSpPr>
          <p:sp>
            <p:nvSpPr>
              <p:cNvPr id="20" name="Content block 206" hidden="1"/>
              <p:cNvSpPr>
                <a:spLocks noChangeArrowheads="1"/>
              </p:cNvSpPr>
              <p:nvPr userDrawn="1"/>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1" name="Content block 205" hidden="1"/>
              <p:cNvSpPr>
                <a:spLocks noChangeArrowheads="1"/>
              </p:cNvSpPr>
              <p:nvPr userDrawn="1"/>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2"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3"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4"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5"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3" name="Group 100" hidden="1"/>
            <p:cNvGrpSpPr/>
            <p:nvPr userDrawn="1"/>
          </p:nvGrpSpPr>
          <p:grpSpPr>
            <a:xfrm>
              <a:off x="533400" y="2054352"/>
              <a:ext cx="8994648" cy="688848"/>
              <a:chOff x="533400" y="2054352"/>
              <a:chExt cx="8994648" cy="688848"/>
            </a:xfrm>
          </p:grpSpPr>
          <p:sp>
            <p:nvSpPr>
              <p:cNvPr id="14" name="Content block 106" hidden="1"/>
              <p:cNvSpPr>
                <a:spLocks noChangeArrowheads="1"/>
              </p:cNvSpPr>
              <p:nvPr userDrawn="1"/>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5" name="Content block 105" hidden="1"/>
              <p:cNvSpPr>
                <a:spLocks noChangeArrowheads="1"/>
              </p:cNvSpPr>
              <p:nvPr userDrawn="1"/>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6"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7"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8"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9"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sp>
        <p:nvSpPr>
          <p:cNvPr id="3" name="Title 2"/>
          <p:cNvSpPr>
            <a:spLocks noGrp="1"/>
          </p:cNvSpPr>
          <p:nvPr>
            <p:ph type="title"/>
          </p:nvPr>
        </p:nvSpPr>
        <p:spPr/>
        <p:txBody>
          <a:bodyPr/>
          <a:lstStyle/>
          <a:p>
            <a:r>
              <a:rPr lang="en-GB" dirty="0" smtClean="0">
                <a:ea typeface="宋体" panose="02010600030101010101" pitchFamily="2" charset="-122"/>
              </a:rPr>
              <a:t>Future Developments</a:t>
            </a:r>
            <a:endParaRPr lang="en-GB" b="0" i="0" dirty="0">
              <a:ea typeface="宋体" panose="02010600030101010101" pitchFamily="2" charset="-122"/>
            </a:endParaRPr>
          </a:p>
        </p:txBody>
      </p:sp>
      <p:sp>
        <p:nvSpPr>
          <p:cNvPr id="55" name="Page Number"/>
          <p:cNvSpPr txBox="1"/>
          <p:nvPr>
            <p:custDataLst>
              <p:tags r:id="rId3"/>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en-GB" sz="1100" noProof="1" smtClean="0">
                <a:latin typeface="+mj-lt"/>
              </a:rPr>
              <a:t>8</a:t>
            </a:r>
            <a:endParaRPr lang="en-GB" sz="1100" noProof="1" smtClean="0">
              <a:latin typeface="+mj-lt"/>
            </a:endParaRPr>
          </a:p>
        </p:txBody>
      </p:sp>
      <p:sp>
        <p:nvSpPr>
          <p:cNvPr id="56" name="Section Footer"/>
          <p:cNvSpPr txBox="1"/>
          <p:nvPr>
            <p:custDataLst>
              <p:tags r:id="rId4"/>
            </p:custDataLst>
          </p:nvPr>
        </p:nvSpPr>
        <p:spPr>
          <a:xfrm>
            <a:off x="530352" y="7128974"/>
            <a:ext cx="2898648" cy="169277"/>
          </a:xfrm>
          <a:prstGeom prst="rect">
            <a:avLst/>
          </a:prstGeom>
          <a:noFill/>
          <a:ln>
            <a:noFill/>
          </a:ln>
        </p:spPr>
        <p:txBody>
          <a:bodyPr wrap="square" lIns="0" tIns="0" rIns="0" bIns="0" rtlCol="0" anchor="b" anchorCtr="0">
            <a:spAutoFit/>
          </a:bodyPr>
          <a:lstStyle/>
          <a:p>
            <a:r>
              <a:rPr lang="en-GB" altLang="zh-CN" sz="1100" noProof="1" smtClean="0">
                <a:solidFill>
                  <a:schemeClr val="tx1"/>
                </a:solidFill>
                <a:latin typeface="+mj-lt"/>
                <a:ea typeface="宋体" panose="02010600030101010101" pitchFamily="2" charset="-122"/>
              </a:rPr>
              <a:t>Overview</a:t>
            </a:r>
            <a:r>
              <a:rPr lang="en-GB" altLang="zh-CN" sz="1100" noProof="1" smtClean="0">
                <a:solidFill>
                  <a:schemeClr val="tx1"/>
                </a:solidFill>
                <a:latin typeface="宋体" panose="02010600030101010101" pitchFamily="2" charset="-122"/>
                <a:ea typeface="宋体" panose="02010600030101010101" pitchFamily="2" charset="-122"/>
              </a:rPr>
              <a:t> </a:t>
            </a:r>
            <a:r>
              <a:rPr lang="en-GB" altLang="zh-CN" sz="1100" noProof="1" smtClean="0">
                <a:solidFill>
                  <a:schemeClr val="tx1"/>
                </a:solidFill>
                <a:latin typeface="+mj-lt"/>
                <a:ea typeface="宋体" panose="02010600030101010101" pitchFamily="2" charset="-122"/>
              </a:rPr>
              <a:t>of PRC GAAR</a:t>
            </a:r>
            <a:endParaRPr lang="en-GB" sz="1100" noProof="1" smtClean="0">
              <a:solidFill>
                <a:schemeClr val="tx1"/>
              </a:solidFill>
              <a:latin typeface="+mj-lt"/>
              <a:ea typeface="宋体" panose="02010600030101010101" pitchFamily="2" charset="-122"/>
            </a:endParaRPr>
          </a:p>
        </p:txBody>
      </p:sp>
      <p:sp>
        <p:nvSpPr>
          <p:cNvPr id="57" name="Section Header" hidden="1"/>
          <p:cNvSpPr txBox="1"/>
          <p:nvPr>
            <p:custDataLst>
              <p:tags r:id="rId5"/>
            </p:custDataLst>
          </p:nvPr>
        </p:nvSpPr>
        <p:spPr>
          <a:xfrm>
            <a:off x="530351" y="704088"/>
            <a:ext cx="3034379" cy="137160"/>
          </a:xfrm>
          <a:prstGeom prst="rect">
            <a:avLst/>
          </a:prstGeom>
          <a:noFill/>
        </p:spPr>
        <p:txBody>
          <a:bodyPr wrap="square" lIns="0" tIns="0" rIns="0" bIns="0" rtlCol="0" anchor="b" anchorCtr="0">
            <a:noAutofit/>
          </a:bodyPr>
          <a:lstStyle/>
          <a:p>
            <a:r>
              <a:rPr lang="en-GB" altLang="zh-CN" sz="900" noProof="1" smtClean="0">
                <a:solidFill>
                  <a:schemeClr val="tx1"/>
                </a:solidFill>
              </a:rPr>
              <a:t>-1 Part I  Brief Introduction to PRC GAAR</a:t>
            </a:r>
            <a:endParaRPr lang="en-GB" sz="900" noProof="1" smtClean="0">
              <a:solidFill>
                <a:schemeClr val="tx1"/>
              </a:solidFill>
            </a:endParaRPr>
          </a:p>
        </p:txBody>
      </p:sp>
      <p:grpSp>
        <p:nvGrpSpPr>
          <p:cNvPr id="63" name="Group 62"/>
          <p:cNvGrpSpPr/>
          <p:nvPr/>
        </p:nvGrpSpPr>
        <p:grpSpPr>
          <a:xfrm>
            <a:off x="558260" y="2100261"/>
            <a:ext cx="724002" cy="713232"/>
            <a:chOff x="519374" y="1924163"/>
            <a:chExt cx="724002" cy="714508"/>
          </a:xfrm>
        </p:grpSpPr>
        <p:sp>
          <p:nvSpPr>
            <p:cNvPr id="64" name="Teardrop 63"/>
            <p:cNvSpPr/>
            <p:nvPr/>
          </p:nvSpPr>
          <p:spPr bwMode="ltGray">
            <a:xfrm rot="2700000">
              <a:off x="524121" y="1919416"/>
              <a:ext cx="714508" cy="724002"/>
            </a:xfrm>
            <a:prstGeom prst="teardrop">
              <a:avLst>
                <a:gd name="adj" fmla="val 151405"/>
              </a:avLst>
            </a:prstGeom>
            <a:solidFill>
              <a:schemeClr val="bg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tLang="zh-CN" sz="1000" dirty="0" err="1" smtClean="0">
                <a:solidFill>
                  <a:srgbClr val="FFFFFF"/>
                </a:solidFill>
                <a:latin typeface="+mj-lt"/>
              </a:endParaRPr>
            </a:p>
          </p:txBody>
        </p:sp>
        <p:sp>
          <p:nvSpPr>
            <p:cNvPr id="65" name="Oval 64"/>
            <p:cNvSpPr/>
            <p:nvPr/>
          </p:nvSpPr>
          <p:spPr bwMode="ltGray">
            <a:xfrm>
              <a:off x="575375" y="1959828"/>
              <a:ext cx="612000" cy="612000"/>
            </a:xfrm>
            <a:prstGeom prst="ellipse">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GB" altLang="zh-CN" sz="2800" i="1" dirty="0" smtClean="0">
                  <a:solidFill>
                    <a:srgbClr val="FFFFFF"/>
                  </a:solidFill>
                  <a:latin typeface="+mj-lt"/>
                </a:rPr>
                <a:t>1</a:t>
              </a:r>
            </a:p>
          </p:txBody>
        </p:sp>
      </p:grpSp>
      <p:sp>
        <p:nvSpPr>
          <p:cNvPr id="68" name="Rectangle 67"/>
          <p:cNvSpPr/>
          <p:nvPr/>
        </p:nvSpPr>
        <p:spPr bwMode="ltGray">
          <a:xfrm>
            <a:off x="1438029" y="5422839"/>
            <a:ext cx="8062088" cy="1146147"/>
          </a:xfrm>
          <a:prstGeom prst="rect">
            <a:avLst/>
          </a:prstGeom>
          <a:ln/>
        </p:spPr>
        <p:style>
          <a:lnRef idx="1">
            <a:schemeClr val="accent1"/>
          </a:lnRef>
          <a:fillRef idx="3">
            <a:schemeClr val="accent1"/>
          </a:fillRef>
          <a:effectRef idx="2">
            <a:schemeClr val="accent1"/>
          </a:effectRef>
          <a:fontRef idx="minor">
            <a:schemeClr val="lt1"/>
          </a:fontRef>
        </p:style>
        <p:txBody>
          <a:bodyPr lIns="72000" tIns="36000" rIns="72000" bIns="72000" rtlCol="0" anchor="t" anchorCtr="0"/>
          <a:lstStyle/>
          <a:p>
            <a:pPr marL="285750" indent="-285750">
              <a:spcAft>
                <a:spcPts val="600"/>
              </a:spcAft>
              <a:buFont typeface="Arial" panose="020B0604020202020204" pitchFamily="34" charset="0"/>
              <a:buChar char="•"/>
            </a:pPr>
            <a:r>
              <a:rPr lang="en-US" altLang="zh-CN" sz="1400" dirty="0" smtClean="0">
                <a:solidFill>
                  <a:schemeClr val="bg2"/>
                </a:solidFill>
                <a:latin typeface="+mj-lt"/>
                <a:ea typeface="宋体" panose="02010600030101010101" pitchFamily="2" charset="-122"/>
              </a:rPr>
              <a:t>GAAR terms is included in the </a:t>
            </a:r>
            <a:r>
              <a:rPr lang="en-US" altLang="zh-CN" sz="1400" dirty="0" smtClean="0">
                <a:solidFill>
                  <a:schemeClr val="bg2"/>
                </a:solidFill>
                <a:latin typeface="+mj-lt"/>
                <a:ea typeface="宋体" panose="02010600030101010101" pitchFamily="2" charset="-122"/>
              </a:rPr>
              <a:t>2018 proposed </a:t>
            </a:r>
            <a:r>
              <a:rPr lang="en-US" altLang="zh-CN" sz="1400" dirty="0" smtClean="0">
                <a:solidFill>
                  <a:schemeClr val="bg2"/>
                </a:solidFill>
                <a:latin typeface="+mj-lt"/>
                <a:ea typeface="宋体" panose="02010600030101010101" pitchFamily="2" charset="-122"/>
              </a:rPr>
              <a:t>PRC Individual Income </a:t>
            </a:r>
            <a:r>
              <a:rPr lang="en-US" altLang="zh-CN" sz="1400" dirty="0" smtClean="0">
                <a:solidFill>
                  <a:schemeClr val="bg2"/>
                </a:solidFill>
                <a:latin typeface="+mj-lt"/>
                <a:ea typeface="宋体" panose="02010600030101010101" pitchFamily="2" charset="-122"/>
              </a:rPr>
              <a:t>Tax (IIT) Amendment.  </a:t>
            </a:r>
          </a:p>
          <a:p>
            <a:pPr marL="285750" indent="-285750">
              <a:spcAft>
                <a:spcPts val="600"/>
              </a:spcAft>
              <a:buFont typeface="Arial" panose="020B0604020202020204" pitchFamily="34" charset="0"/>
              <a:buChar char="•"/>
            </a:pPr>
            <a:r>
              <a:rPr lang="en-US" altLang="zh-CN" sz="1400" dirty="0" smtClean="0">
                <a:solidFill>
                  <a:schemeClr val="bg2"/>
                </a:solidFill>
                <a:latin typeface="+mj-lt"/>
                <a:ea typeface="宋体" panose="02010600030101010101" pitchFamily="2" charset="-122"/>
              </a:rPr>
              <a:t>Two </a:t>
            </a:r>
            <a:r>
              <a:rPr lang="en-US" altLang="zh-CN" sz="1400" dirty="0" smtClean="0">
                <a:solidFill>
                  <a:schemeClr val="bg2"/>
                </a:solidFill>
                <a:latin typeface="+mj-lt"/>
                <a:ea typeface="宋体" panose="02010600030101010101" pitchFamily="2" charset="-122"/>
              </a:rPr>
              <a:t>types of tax avoidance arrangements are listed </a:t>
            </a:r>
            <a:r>
              <a:rPr lang="en-GB" altLang="zh-CN" sz="1400" dirty="0" smtClean="0">
                <a:solidFill>
                  <a:schemeClr val="bg2"/>
                </a:solidFill>
                <a:latin typeface="+mj-lt"/>
                <a:ea typeface="宋体" panose="02010600030101010101" pitchFamily="2" charset="-122"/>
              </a:rPr>
              <a:t>:</a:t>
            </a:r>
          </a:p>
          <a:p>
            <a:pPr marL="795162" lvl="1" indent="-285750">
              <a:spcAft>
                <a:spcPts val="600"/>
              </a:spcAft>
              <a:buFont typeface="Wingdings" panose="05000000000000000000" pitchFamily="2" charset="2"/>
              <a:buChar char="Ø"/>
            </a:pPr>
            <a:r>
              <a:rPr lang="en-GB" altLang="zh-CN" sz="1400" dirty="0" smtClean="0">
                <a:solidFill>
                  <a:schemeClr val="bg2"/>
                </a:solidFill>
                <a:latin typeface="+mj-lt"/>
                <a:ea typeface="宋体" panose="02010600030101010101" pitchFamily="2" charset="-122"/>
              </a:rPr>
              <a:t>Related-party transaction without reasonable business </a:t>
            </a:r>
            <a:r>
              <a:rPr lang="en-GB" altLang="zh-CN" sz="1400" dirty="0" smtClean="0">
                <a:solidFill>
                  <a:schemeClr val="bg2"/>
                </a:solidFill>
                <a:latin typeface="+mj-lt"/>
                <a:ea typeface="宋体" panose="02010600030101010101" pitchFamily="2" charset="-122"/>
              </a:rPr>
              <a:t>purpose</a:t>
            </a:r>
            <a:endParaRPr lang="en-GB" altLang="zh-CN" sz="1400" dirty="0" smtClean="0">
              <a:solidFill>
                <a:schemeClr val="bg2"/>
              </a:solidFill>
              <a:latin typeface="+mj-lt"/>
              <a:ea typeface="宋体" panose="02010600030101010101" pitchFamily="2" charset="-122"/>
            </a:endParaRPr>
          </a:p>
          <a:p>
            <a:pPr marL="795162" lvl="1" indent="-285750">
              <a:spcAft>
                <a:spcPts val="600"/>
              </a:spcAft>
              <a:buFont typeface="Wingdings" panose="05000000000000000000" pitchFamily="2" charset="2"/>
              <a:buChar char="Ø"/>
            </a:pPr>
            <a:r>
              <a:rPr lang="en-GB" altLang="zh-CN" sz="1400" dirty="0" smtClean="0">
                <a:solidFill>
                  <a:schemeClr val="bg2"/>
                </a:solidFill>
                <a:latin typeface="+mj-lt"/>
                <a:ea typeface="宋体" panose="02010600030101010101" pitchFamily="2" charset="-122"/>
              </a:rPr>
              <a:t>Controlled Foreign Corporation in tax haven</a:t>
            </a:r>
          </a:p>
          <a:p>
            <a:pPr lvl="1">
              <a:spcAft>
                <a:spcPts val="600"/>
              </a:spcAft>
            </a:pPr>
            <a:endParaRPr lang="en-GB" altLang="zh-CN" sz="1400" dirty="0">
              <a:solidFill>
                <a:schemeClr val="bg2"/>
              </a:solidFill>
              <a:latin typeface="宋体" panose="02010600030101010101" pitchFamily="2" charset="-122"/>
              <a:ea typeface="宋体" panose="02010600030101010101" pitchFamily="2" charset="-122"/>
            </a:endParaRPr>
          </a:p>
        </p:txBody>
      </p:sp>
      <p:sp>
        <p:nvSpPr>
          <p:cNvPr id="77" name="Rectangle 76"/>
          <p:cNvSpPr/>
          <p:nvPr/>
        </p:nvSpPr>
        <p:spPr bwMode="ltGray">
          <a:xfrm>
            <a:off x="1428400" y="2135862"/>
            <a:ext cx="8061848" cy="2020307"/>
          </a:xfrm>
          <a:prstGeom prst="rect">
            <a:avLst/>
          </a:prstGeom>
          <a:ln/>
        </p:spPr>
        <p:style>
          <a:lnRef idx="1">
            <a:schemeClr val="accent1"/>
          </a:lnRef>
          <a:fillRef idx="3">
            <a:schemeClr val="accent1"/>
          </a:fillRef>
          <a:effectRef idx="2">
            <a:schemeClr val="accent1"/>
          </a:effectRef>
          <a:fontRef idx="minor">
            <a:schemeClr val="lt1"/>
          </a:fontRef>
        </p:style>
        <p:txBody>
          <a:bodyPr lIns="72000" tIns="36000" rIns="72000" bIns="72000" rtlCol="0" anchor="t" anchorCtr="0"/>
          <a:lstStyle/>
          <a:p>
            <a:pPr>
              <a:spcAft>
                <a:spcPts val="600"/>
              </a:spcAft>
            </a:pPr>
            <a:r>
              <a:rPr lang="en-GB" altLang="zh-CN" sz="1400" dirty="0" smtClean="0">
                <a:solidFill>
                  <a:schemeClr val="bg2"/>
                </a:solidFill>
                <a:latin typeface="+mj-lt"/>
                <a:ea typeface="宋体" panose="02010600030101010101" pitchFamily="2" charset="-122"/>
              </a:rPr>
              <a:t>Major focus for future GAAR policies</a:t>
            </a:r>
            <a:r>
              <a:rPr lang="zh-CN" altLang="en-GB" sz="1400" dirty="0" smtClean="0">
                <a:solidFill>
                  <a:schemeClr val="bg2"/>
                </a:solidFill>
                <a:latin typeface="+mj-lt"/>
                <a:ea typeface="宋体" panose="02010600030101010101" pitchFamily="2" charset="-122"/>
              </a:rPr>
              <a:t>：</a:t>
            </a:r>
            <a:endParaRPr lang="en-GB" altLang="zh-CN" sz="1400" dirty="0" smtClean="0">
              <a:solidFill>
                <a:schemeClr val="bg2"/>
              </a:solidFill>
              <a:latin typeface="+mj-lt"/>
              <a:ea typeface="宋体" panose="02010600030101010101" pitchFamily="2" charset="-122"/>
            </a:endParaRPr>
          </a:p>
          <a:p>
            <a:pPr marL="171450" indent="-171450">
              <a:spcAft>
                <a:spcPts val="600"/>
              </a:spcAft>
              <a:buFont typeface="Arial" panose="020B0604020202020204" pitchFamily="34" charset="0"/>
              <a:buChar char="•"/>
            </a:pPr>
            <a:r>
              <a:rPr lang="en-GB" altLang="zh-CN" sz="1400" b="1" dirty="0" smtClean="0">
                <a:solidFill>
                  <a:schemeClr val="bg2"/>
                </a:solidFill>
                <a:latin typeface="+mj-lt"/>
                <a:ea typeface="宋体" panose="02010600030101010101" pitchFamily="2" charset="-122"/>
              </a:rPr>
              <a:t>Case selection</a:t>
            </a:r>
            <a:r>
              <a:rPr lang="en-US" altLang="zh-CN" sz="1400" dirty="0" smtClean="0">
                <a:solidFill>
                  <a:schemeClr val="bg2"/>
                </a:solidFill>
                <a:latin typeface="+mj-lt"/>
                <a:ea typeface="宋体" panose="02010600030101010101" pitchFamily="2" charset="-122"/>
              </a:rPr>
              <a:t>: The identification of </a:t>
            </a:r>
            <a:r>
              <a:rPr lang="en-GB" altLang="zh-CN" sz="1400" dirty="0" smtClean="0">
                <a:solidFill>
                  <a:schemeClr val="bg2"/>
                </a:solidFill>
                <a:latin typeface="+mj-lt"/>
                <a:ea typeface="宋体" panose="02010600030101010101" pitchFamily="2" charset="-122"/>
              </a:rPr>
              <a:t>potential GAAR cases and how they shall be reported to higher level tax authorities</a:t>
            </a:r>
          </a:p>
          <a:p>
            <a:pPr marL="171450" indent="-171450">
              <a:spcAft>
                <a:spcPts val="600"/>
              </a:spcAft>
              <a:buFont typeface="Arial" panose="020B0604020202020204" pitchFamily="34" charset="0"/>
              <a:buChar char="•"/>
            </a:pPr>
            <a:r>
              <a:rPr lang="en-GB" altLang="zh-CN" sz="1400" b="1" dirty="0" smtClean="0">
                <a:solidFill>
                  <a:schemeClr val="bg2"/>
                </a:solidFill>
                <a:latin typeface="+mj-lt"/>
                <a:ea typeface="宋体" panose="02010600030101010101" pitchFamily="2" charset="-122"/>
              </a:rPr>
              <a:t>Special Committee/Panel</a:t>
            </a:r>
            <a:r>
              <a:rPr lang="zh-CN" altLang="en-GB" sz="1400" dirty="0" smtClean="0">
                <a:solidFill>
                  <a:schemeClr val="bg2"/>
                </a:solidFill>
                <a:latin typeface="+mj-lt"/>
                <a:ea typeface="宋体" panose="02010600030101010101" pitchFamily="2" charset="-122"/>
              </a:rPr>
              <a:t>：</a:t>
            </a:r>
            <a:r>
              <a:rPr lang="en-GB" altLang="zh-CN" sz="1400" dirty="0" smtClean="0">
                <a:solidFill>
                  <a:schemeClr val="bg2"/>
                </a:solidFill>
                <a:latin typeface="+mj-lt"/>
                <a:ea typeface="宋体" panose="02010600030101010101" pitchFamily="2" charset="-122"/>
              </a:rPr>
              <a:t>The necessity to establish </a:t>
            </a:r>
            <a:r>
              <a:rPr lang="en-GB" altLang="zh-CN" sz="1400" dirty="0" smtClean="0">
                <a:solidFill>
                  <a:schemeClr val="bg2"/>
                </a:solidFill>
                <a:latin typeface="+mj-lt"/>
                <a:ea typeface="宋体" panose="02010600030101010101" pitchFamily="2" charset="-122"/>
              </a:rPr>
              <a:t>one</a:t>
            </a:r>
            <a:r>
              <a:rPr lang="en-US" altLang="zh-CN" sz="1400" dirty="0" smtClean="0">
                <a:solidFill>
                  <a:schemeClr val="bg2"/>
                </a:solidFill>
                <a:latin typeface="+mj-lt"/>
                <a:ea typeface="宋体" panose="02010600030101010101" pitchFamily="2" charset="-122"/>
              </a:rPr>
              <a:t>? </a:t>
            </a:r>
            <a:r>
              <a:rPr lang="en-GB" altLang="zh-CN" sz="1400" dirty="0" smtClean="0">
                <a:solidFill>
                  <a:schemeClr val="bg2"/>
                </a:solidFill>
                <a:latin typeface="+mj-lt"/>
                <a:ea typeface="宋体" panose="02010600030101010101" pitchFamily="2" charset="-122"/>
              </a:rPr>
              <a:t>Relevant personnel, </a:t>
            </a:r>
            <a:r>
              <a:rPr lang="en-GB" altLang="zh-CN" sz="1400" dirty="0" smtClean="0">
                <a:solidFill>
                  <a:schemeClr val="bg2"/>
                </a:solidFill>
                <a:latin typeface="+mj-lt"/>
                <a:ea typeface="宋体" panose="02010600030101010101" pitchFamily="2" charset="-122"/>
              </a:rPr>
              <a:t>responsibility, </a:t>
            </a:r>
            <a:r>
              <a:rPr lang="en-GB" altLang="zh-CN" sz="1400" dirty="0" smtClean="0">
                <a:solidFill>
                  <a:schemeClr val="bg2"/>
                </a:solidFill>
                <a:latin typeface="+mj-lt"/>
                <a:ea typeface="宋体" panose="02010600030101010101" pitchFamily="2" charset="-122"/>
              </a:rPr>
              <a:t>When to get involved</a:t>
            </a:r>
            <a:r>
              <a:rPr lang="zh-CN" altLang="en-GB" sz="1400" dirty="0" smtClean="0">
                <a:solidFill>
                  <a:schemeClr val="bg2"/>
                </a:solidFill>
                <a:latin typeface="+mj-lt"/>
                <a:ea typeface="宋体" panose="02010600030101010101" pitchFamily="2" charset="-122"/>
              </a:rPr>
              <a:t>？</a:t>
            </a:r>
            <a:r>
              <a:rPr lang="en-GB" altLang="zh-CN" sz="1400" dirty="0" smtClean="0">
                <a:solidFill>
                  <a:schemeClr val="bg2"/>
                </a:solidFill>
                <a:latin typeface="+mj-lt"/>
                <a:ea typeface="宋体" panose="02010600030101010101" pitchFamily="2" charset="-122"/>
              </a:rPr>
              <a:t>Issuance of legally binding judgements?</a:t>
            </a:r>
          </a:p>
          <a:p>
            <a:pPr marL="171450" indent="-171450">
              <a:spcAft>
                <a:spcPts val="600"/>
              </a:spcAft>
              <a:buFont typeface="Arial" panose="020B0604020202020204" pitchFamily="34" charset="0"/>
              <a:buChar char="•"/>
            </a:pPr>
            <a:r>
              <a:rPr lang="en-GB" altLang="zh-CN" sz="1400" b="1" dirty="0" smtClean="0">
                <a:solidFill>
                  <a:schemeClr val="bg2"/>
                </a:solidFill>
                <a:latin typeface="+mj-lt"/>
                <a:ea typeface="宋体" panose="02010600030101010101" pitchFamily="2" charset="-122"/>
              </a:rPr>
              <a:t>Burden of proof: </a:t>
            </a:r>
            <a:r>
              <a:rPr lang="en-GB" altLang="zh-CN" sz="1400" dirty="0" smtClean="0">
                <a:solidFill>
                  <a:schemeClr val="bg2"/>
                </a:solidFill>
                <a:latin typeface="+mj-lt"/>
                <a:ea typeface="宋体" panose="02010600030101010101" pitchFamily="2" charset="-122"/>
              </a:rPr>
              <a:t>The allocation of burden of proof among involved parties</a:t>
            </a:r>
            <a:r>
              <a:rPr lang="zh-CN" altLang="en-GB" sz="1400" dirty="0" smtClean="0">
                <a:solidFill>
                  <a:schemeClr val="bg2"/>
                </a:solidFill>
                <a:latin typeface="+mj-lt"/>
                <a:ea typeface="宋体" panose="02010600030101010101" pitchFamily="2" charset="-122"/>
              </a:rPr>
              <a:t>？</a:t>
            </a:r>
            <a:endParaRPr lang="en-GB" altLang="zh-CN" sz="1400" dirty="0" smtClean="0">
              <a:solidFill>
                <a:schemeClr val="bg2"/>
              </a:solidFill>
              <a:latin typeface="+mj-lt"/>
              <a:ea typeface="宋体" panose="02010600030101010101" pitchFamily="2" charset="-122"/>
            </a:endParaRPr>
          </a:p>
          <a:p>
            <a:pPr marL="171450" indent="-171450">
              <a:spcAft>
                <a:spcPts val="600"/>
              </a:spcAft>
              <a:buFont typeface="Arial" panose="020B0604020202020204" pitchFamily="34" charset="0"/>
              <a:buChar char="•"/>
            </a:pPr>
            <a:r>
              <a:rPr lang="en-GB" altLang="zh-CN" sz="1400" b="1" dirty="0" smtClean="0">
                <a:solidFill>
                  <a:schemeClr val="bg2"/>
                </a:solidFill>
                <a:latin typeface="+mj-lt"/>
                <a:ea typeface="宋体" panose="02010600030101010101" pitchFamily="2" charset="-122"/>
              </a:rPr>
              <a:t>Tax Treaties and GAAR</a:t>
            </a:r>
            <a:r>
              <a:rPr lang="zh-CN" altLang="en-GB" sz="1400" dirty="0" smtClean="0">
                <a:solidFill>
                  <a:schemeClr val="bg2"/>
                </a:solidFill>
                <a:latin typeface="+mj-lt"/>
                <a:ea typeface="宋体" panose="02010600030101010101" pitchFamily="2" charset="-122"/>
              </a:rPr>
              <a:t>：</a:t>
            </a:r>
            <a:r>
              <a:rPr lang="en-GB" altLang="zh-CN" sz="1400" dirty="0" smtClean="0">
                <a:solidFill>
                  <a:schemeClr val="bg2"/>
                </a:solidFill>
                <a:latin typeface="+mj-lt"/>
                <a:ea typeface="宋体" panose="02010600030101010101" pitchFamily="2" charset="-122"/>
              </a:rPr>
              <a:t>Which shall be first to apply?</a:t>
            </a:r>
            <a:endParaRPr lang="en-GB" altLang="zh-CN" sz="1400" dirty="0">
              <a:solidFill>
                <a:schemeClr val="bg2"/>
              </a:solidFill>
              <a:latin typeface="+mj-lt"/>
              <a:ea typeface="宋体" panose="02010600030101010101" pitchFamily="2" charset="-122"/>
            </a:endParaRPr>
          </a:p>
        </p:txBody>
      </p:sp>
      <p:sp>
        <p:nvSpPr>
          <p:cNvPr id="78" name="Teardrop 77"/>
          <p:cNvSpPr/>
          <p:nvPr/>
        </p:nvSpPr>
        <p:spPr bwMode="ltGray">
          <a:xfrm rot="2700000">
            <a:off x="498012" y="4444633"/>
            <a:ext cx="714508" cy="724002"/>
          </a:xfrm>
          <a:prstGeom prst="teardrop">
            <a:avLst>
              <a:gd name="adj" fmla="val 151405"/>
            </a:avLst>
          </a:prstGeom>
          <a:solidFill>
            <a:schemeClr val="bg2">
              <a:lumMod val="75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ltLang="zh-CN" sz="1000" dirty="0" err="1">
              <a:solidFill>
                <a:srgbClr val="FFFFFF"/>
              </a:solidFill>
              <a:latin typeface="+mj-lt"/>
            </a:endParaRPr>
          </a:p>
        </p:txBody>
      </p:sp>
      <p:sp>
        <p:nvSpPr>
          <p:cNvPr id="79" name="Oval 78"/>
          <p:cNvSpPr/>
          <p:nvPr/>
        </p:nvSpPr>
        <p:spPr bwMode="ltGray">
          <a:xfrm>
            <a:off x="541142" y="4483807"/>
            <a:ext cx="612000" cy="612000"/>
          </a:xfrm>
          <a:prstGeom prst="ellipse">
            <a:avLst/>
          </a:prstGeom>
          <a:ln/>
        </p:spPr>
        <p:style>
          <a:lnRef idx="1">
            <a:schemeClr val="accent1"/>
          </a:lnRef>
          <a:fillRef idx="3">
            <a:schemeClr val="accent1"/>
          </a:fillRef>
          <a:effectRef idx="2">
            <a:schemeClr val="accent1"/>
          </a:effectRef>
          <a:fontRef idx="minor">
            <a:schemeClr val="lt1"/>
          </a:fontRef>
        </p:style>
        <p:txBody>
          <a:bodyPr lIns="72000" tIns="36000" rIns="72000" bIns="72000" rtlCol="0" anchor="t" anchorCtr="0"/>
          <a:lstStyle/>
          <a:p>
            <a:pPr algn="ctr"/>
            <a:r>
              <a:rPr lang="en-GB" altLang="zh-CN" sz="2800" i="1" dirty="0" smtClean="0">
                <a:solidFill>
                  <a:srgbClr val="FFFFFF"/>
                </a:solidFill>
                <a:latin typeface="+mj-lt"/>
              </a:rPr>
              <a:t>2</a:t>
            </a:r>
            <a:endParaRPr lang="en-GB" altLang="zh-CN" sz="2800" i="1" dirty="0">
              <a:solidFill>
                <a:srgbClr val="FFFFFF"/>
              </a:solidFill>
              <a:latin typeface="+mj-lt"/>
            </a:endParaRPr>
          </a:p>
        </p:txBody>
      </p:sp>
      <p:sp>
        <p:nvSpPr>
          <p:cNvPr id="80" name="Rectangle 79"/>
          <p:cNvSpPr/>
          <p:nvPr/>
        </p:nvSpPr>
        <p:spPr bwMode="ltGray">
          <a:xfrm>
            <a:off x="1428400" y="4501662"/>
            <a:ext cx="8061848" cy="589994"/>
          </a:xfrm>
          <a:prstGeom prst="rect">
            <a:avLst/>
          </a:prstGeom>
          <a:ln/>
        </p:spPr>
        <p:style>
          <a:lnRef idx="1">
            <a:schemeClr val="accent1"/>
          </a:lnRef>
          <a:fillRef idx="3">
            <a:schemeClr val="accent1"/>
          </a:fillRef>
          <a:effectRef idx="2">
            <a:schemeClr val="accent1"/>
          </a:effectRef>
          <a:fontRef idx="minor">
            <a:schemeClr val="lt1"/>
          </a:fontRef>
        </p:style>
        <p:txBody>
          <a:bodyPr lIns="72000" tIns="36000" rIns="72000" bIns="72000" rtlCol="0" anchor="t" anchorCtr="0"/>
          <a:lstStyle/>
          <a:p>
            <a:pPr marL="285750" indent="-285750">
              <a:spcBef>
                <a:spcPts val="1200"/>
              </a:spcBef>
              <a:buFont typeface="Arial" panose="020B0604020202020204" pitchFamily="34" charset="0"/>
              <a:buChar char="•"/>
            </a:pPr>
            <a:r>
              <a:rPr lang="en-GB" altLang="zh-CN" sz="1400" dirty="0" smtClean="0">
                <a:solidFill>
                  <a:schemeClr val="bg2"/>
                </a:solidFill>
                <a:latin typeface="+mj-lt"/>
                <a:ea typeface="宋体" panose="02010600030101010101" pitchFamily="2" charset="-122"/>
              </a:rPr>
              <a:t>Whether Safe Harbour provisions would be introduced to other GAAR regulations in addition to indirect equity transfer? </a:t>
            </a:r>
            <a:endParaRPr lang="en-GB" altLang="zh-CN" sz="1400" dirty="0">
              <a:solidFill>
                <a:schemeClr val="bg2"/>
              </a:solidFill>
              <a:latin typeface="+mj-lt"/>
              <a:ea typeface="宋体" panose="02010600030101010101" pitchFamily="2" charset="-122"/>
            </a:endParaRPr>
          </a:p>
        </p:txBody>
      </p:sp>
      <p:sp>
        <p:nvSpPr>
          <p:cNvPr id="87" name="Oval 86"/>
          <p:cNvSpPr/>
          <p:nvPr/>
        </p:nvSpPr>
        <p:spPr bwMode="ltGray">
          <a:xfrm>
            <a:off x="566642" y="5740816"/>
            <a:ext cx="612000" cy="612000"/>
          </a:xfrm>
          <a:prstGeom prst="ellipse">
            <a:avLst/>
          </a:prstGeom>
          <a:ln/>
        </p:spPr>
        <p:style>
          <a:lnRef idx="1">
            <a:schemeClr val="accent1"/>
          </a:lnRef>
          <a:fillRef idx="3">
            <a:schemeClr val="accent1"/>
          </a:fillRef>
          <a:effectRef idx="2">
            <a:schemeClr val="accent1"/>
          </a:effectRef>
          <a:fontRef idx="minor">
            <a:schemeClr val="lt1"/>
          </a:fontRef>
        </p:style>
        <p:txBody>
          <a:bodyPr lIns="72000" tIns="36000" rIns="72000" bIns="72000" rtlCol="0" anchor="t" anchorCtr="0"/>
          <a:lstStyle/>
          <a:p>
            <a:pPr algn="ctr"/>
            <a:r>
              <a:rPr lang="en-GB" altLang="zh-CN" sz="2800" i="1" dirty="0" smtClean="0">
                <a:solidFill>
                  <a:srgbClr val="FFFFFF"/>
                </a:solidFill>
                <a:latin typeface="+mj-lt"/>
              </a:rPr>
              <a:t>3</a:t>
            </a:r>
            <a:endParaRPr lang="en-GB" altLang="zh-CN" sz="2800" i="1" dirty="0">
              <a:solidFill>
                <a:srgbClr val="FFFFFF"/>
              </a:solidFill>
              <a:latin typeface="+mj-lt"/>
            </a:endParaRPr>
          </a:p>
        </p:txBody>
      </p:sp>
      <p:grpSp>
        <p:nvGrpSpPr>
          <p:cNvPr id="97" name="Group 96"/>
          <p:cNvGrpSpPr/>
          <p:nvPr>
            <p:custDataLst>
              <p:tags r:id="rId6"/>
            </p:custDataLst>
          </p:nvPr>
        </p:nvGrpSpPr>
        <p:grpSpPr>
          <a:xfrm>
            <a:off x="5283980" y="704088"/>
            <a:ext cx="4236835" cy="138499"/>
            <a:chOff x="5283980" y="704088"/>
            <a:chExt cx="4236835" cy="138499"/>
          </a:xfrm>
        </p:grpSpPr>
        <p:sp>
          <p:nvSpPr>
            <p:cNvPr id="98" name="745">
              <a:hlinkClick r:id="rId13" action="ppaction://hlinksldjump"/>
            </p:cNvPr>
            <p:cNvSpPr txBox="1"/>
            <p:nvPr>
              <p:custDataLst>
                <p:tags r:id="rId7"/>
              </p:custDataLst>
            </p:nvPr>
          </p:nvSpPr>
          <p:spPr>
            <a:xfrm>
              <a:off x="7868824" y="704088"/>
              <a:ext cx="1651991" cy="138499"/>
            </a:xfrm>
            <a:prstGeom prst="rect">
              <a:avLst/>
            </a:prstGeom>
            <a:noFill/>
            <a:ln>
              <a:noFill/>
            </a:ln>
          </p:spPr>
          <p:txBody>
            <a:bodyPr wrap="none" lIns="27432" tIns="0" rIns="27432" bIns="0" rtlCol="0">
              <a:spAutoFit/>
            </a:bodyPr>
            <a:lstStyle/>
            <a:p>
              <a:r>
                <a:rPr lang="en-US" sz="900" noProof="1" smtClean="0">
                  <a:solidFill>
                    <a:schemeClr val="tx1"/>
                  </a:solidFill>
                  <a:latin typeface="+mn-lt"/>
                  <a:cs typeface="Arial" pitchFamily="34" charset="0"/>
                </a:rPr>
                <a:t>Part II  Indirect Equity Transfer </a:t>
              </a:r>
              <a:endParaRPr lang="en-GB" sz="900" noProof="1" smtClean="0">
                <a:solidFill>
                  <a:schemeClr val="tx1"/>
                </a:solidFill>
                <a:latin typeface="+mn-lt"/>
                <a:cs typeface="Arial" pitchFamily="34" charset="0"/>
              </a:endParaRPr>
            </a:p>
          </p:txBody>
        </p:sp>
        <p:cxnSp>
          <p:nvCxnSpPr>
            <p:cNvPr id="99" name="Divider1"/>
            <p:cNvCxnSpPr/>
            <p:nvPr>
              <p:custDataLst>
                <p:tags r:id="rId8"/>
              </p:custDataLst>
            </p:nvPr>
          </p:nvCxnSpPr>
          <p:spPr>
            <a:xfrm>
              <a:off x="7843424"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00" name="638">
              <a:hlinkClick r:id="rId14" action="ppaction://hlinksldjump"/>
            </p:cNvPr>
            <p:cNvSpPr txBox="1"/>
            <p:nvPr>
              <p:custDataLst>
                <p:tags r:id="rId9"/>
              </p:custDataLst>
            </p:nvPr>
          </p:nvSpPr>
          <p:spPr>
            <a:xfrm>
              <a:off x="5787725" y="704088"/>
              <a:ext cx="2030299" cy="138499"/>
            </a:xfrm>
            <a:prstGeom prst="rect">
              <a:avLst/>
            </a:prstGeom>
            <a:noFill/>
            <a:ln>
              <a:noFill/>
            </a:ln>
          </p:spPr>
          <p:txBody>
            <a:bodyPr wrap="none" lIns="27432" tIns="0" rIns="27432" bIns="0" rtlCol="0">
              <a:spAutoFit/>
            </a:bodyPr>
            <a:lstStyle/>
            <a:p>
              <a:r>
                <a:rPr lang="en-US" sz="900" noProof="1" smtClean="0">
                  <a:solidFill>
                    <a:schemeClr val="tx2"/>
                  </a:solidFill>
                  <a:cs typeface="Arial" pitchFamily="34" charset="0"/>
                </a:rPr>
                <a:t>Part I  Brief Introduction to PRC GAAR</a:t>
              </a:r>
              <a:endParaRPr lang="en-GB" sz="900" noProof="1" smtClean="0">
                <a:solidFill>
                  <a:schemeClr val="tx2"/>
                </a:solidFill>
                <a:cs typeface="Arial" pitchFamily="34" charset="0"/>
              </a:endParaRPr>
            </a:p>
          </p:txBody>
        </p:sp>
        <p:cxnSp>
          <p:nvCxnSpPr>
            <p:cNvPr id="101" name="Divider2"/>
            <p:cNvCxnSpPr/>
            <p:nvPr>
              <p:custDataLst>
                <p:tags r:id="rId10"/>
              </p:custDataLst>
            </p:nvPr>
          </p:nvCxnSpPr>
          <p:spPr>
            <a:xfrm>
              <a:off x="5762325"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102" name="735">
              <a:hlinkClick r:id="rId15" action="ppaction://hlinksldjump"/>
            </p:cNvPr>
            <p:cNvSpPr txBox="1"/>
            <p:nvPr>
              <p:custDataLst>
                <p:tags r:id="rId11"/>
              </p:custDataLst>
            </p:nvPr>
          </p:nvSpPr>
          <p:spPr>
            <a:xfrm>
              <a:off x="5283980" y="704088"/>
              <a:ext cx="452945" cy="138499"/>
            </a:xfrm>
            <a:prstGeom prst="rect">
              <a:avLst/>
            </a:prstGeom>
            <a:noFill/>
            <a:ln>
              <a:noFill/>
            </a:ln>
          </p:spPr>
          <p:txBody>
            <a:bodyPr wrap="none" lIns="27432" tIns="0" rIns="27432" bIns="0" rtlCol="0">
              <a:spAutoFit/>
            </a:bodyPr>
            <a:lstStyle/>
            <a:p>
              <a:r>
                <a:rPr lang="en-GB" sz="900" noProof="1" smtClean="0">
                  <a:solidFill>
                    <a:schemeClr val="tx1"/>
                  </a:solidFill>
                  <a:latin typeface="+mn-lt"/>
                  <a:cs typeface="Arial" pitchFamily="34" charset="0"/>
                </a:rPr>
                <a:t>Agenda</a:t>
              </a:r>
              <a:endParaRPr lang="en-GB" sz="900" noProof="1" smtClean="0">
                <a:solidFill>
                  <a:schemeClr val="tx1"/>
                </a:solidFill>
                <a:latin typeface="+mn-lt"/>
                <a:cs typeface="Arial" pitchFamily="34" charset="0"/>
              </a:endParaRPr>
            </a:p>
          </p:txBody>
        </p:sp>
      </p:grpSp>
    </p:spTree>
    <p:custDataLst>
      <p:tags r:id="rId1"/>
    </p:custDataLst>
    <p:extLst>
      <p:ext uri="{BB962C8B-B14F-4D97-AF65-F5344CB8AC3E}">
        <p14:creationId xmlns:p14="http://schemas.microsoft.com/office/powerpoint/2010/main" val="264432265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id" hidden="1"/>
          <p:cNvGrpSpPr/>
          <p:nvPr>
            <p:custDataLst>
              <p:tags r:id="rId2"/>
            </p:custDataLst>
          </p:nvPr>
        </p:nvGrpSpPr>
        <p:grpSpPr>
          <a:xfrm>
            <a:off x="530351" y="612648"/>
            <a:ext cx="8997696" cy="6848856"/>
            <a:chOff x="530352" y="612648"/>
            <a:chExt cx="8997696" cy="6848856"/>
          </a:xfrm>
        </p:grpSpPr>
        <p:grpSp>
          <p:nvGrpSpPr>
            <p:cNvPr id="4" name="Group 107" hidden="1"/>
            <p:cNvGrpSpPr/>
            <p:nvPr/>
          </p:nvGrpSpPr>
          <p:grpSpPr>
            <a:xfrm>
              <a:off x="530352" y="7159752"/>
              <a:ext cx="8997696" cy="301752"/>
              <a:chOff x="530352" y="7159752"/>
              <a:chExt cx="8997696" cy="301752"/>
            </a:xfrm>
          </p:grpSpPr>
          <p:sp>
            <p:nvSpPr>
              <p:cNvPr id="51" name="Footer block" hidden="1"/>
              <p:cNvSpPr>
                <a:spLocks noChangeArrowheads="1"/>
              </p:cNvSpPr>
              <p:nvPr/>
            </p:nvSpPr>
            <p:spPr bwMode="gray">
              <a:xfrm>
                <a:off x="6629400"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2" name="Footer block" hidden="1"/>
              <p:cNvSpPr>
                <a:spLocks noChangeArrowheads="1"/>
              </p:cNvSpPr>
              <p:nvPr/>
            </p:nvSpPr>
            <p:spPr bwMode="gray">
              <a:xfrm>
                <a:off x="3584448"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sp>
            <p:nvSpPr>
              <p:cNvPr id="53" name="Footer block" hidden="1"/>
              <p:cNvSpPr>
                <a:spLocks noChangeArrowheads="1"/>
              </p:cNvSpPr>
              <p:nvPr/>
            </p:nvSpPr>
            <p:spPr bwMode="gray">
              <a:xfrm>
                <a:off x="530352" y="7159752"/>
                <a:ext cx="2898648" cy="301752"/>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912813">
                  <a:defRPr/>
                </a:pPr>
                <a:endParaRPr lang="en-GB" dirty="0"/>
              </a:p>
            </p:txBody>
          </p:sp>
        </p:grpSp>
        <p:grpSp>
          <p:nvGrpSpPr>
            <p:cNvPr id="5" name="Group 106" hidden="1"/>
            <p:cNvGrpSpPr/>
            <p:nvPr/>
          </p:nvGrpSpPr>
          <p:grpSpPr>
            <a:xfrm>
              <a:off x="530352" y="1066800"/>
              <a:ext cx="8997696" cy="835152"/>
              <a:chOff x="530352" y="1066800"/>
              <a:chExt cx="8997696" cy="835152"/>
            </a:xfrm>
          </p:grpSpPr>
          <p:sp>
            <p:nvSpPr>
              <p:cNvPr id="49" name="Title block" hidden="1"/>
              <p:cNvSpPr>
                <a:spLocks noChangeArrowheads="1"/>
              </p:cNvSpPr>
              <p:nvPr/>
            </p:nvSpPr>
            <p:spPr bwMode="gray">
              <a:xfrm>
                <a:off x="5102352" y="1066800"/>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sp>
            <p:nvSpPr>
              <p:cNvPr id="50" name="Title block" hidden="1"/>
              <p:cNvSpPr>
                <a:spLocks noChangeArrowheads="1"/>
              </p:cNvSpPr>
              <p:nvPr/>
            </p:nvSpPr>
            <p:spPr bwMode="gray">
              <a:xfrm>
                <a:off x="530352" y="1069848"/>
                <a:ext cx="4425696" cy="832104"/>
              </a:xfrm>
              <a:prstGeom prst="rect">
                <a:avLst/>
              </a:prstGeom>
              <a:solidFill>
                <a:srgbClr val="FCC3D7">
                  <a:alpha val="25000"/>
                </a:srgbClr>
              </a:solidFill>
              <a:ln w="6350" cap="rnd">
                <a:solidFill>
                  <a:srgbClr val="FCC3D7"/>
                </a:solidFill>
                <a:prstDash val="sysDot"/>
                <a:miter lim="800000"/>
                <a:headEnd/>
                <a:tailEnd/>
              </a:ln>
              <a:effectLst/>
            </p:spPr>
            <p:txBody>
              <a:bodyPr wrap="none" lIns="0" tIns="0" rIns="0" bIns="0" anchor="ctr"/>
              <a:lstStyle/>
              <a:p>
                <a:pPr algn="ctr" defTabSz="912813">
                  <a:defRPr/>
                </a:pPr>
                <a:endParaRPr lang="en-GB" dirty="0"/>
              </a:p>
            </p:txBody>
          </p:sp>
        </p:grpSp>
        <p:sp>
          <p:nvSpPr>
            <p:cNvPr id="6" name="Header block" hidden="1"/>
            <p:cNvSpPr>
              <a:spLocks noChangeArrowheads="1"/>
            </p:cNvSpPr>
            <p:nvPr/>
          </p:nvSpPr>
          <p:spPr bwMode="gray">
            <a:xfrm>
              <a:off x="530352" y="612648"/>
              <a:ext cx="8988552" cy="228600"/>
            </a:xfrm>
            <a:prstGeom prst="rect">
              <a:avLst/>
            </a:prstGeom>
            <a:solidFill>
              <a:srgbClr val="CCFFFF">
                <a:alpha val="25000"/>
              </a:srgbClr>
            </a:solidFill>
            <a:ln w="6350" cap="rnd">
              <a:solidFill>
                <a:srgbClr val="CCFFFF"/>
              </a:solidFill>
              <a:prstDash val="sysDot"/>
              <a:miter lim="800000"/>
              <a:headEnd/>
              <a:tailEnd/>
            </a:ln>
            <a:effectLst/>
          </p:spPr>
          <p:txBody>
            <a:bodyPr wrap="none" lIns="0" tIns="0" rIns="0" bIns="0" anchor="ctr"/>
            <a:lstStyle/>
            <a:p>
              <a:pPr algn="ctr" defTabSz="801688">
                <a:buSzPct val="90000"/>
                <a:defRPr/>
              </a:pPr>
              <a:endParaRPr lang="en-GB" sz="1400" dirty="0">
                <a:solidFill>
                  <a:schemeClr val="folHlink"/>
                </a:solidFill>
                <a:cs typeface="Arial" charset="0"/>
              </a:endParaRPr>
            </a:p>
          </p:txBody>
        </p:sp>
        <p:grpSp>
          <p:nvGrpSpPr>
            <p:cNvPr id="7" name="Group 600" hidden="1"/>
            <p:cNvGrpSpPr/>
            <p:nvPr/>
          </p:nvGrpSpPr>
          <p:grpSpPr>
            <a:xfrm>
              <a:off x="533400" y="6245352"/>
              <a:ext cx="8994648" cy="688848"/>
              <a:chOff x="533400" y="6013704"/>
              <a:chExt cx="8994648" cy="688848"/>
            </a:xfrm>
          </p:grpSpPr>
          <p:sp>
            <p:nvSpPr>
              <p:cNvPr id="43" name="Content block 606" hidden="1"/>
              <p:cNvSpPr>
                <a:spLocks noChangeArrowheads="1"/>
              </p:cNvSpPr>
              <p:nvPr/>
            </p:nvSpPr>
            <p:spPr bwMode="gray">
              <a:xfrm>
                <a:off x="8156448"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4" name="Content block 605" hidden="1"/>
              <p:cNvSpPr>
                <a:spLocks noChangeArrowheads="1"/>
              </p:cNvSpPr>
              <p:nvPr/>
            </p:nvSpPr>
            <p:spPr bwMode="gray">
              <a:xfrm>
                <a:off x="6631840" y="60137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5" name="Content block 604" hidden="1"/>
              <p:cNvSpPr>
                <a:spLocks noChangeArrowheads="1"/>
              </p:cNvSpPr>
              <p:nvPr/>
            </p:nvSpPr>
            <p:spPr bwMode="gray">
              <a:xfrm>
                <a:off x="510723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6" name="Content block 603" hidden="1"/>
              <p:cNvSpPr>
                <a:spLocks noChangeArrowheads="1"/>
              </p:cNvSpPr>
              <p:nvPr/>
            </p:nvSpPr>
            <p:spPr bwMode="gray">
              <a:xfrm>
                <a:off x="358262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7" name="Content block 602" hidden="1"/>
              <p:cNvSpPr>
                <a:spLocks noChangeArrowheads="1"/>
              </p:cNvSpPr>
              <p:nvPr/>
            </p:nvSpPr>
            <p:spPr bwMode="gray">
              <a:xfrm>
                <a:off x="205801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8" name="Content block 601" hidden="1"/>
              <p:cNvSpPr>
                <a:spLocks noChangeArrowheads="1"/>
              </p:cNvSpPr>
              <p:nvPr/>
            </p:nvSpPr>
            <p:spPr bwMode="gray">
              <a:xfrm>
                <a:off x="533400" y="60167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8" name="Group 500" hidden="1"/>
            <p:cNvGrpSpPr/>
            <p:nvPr/>
          </p:nvGrpSpPr>
          <p:grpSpPr>
            <a:xfrm>
              <a:off x="533400" y="5407152"/>
              <a:ext cx="8994648" cy="688848"/>
              <a:chOff x="533400" y="5026152"/>
              <a:chExt cx="8994648" cy="688848"/>
            </a:xfrm>
          </p:grpSpPr>
          <p:sp>
            <p:nvSpPr>
              <p:cNvPr id="37" name="Content block 506" hidden="1"/>
              <p:cNvSpPr>
                <a:spLocks noChangeArrowheads="1"/>
              </p:cNvSpPr>
              <p:nvPr/>
            </p:nvSpPr>
            <p:spPr bwMode="gray">
              <a:xfrm>
                <a:off x="8156448"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8" name="Content block 505" hidden="1"/>
              <p:cNvSpPr>
                <a:spLocks noChangeArrowheads="1"/>
              </p:cNvSpPr>
              <p:nvPr/>
            </p:nvSpPr>
            <p:spPr bwMode="gray">
              <a:xfrm>
                <a:off x="6631840" y="50261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9" name="Content block 504" hidden="1"/>
              <p:cNvSpPr>
                <a:spLocks noChangeArrowheads="1"/>
              </p:cNvSpPr>
              <p:nvPr/>
            </p:nvSpPr>
            <p:spPr bwMode="gray">
              <a:xfrm>
                <a:off x="510723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0" name="Content block 503" hidden="1"/>
              <p:cNvSpPr>
                <a:spLocks noChangeArrowheads="1"/>
              </p:cNvSpPr>
              <p:nvPr/>
            </p:nvSpPr>
            <p:spPr bwMode="gray">
              <a:xfrm>
                <a:off x="358262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1" name="Content block 502" hidden="1"/>
              <p:cNvSpPr>
                <a:spLocks noChangeArrowheads="1"/>
              </p:cNvSpPr>
              <p:nvPr/>
            </p:nvSpPr>
            <p:spPr bwMode="gray">
              <a:xfrm>
                <a:off x="205801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42" name="Content block 501" hidden="1"/>
              <p:cNvSpPr>
                <a:spLocks noChangeArrowheads="1"/>
              </p:cNvSpPr>
              <p:nvPr/>
            </p:nvSpPr>
            <p:spPr bwMode="gray">
              <a:xfrm>
                <a:off x="533400" y="50292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9" name="Group 400" hidden="1"/>
            <p:cNvGrpSpPr/>
            <p:nvPr/>
          </p:nvGrpSpPr>
          <p:grpSpPr>
            <a:xfrm>
              <a:off x="533400" y="4568952"/>
              <a:ext cx="8994648" cy="688848"/>
              <a:chOff x="533400" y="4038600"/>
              <a:chExt cx="8994648" cy="688848"/>
            </a:xfrm>
          </p:grpSpPr>
          <p:sp>
            <p:nvSpPr>
              <p:cNvPr id="31" name="Content block 406" hidden="1"/>
              <p:cNvSpPr>
                <a:spLocks noChangeArrowheads="1"/>
              </p:cNvSpPr>
              <p:nvPr/>
            </p:nvSpPr>
            <p:spPr bwMode="gray">
              <a:xfrm>
                <a:off x="8156448"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2" name="Content block 405" hidden="1"/>
              <p:cNvSpPr>
                <a:spLocks noChangeArrowheads="1"/>
              </p:cNvSpPr>
              <p:nvPr/>
            </p:nvSpPr>
            <p:spPr bwMode="gray">
              <a:xfrm>
                <a:off x="6631840" y="40386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3" name="Content block 404" hidden="1"/>
              <p:cNvSpPr>
                <a:spLocks noChangeArrowheads="1"/>
              </p:cNvSpPr>
              <p:nvPr/>
            </p:nvSpPr>
            <p:spPr bwMode="gray">
              <a:xfrm>
                <a:off x="510723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4" name="Content block 403" hidden="1"/>
              <p:cNvSpPr>
                <a:spLocks noChangeArrowheads="1"/>
              </p:cNvSpPr>
              <p:nvPr/>
            </p:nvSpPr>
            <p:spPr bwMode="gray">
              <a:xfrm>
                <a:off x="358262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5" name="Content block 402" hidden="1"/>
              <p:cNvSpPr>
                <a:spLocks noChangeArrowheads="1"/>
              </p:cNvSpPr>
              <p:nvPr/>
            </p:nvSpPr>
            <p:spPr bwMode="gray">
              <a:xfrm>
                <a:off x="205801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6" name="Content block 401" hidden="1"/>
              <p:cNvSpPr>
                <a:spLocks noChangeArrowheads="1"/>
              </p:cNvSpPr>
              <p:nvPr/>
            </p:nvSpPr>
            <p:spPr bwMode="gray">
              <a:xfrm>
                <a:off x="533400" y="40416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0" name="Group 300" hidden="1"/>
            <p:cNvGrpSpPr/>
            <p:nvPr/>
          </p:nvGrpSpPr>
          <p:grpSpPr>
            <a:xfrm>
              <a:off x="533400" y="3730752"/>
              <a:ext cx="8994648" cy="688848"/>
              <a:chOff x="533400" y="3041904"/>
              <a:chExt cx="8994648" cy="688848"/>
            </a:xfrm>
          </p:grpSpPr>
          <p:sp>
            <p:nvSpPr>
              <p:cNvPr id="25" name="Content block 306" hidden="1"/>
              <p:cNvSpPr>
                <a:spLocks noChangeArrowheads="1"/>
              </p:cNvSpPr>
              <p:nvPr/>
            </p:nvSpPr>
            <p:spPr bwMode="gray">
              <a:xfrm>
                <a:off x="8156448"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6" name="Content block 305" hidden="1"/>
              <p:cNvSpPr>
                <a:spLocks noChangeArrowheads="1"/>
              </p:cNvSpPr>
              <p:nvPr/>
            </p:nvSpPr>
            <p:spPr bwMode="gray">
              <a:xfrm>
                <a:off x="6631840" y="3041904"/>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7" name="Content block 304" hidden="1"/>
              <p:cNvSpPr>
                <a:spLocks noChangeArrowheads="1"/>
              </p:cNvSpPr>
              <p:nvPr/>
            </p:nvSpPr>
            <p:spPr bwMode="gray">
              <a:xfrm>
                <a:off x="510723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8" name="Content block 303" hidden="1"/>
              <p:cNvSpPr>
                <a:spLocks noChangeArrowheads="1"/>
              </p:cNvSpPr>
              <p:nvPr/>
            </p:nvSpPr>
            <p:spPr bwMode="gray">
              <a:xfrm>
                <a:off x="358262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9" name="Content block 302" hidden="1"/>
              <p:cNvSpPr>
                <a:spLocks noChangeArrowheads="1"/>
              </p:cNvSpPr>
              <p:nvPr/>
            </p:nvSpPr>
            <p:spPr bwMode="gray">
              <a:xfrm>
                <a:off x="205801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30" name="Content block 301" hidden="1"/>
              <p:cNvSpPr>
                <a:spLocks noChangeArrowheads="1"/>
              </p:cNvSpPr>
              <p:nvPr/>
            </p:nvSpPr>
            <p:spPr bwMode="gray">
              <a:xfrm>
                <a:off x="533400" y="30449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1" name="Group 200" hidden="1"/>
            <p:cNvGrpSpPr/>
            <p:nvPr/>
          </p:nvGrpSpPr>
          <p:grpSpPr>
            <a:xfrm>
              <a:off x="533400" y="2892552"/>
              <a:ext cx="8994648" cy="688848"/>
              <a:chOff x="533400" y="1066800"/>
              <a:chExt cx="8994648" cy="688848"/>
            </a:xfrm>
          </p:grpSpPr>
          <p:sp>
            <p:nvSpPr>
              <p:cNvPr id="19" name="Content block 206" hidden="1"/>
              <p:cNvSpPr>
                <a:spLocks noChangeArrowheads="1"/>
              </p:cNvSpPr>
              <p:nvPr/>
            </p:nvSpPr>
            <p:spPr bwMode="gray">
              <a:xfrm>
                <a:off x="8156448"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0" name="Content block 205" hidden="1"/>
              <p:cNvSpPr>
                <a:spLocks noChangeArrowheads="1"/>
              </p:cNvSpPr>
              <p:nvPr/>
            </p:nvSpPr>
            <p:spPr bwMode="gray">
              <a:xfrm>
                <a:off x="6631840" y="10668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1" name="Content block 204" hidden="1"/>
              <p:cNvSpPr>
                <a:spLocks noChangeArrowheads="1"/>
              </p:cNvSpPr>
              <p:nvPr/>
            </p:nvSpPr>
            <p:spPr bwMode="gray">
              <a:xfrm>
                <a:off x="510723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2" name="Content block 203" hidden="1"/>
              <p:cNvSpPr>
                <a:spLocks noChangeArrowheads="1"/>
              </p:cNvSpPr>
              <p:nvPr/>
            </p:nvSpPr>
            <p:spPr bwMode="gray">
              <a:xfrm>
                <a:off x="358262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3" name="Content block 202" hidden="1"/>
              <p:cNvSpPr>
                <a:spLocks noChangeArrowheads="1"/>
              </p:cNvSpPr>
              <p:nvPr/>
            </p:nvSpPr>
            <p:spPr bwMode="gray">
              <a:xfrm>
                <a:off x="205801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24" name="Content block 201" hidden="1"/>
              <p:cNvSpPr>
                <a:spLocks noChangeArrowheads="1"/>
              </p:cNvSpPr>
              <p:nvPr/>
            </p:nvSpPr>
            <p:spPr bwMode="gray">
              <a:xfrm>
                <a:off x="533400" y="1069848"/>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nvGrpSpPr>
            <p:cNvPr id="12" name="Group 100" hidden="1"/>
            <p:cNvGrpSpPr/>
            <p:nvPr/>
          </p:nvGrpSpPr>
          <p:grpSpPr>
            <a:xfrm>
              <a:off x="533400" y="2054352"/>
              <a:ext cx="8994648" cy="688848"/>
              <a:chOff x="533400" y="2054352"/>
              <a:chExt cx="8994648" cy="688848"/>
            </a:xfrm>
          </p:grpSpPr>
          <p:sp>
            <p:nvSpPr>
              <p:cNvPr id="13" name="Content block 106" hidden="1"/>
              <p:cNvSpPr>
                <a:spLocks noChangeArrowheads="1"/>
              </p:cNvSpPr>
              <p:nvPr/>
            </p:nvSpPr>
            <p:spPr bwMode="gray">
              <a:xfrm>
                <a:off x="8156448"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4" name="Content block 105" hidden="1"/>
              <p:cNvSpPr>
                <a:spLocks noChangeArrowheads="1"/>
              </p:cNvSpPr>
              <p:nvPr/>
            </p:nvSpPr>
            <p:spPr bwMode="gray">
              <a:xfrm>
                <a:off x="6631840" y="2054352"/>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5" name="Content block 104" hidden="1"/>
              <p:cNvSpPr>
                <a:spLocks noChangeArrowheads="1"/>
              </p:cNvSpPr>
              <p:nvPr/>
            </p:nvSpPr>
            <p:spPr bwMode="gray">
              <a:xfrm>
                <a:off x="510723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6" name="Content block 103" hidden="1"/>
              <p:cNvSpPr>
                <a:spLocks noChangeArrowheads="1"/>
              </p:cNvSpPr>
              <p:nvPr/>
            </p:nvSpPr>
            <p:spPr bwMode="gray">
              <a:xfrm>
                <a:off x="358262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7" name="Content block 102" hidden="1"/>
              <p:cNvSpPr>
                <a:spLocks noChangeArrowheads="1"/>
              </p:cNvSpPr>
              <p:nvPr/>
            </p:nvSpPr>
            <p:spPr bwMode="gray">
              <a:xfrm>
                <a:off x="205801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sp>
            <p:nvSpPr>
              <p:cNvPr id="18" name="Content block 101" hidden="1"/>
              <p:cNvSpPr>
                <a:spLocks noChangeArrowheads="1"/>
              </p:cNvSpPr>
              <p:nvPr/>
            </p:nvSpPr>
            <p:spPr bwMode="gray">
              <a:xfrm>
                <a:off x="533400" y="2057400"/>
                <a:ext cx="1371600" cy="685800"/>
              </a:xfrm>
              <a:prstGeom prst="rect">
                <a:avLst/>
              </a:prstGeom>
              <a:solidFill>
                <a:srgbClr val="E7EBE0">
                  <a:alpha val="50000"/>
                </a:srgbClr>
              </a:solidFill>
              <a:ln w="6350">
                <a:solidFill>
                  <a:srgbClr val="E7EBE0"/>
                </a:solidFill>
                <a:prstDash val="sysDot"/>
                <a:miter lim="800000"/>
                <a:headEnd/>
                <a:tailEnd/>
              </a:ln>
              <a:effectLst/>
            </p:spPr>
            <p:txBody>
              <a:bodyPr wrap="none" lIns="0" tIns="0" rIns="0" bIns="0" anchor="ctr"/>
              <a:lstStyle/>
              <a:p>
                <a:pPr algn="ctr" defTabSz="912813">
                  <a:defRPr/>
                </a:pPr>
                <a:endParaRPr lang="en-GB" dirty="0"/>
              </a:p>
            </p:txBody>
          </p:sp>
        </p:grpSp>
      </p:grpSp>
      <p:sp>
        <p:nvSpPr>
          <p:cNvPr id="2" name="Title 1"/>
          <p:cNvSpPr>
            <a:spLocks noGrp="1"/>
          </p:cNvSpPr>
          <p:nvPr>
            <p:ph type="title"/>
            <p:custDataLst>
              <p:tags r:id="rId3"/>
            </p:custDataLst>
          </p:nvPr>
        </p:nvSpPr>
        <p:spPr>
          <a:xfrm>
            <a:off x="529200" y="1004400"/>
            <a:ext cx="7020280" cy="492443"/>
          </a:xfrm>
        </p:spPr>
        <p:txBody>
          <a:bodyPr/>
          <a:lstStyle/>
          <a:p>
            <a:r>
              <a:rPr lang="en-GB" altLang="zh-CN" dirty="0" smtClean="0"/>
              <a:t>Part II  Indirect Equity Transfer </a:t>
            </a:r>
            <a:endParaRPr lang="en-GB" dirty="0"/>
          </a:p>
        </p:txBody>
      </p:sp>
      <p:sp>
        <p:nvSpPr>
          <p:cNvPr id="75" name="Section Header" hidden="1"/>
          <p:cNvSpPr txBox="1"/>
          <p:nvPr>
            <p:custDataLst>
              <p:tags r:id="rId4"/>
            </p:custDataLst>
          </p:nvPr>
        </p:nvSpPr>
        <p:spPr>
          <a:xfrm>
            <a:off x="530351" y="704087"/>
            <a:ext cx="3034379" cy="137160"/>
          </a:xfrm>
          <a:prstGeom prst="rect">
            <a:avLst/>
          </a:prstGeom>
          <a:noFill/>
        </p:spPr>
        <p:txBody>
          <a:bodyPr wrap="square" lIns="0" tIns="0" rIns="0" bIns="0" rtlCol="0" anchor="b" anchorCtr="0">
            <a:noAutofit/>
          </a:bodyPr>
          <a:lstStyle/>
          <a:p>
            <a:r>
              <a:rPr lang="en-GB" altLang="zh-CN" sz="900" noProof="1" smtClean="0">
                <a:solidFill>
                  <a:schemeClr val="tx1"/>
                </a:solidFill>
              </a:rPr>
              <a:t>-1 Part II  Indirect Equity Transfer </a:t>
            </a:r>
            <a:endParaRPr lang="en-GB" sz="900" noProof="1" smtClean="0">
              <a:solidFill>
                <a:schemeClr val="tx1"/>
              </a:solidFill>
            </a:endParaRPr>
          </a:p>
        </p:txBody>
      </p:sp>
      <p:sp>
        <p:nvSpPr>
          <p:cNvPr id="157" name="Page Number"/>
          <p:cNvSpPr txBox="1"/>
          <p:nvPr>
            <p:custDataLst>
              <p:tags r:id="rId5"/>
            </p:custDataLst>
          </p:nvPr>
        </p:nvSpPr>
        <p:spPr>
          <a:xfrm>
            <a:off x="9217152" y="7315200"/>
            <a:ext cx="320040" cy="155448"/>
          </a:xfrm>
          <a:prstGeom prst="rect">
            <a:avLst/>
          </a:prstGeom>
          <a:noFill/>
        </p:spPr>
        <p:txBody>
          <a:bodyPr wrap="none" lIns="0" tIns="0" rIns="0" bIns="0" rtlCol="0">
            <a:noAutofit/>
          </a:bodyPr>
          <a:lstStyle/>
          <a:p>
            <a:pPr algn="r">
              <a:lnSpc>
                <a:spcPts val="1000"/>
              </a:lnSpc>
            </a:pPr>
            <a:r>
              <a:rPr lang="en-GB" sz="1100" noProof="1" smtClean="0">
                <a:latin typeface="+mj-lt"/>
              </a:rPr>
              <a:t>9</a:t>
            </a:r>
            <a:endParaRPr lang="en-GB" sz="1100" noProof="1" smtClean="0">
              <a:latin typeface="+mj-lt"/>
            </a:endParaRPr>
          </a:p>
        </p:txBody>
      </p:sp>
      <p:sp>
        <p:nvSpPr>
          <p:cNvPr id="158" name="Section Footer"/>
          <p:cNvSpPr txBox="1"/>
          <p:nvPr>
            <p:custDataLst>
              <p:tags r:id="rId6"/>
            </p:custDataLst>
          </p:nvPr>
        </p:nvSpPr>
        <p:spPr>
          <a:xfrm>
            <a:off x="530351" y="7128974"/>
            <a:ext cx="2898648" cy="169277"/>
          </a:xfrm>
          <a:prstGeom prst="rect">
            <a:avLst/>
          </a:prstGeom>
          <a:noFill/>
          <a:ln>
            <a:noFill/>
          </a:ln>
        </p:spPr>
        <p:txBody>
          <a:bodyPr wrap="square" lIns="0" tIns="0" rIns="0" bIns="0" rtlCol="0" anchor="b" anchorCtr="0">
            <a:spAutoFit/>
          </a:bodyPr>
          <a:lstStyle/>
          <a:p>
            <a:r>
              <a:rPr lang="en-GB" altLang="zh-CN" sz="1100" noProof="1" smtClean="0">
                <a:solidFill>
                  <a:schemeClr val="tx1"/>
                </a:solidFill>
                <a:latin typeface="+mj-lt"/>
                <a:ea typeface="宋体" panose="02010600030101010101" pitchFamily="2" charset="-122"/>
              </a:rPr>
              <a:t>Overview of PRC GAAR</a:t>
            </a:r>
            <a:endParaRPr lang="en-GB" sz="1100" noProof="1" smtClean="0">
              <a:solidFill>
                <a:schemeClr val="tx1"/>
              </a:solidFill>
              <a:latin typeface="+mj-lt"/>
              <a:ea typeface="宋体" panose="02010600030101010101" pitchFamily="2" charset="-122"/>
            </a:endParaRPr>
          </a:p>
        </p:txBody>
      </p:sp>
      <p:grpSp>
        <p:nvGrpSpPr>
          <p:cNvPr id="57" name="Group 56"/>
          <p:cNvGrpSpPr/>
          <p:nvPr>
            <p:custDataLst>
              <p:tags r:id="rId7"/>
            </p:custDataLst>
          </p:nvPr>
        </p:nvGrpSpPr>
        <p:grpSpPr>
          <a:xfrm>
            <a:off x="5283980" y="704088"/>
            <a:ext cx="4236835" cy="138499"/>
            <a:chOff x="5283980" y="704088"/>
            <a:chExt cx="4236835" cy="138499"/>
          </a:xfrm>
        </p:grpSpPr>
        <p:sp>
          <p:nvSpPr>
            <p:cNvPr id="83" name="745">
              <a:hlinkClick r:id="rId14" action="ppaction://hlinksldjump"/>
            </p:cNvPr>
            <p:cNvSpPr txBox="1"/>
            <p:nvPr>
              <p:custDataLst>
                <p:tags r:id="rId8"/>
              </p:custDataLst>
            </p:nvPr>
          </p:nvSpPr>
          <p:spPr>
            <a:xfrm>
              <a:off x="7868824" y="704088"/>
              <a:ext cx="1651991" cy="138499"/>
            </a:xfrm>
            <a:prstGeom prst="rect">
              <a:avLst/>
            </a:prstGeom>
            <a:noFill/>
            <a:ln>
              <a:noFill/>
            </a:ln>
          </p:spPr>
          <p:txBody>
            <a:bodyPr wrap="none" lIns="27432" tIns="0" rIns="27432" bIns="0" rtlCol="0">
              <a:spAutoFit/>
            </a:bodyPr>
            <a:lstStyle/>
            <a:p>
              <a:r>
                <a:rPr lang="en-US" sz="900" noProof="1" smtClean="0">
                  <a:solidFill>
                    <a:schemeClr val="tx2"/>
                  </a:solidFill>
                  <a:cs typeface="Arial" pitchFamily="34" charset="0"/>
                </a:rPr>
                <a:t>Part II  Indirect Equity Transfer </a:t>
              </a:r>
              <a:endParaRPr lang="en-GB" sz="900" noProof="1" smtClean="0">
                <a:solidFill>
                  <a:schemeClr val="tx2"/>
                </a:solidFill>
                <a:cs typeface="Arial" pitchFamily="34" charset="0"/>
              </a:endParaRPr>
            </a:p>
          </p:txBody>
        </p:sp>
        <p:cxnSp>
          <p:nvCxnSpPr>
            <p:cNvPr id="85" name="Divider1"/>
            <p:cNvCxnSpPr/>
            <p:nvPr>
              <p:custDataLst>
                <p:tags r:id="rId9"/>
              </p:custDataLst>
            </p:nvPr>
          </p:nvCxnSpPr>
          <p:spPr>
            <a:xfrm>
              <a:off x="7843424"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86" name="638">
              <a:hlinkClick r:id="rId15" action="ppaction://hlinksldjump"/>
            </p:cNvPr>
            <p:cNvSpPr txBox="1"/>
            <p:nvPr>
              <p:custDataLst>
                <p:tags r:id="rId10"/>
              </p:custDataLst>
            </p:nvPr>
          </p:nvSpPr>
          <p:spPr>
            <a:xfrm>
              <a:off x="5787725" y="704088"/>
              <a:ext cx="2030299" cy="138499"/>
            </a:xfrm>
            <a:prstGeom prst="rect">
              <a:avLst/>
            </a:prstGeom>
            <a:noFill/>
            <a:ln>
              <a:noFill/>
            </a:ln>
          </p:spPr>
          <p:txBody>
            <a:bodyPr wrap="none" lIns="27432" tIns="0" rIns="27432" bIns="0" rtlCol="0">
              <a:spAutoFit/>
            </a:bodyPr>
            <a:lstStyle/>
            <a:p>
              <a:r>
                <a:rPr lang="en-US" sz="900" noProof="1" smtClean="0">
                  <a:solidFill>
                    <a:schemeClr val="tx1"/>
                  </a:solidFill>
                  <a:latin typeface="+mn-lt"/>
                  <a:cs typeface="Arial" pitchFamily="34" charset="0"/>
                </a:rPr>
                <a:t>Part I  Brief Introduction to PRC GAAR</a:t>
              </a:r>
              <a:endParaRPr lang="en-GB" sz="900" noProof="1" smtClean="0">
                <a:solidFill>
                  <a:schemeClr val="tx1"/>
                </a:solidFill>
                <a:latin typeface="+mn-lt"/>
                <a:cs typeface="Arial" pitchFamily="34" charset="0"/>
              </a:endParaRPr>
            </a:p>
          </p:txBody>
        </p:sp>
        <p:cxnSp>
          <p:nvCxnSpPr>
            <p:cNvPr id="88" name="Divider2"/>
            <p:cNvCxnSpPr/>
            <p:nvPr>
              <p:custDataLst>
                <p:tags r:id="rId11"/>
              </p:custDataLst>
            </p:nvPr>
          </p:nvCxnSpPr>
          <p:spPr>
            <a:xfrm>
              <a:off x="5762325" y="704088"/>
              <a:ext cx="0" cy="138499"/>
            </a:xfrm>
            <a:prstGeom prst="line">
              <a:avLst/>
            </a:prstGeom>
            <a:ln w="12700">
              <a:solidFill>
                <a:srgbClr val="000000"/>
              </a:solidFill>
            </a:ln>
          </p:spPr>
          <p:style>
            <a:lnRef idx="1">
              <a:schemeClr val="accent1"/>
            </a:lnRef>
            <a:fillRef idx="0">
              <a:schemeClr val="accent1"/>
            </a:fillRef>
            <a:effectRef idx="0">
              <a:schemeClr val="accent1"/>
            </a:effectRef>
            <a:fontRef idx="minor">
              <a:schemeClr val="tx1"/>
            </a:fontRef>
          </p:style>
        </p:cxnSp>
        <p:sp>
          <p:nvSpPr>
            <p:cNvPr id="89" name="735">
              <a:hlinkClick r:id="rId16" action="ppaction://hlinksldjump"/>
            </p:cNvPr>
            <p:cNvSpPr txBox="1"/>
            <p:nvPr>
              <p:custDataLst>
                <p:tags r:id="rId12"/>
              </p:custDataLst>
            </p:nvPr>
          </p:nvSpPr>
          <p:spPr>
            <a:xfrm>
              <a:off x="5283980" y="704088"/>
              <a:ext cx="452945" cy="138499"/>
            </a:xfrm>
            <a:prstGeom prst="rect">
              <a:avLst/>
            </a:prstGeom>
            <a:noFill/>
            <a:ln>
              <a:noFill/>
            </a:ln>
          </p:spPr>
          <p:txBody>
            <a:bodyPr wrap="none" lIns="27432" tIns="0" rIns="27432" bIns="0" rtlCol="0">
              <a:spAutoFit/>
            </a:bodyPr>
            <a:lstStyle/>
            <a:p>
              <a:r>
                <a:rPr lang="en-GB" sz="900" noProof="1" smtClean="0">
                  <a:solidFill>
                    <a:schemeClr val="tx1"/>
                  </a:solidFill>
                  <a:latin typeface="+mn-lt"/>
                  <a:cs typeface="Arial" pitchFamily="34" charset="0"/>
                </a:rPr>
                <a:t>Agenda</a:t>
              </a:r>
              <a:endParaRPr lang="en-GB" sz="900" noProof="1" smtClean="0">
                <a:solidFill>
                  <a:schemeClr val="tx1"/>
                </a:solidFill>
                <a:latin typeface="+mn-lt"/>
                <a:cs typeface="Arial" pitchFamily="34" charset="0"/>
              </a:endParaRPr>
            </a:p>
          </p:txBody>
        </p:sp>
      </p:grpSp>
    </p:spTree>
    <p:custDataLst>
      <p:tags r:id="rId1"/>
    </p:custDataLst>
    <p:extLst>
      <p:ext uri="{BB962C8B-B14F-4D97-AF65-F5344CB8AC3E}">
        <p14:creationId xmlns:p14="http://schemas.microsoft.com/office/powerpoint/2010/main" val="2448654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DISABLE EXECUTIVE SUMMARY" val="Yes"/>
  <p:tag name="FOOTERHEIGHT" val="550"/>
  <p:tag name="FORECASTBOXCOLOR" val="252,212,182"/>
  <p:tag name="FORECASTBOXTRANSPARENCY" val="0"/>
  <p:tag name="HIGHLIGHTBOXCOLOR" val="232,230,223"/>
  <p:tag name="HIGHLIGHTBOXTRANSPARENCY" val="0"/>
  <p:tag name="HORIZONTALTOCTYPE" val="Header TOC"/>
  <p:tag name="INCLUDEINHORIZONTALTOC" val="Yes"/>
  <p:tag name="PAGINATIONSTART" val="Slide 1"/>
  <p:tag name="SHOWDISCLAIMERCLIENTNAME" val="No"/>
  <p:tag name="SHOWPRESENTATIONDISCLAIMER" val="Yes"/>
  <p:tag name="SMARTISVISIBLE" val="{@PresentationDisclaimer}!=No Disclaimer"/>
  <p:tag name="SMARTSHAPETYPE" val="PresentationDisclaimer"/>
  <p:tag name="SMRTDOCUMENTTYPE" val="2"/>
  <p:tag name="TABLEDEFAULTFONTSIZE" val="10"/>
  <p:tag name="TABLEHEADERFONTSIZE" val="12"/>
  <p:tag name="TABLESTYLEID" val="{74ED0A72-4B8E-423B-AE2F-120ADE3C16FB}"/>
  <p:tag name="TOCAPPENDIXTEXT" val="Appendices"/>
  <p:tag name="TOCOVERVIEWTEXT" val="Overview"/>
  <p:tag name="TOCSECTIONHEADERTEXT" val="Section"/>
  <p:tag name="TOCSECTIONTEXT" val=" "/>
  <p:tag name="PICTURE" val="A Bridge in Lucerne"/>
  <p:tag name="TOCAGENDATEXT" val="Agenda"/>
  <p:tag name="TOCPAGETEXT" val="Page"/>
  <p:tag name="GRIDON" val="No"/>
  <p:tag name="SMARTTOCSTYLE" val="Standard Table of Contents"/>
  <p:tag name="SMARTTOCHYPERLINK" val="YES"/>
  <p:tag name="SHOW DRAFT STAMP" val="NO"/>
  <p:tag name="SHOW DATE FILEPATH" val="NO"/>
  <p:tag name="PRESENTATION THEME COLOR" val="Smart Report"/>
  <p:tag name="PRESENTATIONDISCLAIMER" val="No Disclaimer"/>
  <p:tag name="HASFRONTIMAGE" val="YES"/>
  <p:tag name="LANGUAGE" val="English (UK)"/>
  <p:tag name="SMARTTOCSLIDENUMBER" val="2"/>
  <p:tag name="CONFIDENTIALITY STAMP" val="Strictly Private and Confidential"/>
  <p:tag name="TOCTEXT" val="Agenda"/>
  <p:tag name="BUSINESSUNITCOVERTEXT" val="PwC"/>
  <p:tag name="TITLE" val="Overview of PRC GAAR"/>
  <p:tag name="SUBTITLE" val="&#10;Wendy Guo    &#10;Partner&#10;PwC Beijing"/>
  <p:tag name="DRAFT STAMP" val="草稿"/>
  <p:tag name="REPORT DATE" val="September 2018"/>
</p:tagLst>
</file>

<file path=ppt/tags/tag10.xml><?xml version="1.0" encoding="utf-8"?>
<p:tagLst xmlns:a="http://schemas.openxmlformats.org/drawingml/2006/main" xmlns:r="http://schemas.openxmlformats.org/officeDocument/2006/relationships" xmlns:p="http://schemas.openxmlformats.org/presentationml/2006/main">
  <p:tag name="FULLLENGTH" val="True"/>
</p:tagLst>
</file>

<file path=ppt/tags/tag100.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01.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102.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0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0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05.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0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0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08.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09.xml><?xml version="1.0" encoding="utf-8"?>
<p:tagLst xmlns:a="http://schemas.openxmlformats.org/drawingml/2006/main" xmlns:r="http://schemas.openxmlformats.org/officeDocument/2006/relationships" xmlns:p="http://schemas.openxmlformats.org/presentationml/2006/main">
  <p:tag name="SMARTSLIDETYPE" val="Divider"/>
  <p:tag name="SHOW EXECUTIVE SUMMARY" val="No"/>
  <p:tag name="SMARTDIVIDERTYPE" val="Section"/>
  <p:tag name="SMARTDIVIDERLEVEL" val="0"/>
  <p:tag name="SMARTDIVIDERTEXT" val="Section"/>
  <p:tag name="SMARTDIVIDERTOCSTYLE" val="Section TOC"/>
</p:tagLst>
</file>

<file path=ppt/tags/tag11.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110.xml><?xml version="1.0" encoding="utf-8"?>
<p:tagLst xmlns:a="http://schemas.openxmlformats.org/drawingml/2006/main" xmlns:r="http://schemas.openxmlformats.org/officeDocument/2006/relationships" xmlns:p="http://schemas.openxmlformats.org/presentationml/2006/main">
  <p:tag name="SMARTWRITE" val="{@BusinessUnitCoverText}"/>
  <p:tag name="SMARTREAD" val="{@BusinessUnitCoverText}"/>
  <p:tag name="SMARTOBJECT" val="Descriptor Large Title and Subtitle v.2"/>
</p:tagLst>
</file>

<file path=ppt/tags/tag111.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112.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113.xml><?xml version="1.0" encoding="utf-8"?>
<p:tagLst xmlns:a="http://schemas.openxmlformats.org/drawingml/2006/main" xmlns:r="http://schemas.openxmlformats.org/officeDocument/2006/relationships" xmlns:p="http://schemas.openxmlformats.org/presentationml/2006/main">
  <p:tag name="SMARTREAD" val="{@Confidentiality stamp}"/>
  <p:tag name="SMARTWRITE" val="{@Confidentiality stamp}"/>
  <p:tag name="SMARTOBJECT" val="Confidentiality stamp Default Cover v.3"/>
  <p:tag name="SMARTLINKEDSHAPEID" val="SideBar"/>
</p:tagLst>
</file>

<file path=ppt/tags/tag114.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115.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LINKEDSHAPEID" val="SideBar"/>
  <p:tag name="SMARTOBJECT" val="Report date Default Cover v.3"/>
</p:tagLst>
</file>

<file path=ppt/tags/tag116.xml><?xml version="1.0" encoding="utf-8"?>
<p:tagLst xmlns:a="http://schemas.openxmlformats.org/drawingml/2006/main" xmlns:r="http://schemas.openxmlformats.org/officeDocument/2006/relationships" xmlns:p="http://schemas.openxmlformats.org/presentationml/2006/main">
  <p:tag name="SMARTOBJECT" val="Cover Content"/>
</p:tagLst>
</file>

<file path=ppt/tags/tag117.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118.xml><?xml version="1.0" encoding="utf-8"?>
<p:tagLst xmlns:a="http://schemas.openxmlformats.org/drawingml/2006/main" xmlns:r="http://schemas.openxmlformats.org/officeDocument/2006/relationships" xmlns:p="http://schemas.openxmlformats.org/presentationml/2006/main">
  <p:tag name="UNLOCK SHAPES" val="YES"/>
</p:tagLst>
</file>

<file path=ppt/tags/tag119.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1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20.xml><?xml version="1.0" encoding="utf-8"?>
<p:tagLst xmlns:a="http://schemas.openxmlformats.org/drawingml/2006/main" xmlns:r="http://schemas.openxmlformats.org/officeDocument/2006/relationships" xmlns:p="http://schemas.openxmlformats.org/presentationml/2006/main">
  <p:tag name="SMARTWRITE" val="{@BusinessUnitCoverText}"/>
  <p:tag name="SMARTREAD" val="{@BusinessUnitCoverText}"/>
  <p:tag name="SMARTOBJECT" val="Descriptor Large Title and Subtitle v.2"/>
</p:tagLst>
</file>

<file path=ppt/tags/tag121.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122.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123.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124.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LINKEDSHAPEID" val="SideBar"/>
  <p:tag name="SMARTOBJECT" val="Report date Default Cover v.3"/>
</p:tagLst>
</file>

<file path=ppt/tags/tag125.xml><?xml version="1.0" encoding="utf-8"?>
<p:tagLst xmlns:a="http://schemas.openxmlformats.org/drawingml/2006/main" xmlns:r="http://schemas.openxmlformats.org/officeDocument/2006/relationships" xmlns:p="http://schemas.openxmlformats.org/presentationml/2006/main">
  <p:tag name="INCLUDEINHORIZONTALTOC" val="Yes"/>
  <p:tag name="SMARTTOCSTYLE" val="Standard Table of Contents"/>
  <p:tag name="SMARTSLIDETYPE" val="TOC"/>
  <p:tag name="UNLOCK SHAPES" val="NO"/>
</p:tagLst>
</file>

<file path=ppt/tags/tag126.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127.xml><?xml version="1.0" encoding="utf-8"?>
<p:tagLst xmlns:a="http://schemas.openxmlformats.org/drawingml/2006/main" xmlns:r="http://schemas.openxmlformats.org/officeDocument/2006/relationships" xmlns:p="http://schemas.openxmlformats.org/presentationml/2006/main">
  <p:tag name="SMARTSHAPETYPE" val="TOC"/>
  <p:tag name="TOCTYPE" val="Destination"/>
</p:tagLst>
</file>

<file path=ppt/tags/tag128.xml><?xml version="1.0" encoding="utf-8"?>
<p:tagLst xmlns:a="http://schemas.openxmlformats.org/drawingml/2006/main" xmlns:r="http://schemas.openxmlformats.org/officeDocument/2006/relationships" xmlns:p="http://schemas.openxmlformats.org/presentationml/2006/main">
  <p:tag name="SMARTREAD" val="{@TOCText}"/>
</p:tagLst>
</file>

<file path=ppt/tags/tag12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130.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31.xml><?xml version="1.0" encoding="utf-8"?>
<p:tagLst xmlns:a="http://schemas.openxmlformats.org/drawingml/2006/main" xmlns:r="http://schemas.openxmlformats.org/officeDocument/2006/relationships" xmlns:p="http://schemas.openxmlformats.org/presentationml/2006/main">
  <p:tag name="SMARTTEMPTOCSHAPE" val="TEMPTOC"/>
  <p:tag name="SMARTLOCKSHAPE" val="YES"/>
</p:tagLst>
</file>

<file path=ppt/tags/tag132.xml><?xml version="1.0" encoding="utf-8"?>
<p:tagLst xmlns:a="http://schemas.openxmlformats.org/drawingml/2006/main" xmlns:r="http://schemas.openxmlformats.org/officeDocument/2006/relationships" xmlns:p="http://schemas.openxmlformats.org/presentationml/2006/main">
  <p:tag name="SMARTTEMPTOCSHAPE" val="TEMPTOC"/>
  <p:tag name="SMARTLOCKSHAPE" val="YES"/>
</p:tagLst>
</file>

<file path=ppt/tags/tag133.xml><?xml version="1.0" encoding="utf-8"?>
<p:tagLst xmlns:a="http://schemas.openxmlformats.org/drawingml/2006/main" xmlns:r="http://schemas.openxmlformats.org/officeDocument/2006/relationships" xmlns:p="http://schemas.openxmlformats.org/presentationml/2006/main">
  <p:tag name="SMARTTEMPTOCSHAPE" val="TEMPTOC"/>
  <p:tag name="SMARTLOCKSHAPE" val="YES"/>
</p:tagLst>
</file>

<file path=ppt/tags/tag134.xml><?xml version="1.0" encoding="utf-8"?>
<p:tagLst xmlns:a="http://schemas.openxmlformats.org/drawingml/2006/main" xmlns:r="http://schemas.openxmlformats.org/officeDocument/2006/relationships" xmlns:p="http://schemas.openxmlformats.org/presentationml/2006/main">
  <p:tag name="SMARTTEMPTOCSHAPE" val="TEMPTOC"/>
  <p:tag name="SMARTLOCKSHAPE" val="YES"/>
</p:tagLst>
</file>

<file path=ppt/tags/tag135.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136.xml><?xml version="1.0" encoding="utf-8"?>
<p:tagLst xmlns:a="http://schemas.openxmlformats.org/drawingml/2006/main" xmlns:r="http://schemas.openxmlformats.org/officeDocument/2006/relationships" xmlns:p="http://schemas.openxmlformats.org/presentationml/2006/main">
  <p:tag name="SMARTTEMPTOCSHAPE" val="TEMPTOC"/>
  <p:tag name="SMARTLOCKSHAPE" val="YES"/>
</p:tagLst>
</file>

<file path=ppt/tags/tag137.xml><?xml version="1.0" encoding="utf-8"?>
<p:tagLst xmlns:a="http://schemas.openxmlformats.org/drawingml/2006/main" xmlns:r="http://schemas.openxmlformats.org/officeDocument/2006/relationships" xmlns:p="http://schemas.openxmlformats.org/presentationml/2006/main">
  <p:tag name="SMARTTEMPTOCSHAPE" val="TEMPTOC"/>
  <p:tag name="SMARTLOCKSHAPE" val="YES"/>
</p:tagLst>
</file>

<file path=ppt/tags/tag138.xml><?xml version="1.0" encoding="utf-8"?>
<p:tagLst xmlns:a="http://schemas.openxmlformats.org/drawingml/2006/main" xmlns:r="http://schemas.openxmlformats.org/officeDocument/2006/relationships" xmlns:p="http://schemas.openxmlformats.org/presentationml/2006/main">
  <p:tag name="SMARTTEMPTOCSHAPE" val="TEMPTOC"/>
  <p:tag name="SMARTLOCKSHAPE" val="YES"/>
</p:tagLst>
</file>

<file path=ppt/tags/tag139.xml><?xml version="1.0" encoding="utf-8"?>
<p:tagLst xmlns:a="http://schemas.openxmlformats.org/drawingml/2006/main" xmlns:r="http://schemas.openxmlformats.org/officeDocument/2006/relationships" xmlns:p="http://schemas.openxmlformats.org/presentationml/2006/main">
  <p:tag name="SMARTTEMPTOCSHAPE" val="TEMPTOC"/>
  <p:tag name="SMARTLOCKSHAPE" val="YES"/>
</p:tagLst>
</file>

<file path=ppt/tags/tag14.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40.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41.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42.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43.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44.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45.xml><?xml version="1.0" encoding="utf-8"?>
<p:tagLst xmlns:a="http://schemas.openxmlformats.org/drawingml/2006/main" xmlns:r="http://schemas.openxmlformats.org/officeDocument/2006/relationships" xmlns:p="http://schemas.openxmlformats.org/presentationml/2006/main">
  <p:tag name="SMARTDIVIDERTYPE" val="Section"/>
  <p:tag name="SHOW EXECUTIVE SUMMARY" val="NO"/>
  <p:tag name="SMARTDIVIDERTOCSTYLE" val="Section TOC"/>
  <p:tag name="SMARTTOCSTYLE" val="Section TOC"/>
  <p:tag name="SMARTSLIDETYPE" val="Divider"/>
  <p:tag name="INCLUDEINHORIZONTALTOC" val="YES"/>
  <p:tag name="SMARTDIVIDERLEVEL" val="-1"/>
  <p:tag name="INCLUDEINPRIMARYTOC" val="YES"/>
  <p:tag name="INCLUDEINSECTIONTOC" val="YES"/>
  <p:tag name="SMART DIVIDER TITLE" val="Part I  Brief Introduction to PRC GAAR"/>
  <p:tag name="SMARTDIVIDERTEXT" val="Section"/>
  <p:tag name="SMARTDIVIDERNUMBER" val="-1"/>
  <p:tag name="UNLOCK SHAPES" val="NO"/>
</p:tagLst>
</file>

<file path=ppt/tags/tag146.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147.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14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4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50.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51.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152.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53.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54.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55.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56.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5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UNLOCK SHAPES" val="YES"/>
</p:tagLst>
</file>

<file path=ppt/tags/tag158.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15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6.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160.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6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62.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163.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64.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65.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66.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67.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6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UNLOCK SHAPES" val="YES"/>
</p:tagLst>
</file>

<file path=ppt/tags/tag169.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17.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17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71.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7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73.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174.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75.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76.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77.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78.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7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UNLOCK SHAPES" val="YES"/>
</p:tagLst>
</file>

<file path=ppt/tags/tag1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180.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18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82.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8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84.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185.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86.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87.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88.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89.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9.xml><?xml version="1.0" encoding="utf-8"?>
<p:tagLst xmlns:a="http://schemas.openxmlformats.org/drawingml/2006/main" xmlns:r="http://schemas.openxmlformats.org/officeDocument/2006/relationships" xmlns:p="http://schemas.openxmlformats.org/presentationml/2006/main">
  <p:tag name="FULLLENGTH" val="Tru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_Hyvp2jdJk27IQcBeFeDjA"/>
</p:tagLst>
</file>

<file path=ppt/tags/tag19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UNLOCK SHAPES" val="YES"/>
</p:tagLst>
</file>

<file path=ppt/tags/tag192.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19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194.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19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196.xml><?xml version="1.0" encoding="utf-8"?>
<p:tagLst xmlns:a="http://schemas.openxmlformats.org/drawingml/2006/main" xmlns:r="http://schemas.openxmlformats.org/officeDocument/2006/relationships" xmlns:p="http://schemas.openxmlformats.org/presentationml/2006/main">
  <p:tag name="SMARTLIBRARYSHAPE" val="Yes"/>
</p:tagLst>
</file>

<file path=ppt/tags/tag197.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198.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199.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20.xml><?xml version="1.0" encoding="utf-8"?>
<p:tagLst xmlns:a="http://schemas.openxmlformats.org/drawingml/2006/main" xmlns:r="http://schemas.openxmlformats.org/officeDocument/2006/relationships" xmlns:p="http://schemas.openxmlformats.org/presentationml/2006/main">
  <p:tag name="FULLLENGTH" val="True"/>
</p:tagLst>
</file>

<file path=ppt/tags/tag200.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01.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02.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0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UNLOCK SHAPES" val="YES"/>
</p:tagLst>
</file>

<file path=ppt/tags/tag204.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20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0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0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08.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209.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1.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210.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11.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12.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13.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14.xml><?xml version="1.0" encoding="utf-8"?>
<p:tagLst xmlns:a="http://schemas.openxmlformats.org/drawingml/2006/main" xmlns:r="http://schemas.openxmlformats.org/officeDocument/2006/relationships" xmlns:p="http://schemas.openxmlformats.org/presentationml/2006/main">
  <p:tag name="SMARTDIVIDERTYPE" val="Section"/>
  <p:tag name="SHOW EXECUTIVE SUMMARY" val="NO"/>
  <p:tag name="SMARTDIVIDERTOCSTYLE" val="Section TOC"/>
  <p:tag name="SMARTTOCSTYLE" val="Section TOC"/>
  <p:tag name="SMARTSLIDETYPE" val="Divider"/>
  <p:tag name="INCLUDEINHORIZONTALTOC" val="YES"/>
  <p:tag name="SMARTDIVIDERLEVEL" val="-1"/>
  <p:tag name="INCLUDEINPRIMARYTOC" val="YES"/>
  <p:tag name="INCLUDEINSECTIONTOC" val="YES"/>
  <p:tag name="SMART DIVIDER TITLE" val="Part II  Indirect Equity Transfer "/>
  <p:tag name="SMARTDIVIDERTEXT" val="Section"/>
  <p:tag name="SMARTDIVIDERNUMBER" val="-1"/>
  <p:tag name="UNLOCK SHAPES" val="NO"/>
</p:tagLst>
</file>

<file path=ppt/tags/tag215.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216.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21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1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19.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20.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221.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22.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23.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24.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25.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2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UNLOCK SHAPES" val="YES"/>
</p:tagLst>
</file>

<file path=ppt/tags/tag227.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22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29.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23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31.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232.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33.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34.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35.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36.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3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UNLOCK SHAPES" val="YES"/>
</p:tagLst>
</file>

<file path=ppt/tags/tag238.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23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4.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240.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4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42.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243.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44.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45.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46.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47.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4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UNLOCK SHAPES" val="YES"/>
</p:tagLst>
</file>

<file path=ppt/tags/tag249.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25.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50.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51.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52.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53.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254.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55.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56.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57.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58.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5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UNLOCK SHAPES" val="YES"/>
</p:tagLst>
</file>

<file path=ppt/tags/tag2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60.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261.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62.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63.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64.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265.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66.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67.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68.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69.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27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UNLOCK SHAPES" val="YES"/>
</p:tagLst>
</file>

<file path=ppt/tags/tag271.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272.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73.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74.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75.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276.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77.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78.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79.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8.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280.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8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UNLOCK SHAPES" val="YES"/>
</p:tagLst>
</file>

<file path=ppt/tags/tag282.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28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84.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85.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86.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287.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88.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89.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290.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91.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9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UNLOCK SHAPES" val="YES"/>
</p:tagLst>
</file>

<file path=ppt/tags/tag293.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29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295.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29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297.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298.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299.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xml><?xml version="1.0" encoding="utf-8"?>
<p:tagLst xmlns:a="http://schemas.openxmlformats.org/drawingml/2006/main" xmlns:r="http://schemas.openxmlformats.org/officeDocument/2006/relationships" xmlns:p="http://schemas.openxmlformats.org/presentationml/2006/main">
  <p:tag name="SMARTWRITE" val="{@BusinessUnitCoverText}"/>
  <p:tag name="SMARTREAD" val="{@BusinessUnitCoverText}"/>
  <p:tag name="SMARTOBJECT" val="Descriptor Large Title and Subtitle v.2"/>
</p:tagLst>
</file>

<file path=ppt/tags/tag30.xml><?xml version="1.0" encoding="utf-8"?>
<p:tagLst xmlns:a="http://schemas.openxmlformats.org/drawingml/2006/main" xmlns:r="http://schemas.openxmlformats.org/officeDocument/2006/relationships" xmlns:p="http://schemas.openxmlformats.org/presentationml/2006/main">
  <p:tag name="FULLLENGTH" val="True"/>
</p:tagLst>
</file>

<file path=ppt/tags/tag300.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01.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02.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03.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UNLOCK SHAPES" val="YES"/>
</p:tagLst>
</file>

<file path=ppt/tags/tag304.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30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0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30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08.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309.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1.xml><?xml version="1.0" encoding="utf-8"?>
<p:tagLst xmlns:a="http://schemas.openxmlformats.org/drawingml/2006/main" xmlns:r="http://schemas.openxmlformats.org/officeDocument/2006/relationships" xmlns:p="http://schemas.openxmlformats.org/presentationml/2006/main">
  <p:tag name="FULLLENGTH" val="True"/>
</p:tagLst>
</file>

<file path=ppt/tags/tag310.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11.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12.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13.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1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UNLOCK SHAPES" val="YES"/>
</p:tagLst>
</file>

<file path=ppt/tags/tag315.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31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17.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31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19.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32.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320.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21.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22.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23.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24.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25.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UNLOCK SHAPES" val="YES"/>
</p:tagLst>
</file>

<file path=ppt/tags/tag326.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327.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28.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32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30.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331.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32.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33.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34.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35.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36.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UNLOCK SHAPES" val="YES"/>
</p:tagLst>
</file>

<file path=ppt/tags/tag337.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338.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39.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3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340.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41.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342.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43.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44.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45.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46.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47.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UNLOCK SHAPES" val="NO"/>
</p:tagLst>
</file>

<file path=ppt/tags/tag348.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349.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3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350.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351.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52.xml><?xml version="1.0" encoding="utf-8"?>
<p:tagLst xmlns:a="http://schemas.openxmlformats.org/drawingml/2006/main" xmlns:r="http://schemas.openxmlformats.org/officeDocument/2006/relationships" xmlns:p="http://schemas.openxmlformats.org/presentationml/2006/main">
  <p:tag name="SMARTLOCKSHAPE" val="YES"/>
  <p:tag name="SMARTSHAPETYPE" val="TEMPHEADERTOC"/>
</p:tagLst>
</file>

<file path=ppt/tags/tag353.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54.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55.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56.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57.xml><?xml version="1.0" encoding="utf-8"?>
<p:tagLst xmlns:a="http://schemas.openxmlformats.org/drawingml/2006/main" xmlns:r="http://schemas.openxmlformats.org/officeDocument/2006/relationships" xmlns:p="http://schemas.openxmlformats.org/presentationml/2006/main">
  <p:tag name="SMARTSHAPETYPE" val="HEADERTOC"/>
</p:tagLst>
</file>

<file path=ppt/tags/tag358.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 name="UNLOCK SHAPES" val="YES"/>
</p:tagLst>
</file>

<file path=ppt/tags/tag359.xml><?xml version="1.0" encoding="utf-8"?>
<p:tagLst xmlns:a="http://schemas.openxmlformats.org/drawingml/2006/main" xmlns:r="http://schemas.openxmlformats.org/officeDocument/2006/relationships" xmlns:p="http://schemas.openxmlformats.org/presentationml/2006/main">
  <p:tag name="SMARTOBJECT" val="Grid"/>
  <p:tag name="SMARTISVISIBLE" val="{@GridOn}=Yes"/>
  <p:tag name="SMARTLOCKSHAPE" val="Yes"/>
  <p:tag name="SMARTGRID" val="Yes"/>
</p:tagLst>
</file>

<file path=ppt/tags/tag3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360.xml><?xml version="1.0" encoding="utf-8"?>
<p:tagLst xmlns:a="http://schemas.openxmlformats.org/drawingml/2006/main" xmlns:r="http://schemas.openxmlformats.org/officeDocument/2006/relationships" xmlns:p="http://schemas.openxmlformats.org/presentationml/2006/main">
  <p:tag name="SMARTLOCKSHAPE" val="Yes"/>
</p:tagLst>
</file>

<file path=ppt/tags/tag3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38.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3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4.xml><?xml version="1.0" encoding="utf-8"?>
<p:tagLst xmlns:a="http://schemas.openxmlformats.org/drawingml/2006/main" xmlns:r="http://schemas.openxmlformats.org/officeDocument/2006/relationships" xmlns:p="http://schemas.openxmlformats.org/presentationml/2006/main">
  <p:tag name="SMARTWRITE" val="{@Title}"/>
  <p:tag name="SMARTREAD" val="{@Title}"/>
  <p:tag name="SMARTLINKEDSHAPEID" val="Title"/>
</p:tagLst>
</file>

<file path=ppt/tags/tag4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41.xml><?xml version="1.0" encoding="utf-8"?>
<p:tagLst xmlns:a="http://schemas.openxmlformats.org/drawingml/2006/main" xmlns:r="http://schemas.openxmlformats.org/officeDocument/2006/relationships" xmlns:p="http://schemas.openxmlformats.org/presentationml/2006/main">
  <p:tag name="FULLLENGTH" val="True"/>
</p:tagLst>
</file>

<file path=ppt/tags/tag42.xml><?xml version="1.0" encoding="utf-8"?>
<p:tagLst xmlns:a="http://schemas.openxmlformats.org/drawingml/2006/main" xmlns:r="http://schemas.openxmlformats.org/officeDocument/2006/relationships" xmlns:p="http://schemas.openxmlformats.org/presentationml/2006/main">
  <p:tag name="FULLLENGTH" val="True"/>
</p:tagLst>
</file>

<file path=ppt/tags/tag43.xml><?xml version="1.0" encoding="utf-8"?>
<p:tagLst xmlns:a="http://schemas.openxmlformats.org/drawingml/2006/main" xmlns:r="http://schemas.openxmlformats.org/officeDocument/2006/relationships" xmlns:p="http://schemas.openxmlformats.org/presentationml/2006/main">
  <p:tag name="FULLLENGTH" val="True"/>
</p:tagLst>
</file>

<file path=ppt/tags/tag44.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45.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46.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47.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48.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4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xml><?xml version="1.0" encoding="utf-8"?>
<p:tagLst xmlns:a="http://schemas.openxmlformats.org/drawingml/2006/main" xmlns:r="http://schemas.openxmlformats.org/officeDocument/2006/relationships" xmlns:p="http://schemas.openxmlformats.org/presentationml/2006/main">
  <p:tag name="SMARTWRITE" val="{@Subtitle}"/>
  <p:tag name="SMARTREAD" val="{@Subtitle}"/>
  <p:tag name="SMARTLINKEDSHAPEID" val="Title"/>
</p:tagLst>
</file>

<file path=ppt/tags/tag5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5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5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5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5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5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56.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57.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58.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59.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6.xml><?xml version="1.0" encoding="utf-8"?>
<p:tagLst xmlns:a="http://schemas.openxmlformats.org/drawingml/2006/main" xmlns:r="http://schemas.openxmlformats.org/officeDocument/2006/relationships" xmlns:p="http://schemas.openxmlformats.org/presentationml/2006/main">
  <p:tag name="SMARTWRITE" val="{@Draft stamp}"/>
  <p:tag name="SMARTISVISIBLE" val="{@Show Draft stamp} = Yes"/>
  <p:tag name="SMARTREAD" val="{@Draft stamp}"/>
  <p:tag name="SMARTLINKEDSHAPEID" val="SideBar"/>
  <p:tag name="SMARTOBJECT" val="Draft stamp Default Cover v.3"/>
</p:tagLst>
</file>

<file path=ppt/tags/tag60.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61.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62.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6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6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65.xml><?xml version="1.0" encoding="utf-8"?>
<p:tagLst xmlns:a="http://schemas.openxmlformats.org/drawingml/2006/main" xmlns:r="http://schemas.openxmlformats.org/officeDocument/2006/relationships" xmlns:p="http://schemas.openxmlformats.org/presentationml/2006/main">
  <p:tag name="SMARTSHAPETYPE" val="PresentationDisclaimer"/>
  <p:tag name="SMARTISVISIBLE" val="{@PresentationDisclaimer}!=No Disclaimer"/>
  <p:tag name="SMARTWRITE" val="{@PresentationDisclaimerText}"/>
</p:tagLst>
</file>

<file path=ppt/tags/tag6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67.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68.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69.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7.xml><?xml version="1.0" encoding="utf-8"?>
<p:tagLst xmlns:a="http://schemas.openxmlformats.org/drawingml/2006/main" xmlns:r="http://schemas.openxmlformats.org/officeDocument/2006/relationships" xmlns:p="http://schemas.openxmlformats.org/presentationml/2006/main">
  <p:tag name="SMARTREAD" val="{@Confidentiality stamp}"/>
  <p:tag name="SMARTWRITE" val="{@Confidentiality stamp}"/>
  <p:tag name="SMARTOBJECT" val="Confidentiality stamp Default Cover v.3"/>
  <p:tag name="SMARTLINKEDSHAPEID" val="SideBar"/>
</p:tagLst>
</file>

<file path=ppt/tags/tag70.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7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7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73.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74.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75.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76.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77.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78.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79.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8.xml><?xml version="1.0" encoding="utf-8"?>
<p:tagLst xmlns:a="http://schemas.openxmlformats.org/drawingml/2006/main" xmlns:r="http://schemas.openxmlformats.org/officeDocument/2006/relationships" xmlns:p="http://schemas.openxmlformats.org/presentationml/2006/main">
  <p:tag name="SMARTWRITE" val="{@Report date}"/>
  <p:tag name="SMARTREAD" val="{@Report date}"/>
  <p:tag name="SMARTLINKEDSHAPEID" val="SideBar"/>
  <p:tag name="SMARTOBJECT" val="Report date Default Cover v.3"/>
</p:tagLst>
</file>

<file path=ppt/tags/tag80.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81.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82.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83.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84.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85.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86.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8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88.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89.xml><?xml version="1.0" encoding="utf-8"?>
<p:tagLst xmlns:a="http://schemas.openxmlformats.org/drawingml/2006/main" xmlns:r="http://schemas.openxmlformats.org/officeDocument/2006/relationships" xmlns:p="http://schemas.openxmlformats.org/presentationml/2006/main">
  <p:tag name="SMARTDIVIDERTYPE" val="Section"/>
  <p:tag name="SMARTDIVIDERLEVEL" val="0"/>
</p:tagLst>
</file>

<file path=ppt/tags/tag9.xml><?xml version="1.0" encoding="utf-8"?>
<p:tagLst xmlns:a="http://schemas.openxmlformats.org/drawingml/2006/main" xmlns:r="http://schemas.openxmlformats.org/officeDocument/2006/relationships" xmlns:p="http://schemas.openxmlformats.org/presentationml/2006/main">
  <p:tag name="SMARTSHAPETYPE" val="Front Cover Image"/>
</p:tagLst>
</file>

<file path=ppt/tags/tag90.xml><?xml version="1.0" encoding="utf-8"?>
<p:tagLst xmlns:a="http://schemas.openxmlformats.org/drawingml/2006/main" xmlns:r="http://schemas.openxmlformats.org/officeDocument/2006/relationships" xmlns:p="http://schemas.openxmlformats.org/presentationml/2006/main">
  <p:tag name="SMARTREAD" val="{Smart Divider title}"/>
  <p:tag name="SMARTWRITE" val="{Smart Divider title}"/>
</p:tagLst>
</file>

<file path=ppt/tags/tag91.xml><?xml version="1.0" encoding="utf-8"?>
<p:tagLst xmlns:a="http://schemas.openxmlformats.org/drawingml/2006/main" xmlns:r="http://schemas.openxmlformats.org/officeDocument/2006/relationships" xmlns:p="http://schemas.openxmlformats.org/presentationml/2006/main">
  <p:tag name="SMARTSHAPETYPE" val="dividertocplaceholder"/>
</p:tagLst>
</file>

<file path=ppt/tags/tag92.xml><?xml version="1.0" encoding="utf-8"?>
<p:tagLst xmlns:a="http://schemas.openxmlformats.org/drawingml/2006/main" xmlns:r="http://schemas.openxmlformats.org/officeDocument/2006/relationships" xmlns:p="http://schemas.openxmlformats.org/presentationml/2006/main">
  <p:tag name="SMARTLOCKSHAPE" val="Yes"/>
  <p:tag name="SMARTWRITE" val="{@Report date}"/>
</p:tagLst>
</file>

<file path=ppt/tags/tag93.xml><?xml version="1.0" encoding="utf-8"?>
<p:tagLst xmlns:a="http://schemas.openxmlformats.org/drawingml/2006/main" xmlns:r="http://schemas.openxmlformats.org/officeDocument/2006/relationships" xmlns:p="http://schemas.openxmlformats.org/presentationml/2006/main">
  <p:tag name="SMARTWRITE" val="{!PageNumber}"/>
  <p:tag name="SMARTLOCKSHAPE" val="Yes"/>
  <p:tag name="SMARTOBJECT" val="Page Number v.3"/>
</p:tagLst>
</file>

<file path=ppt/tags/tag94.xml><?xml version="1.0" encoding="utf-8"?>
<p:tagLst xmlns:a="http://schemas.openxmlformats.org/drawingml/2006/main" xmlns:r="http://schemas.openxmlformats.org/officeDocument/2006/relationships" xmlns:p="http://schemas.openxmlformats.org/presentationml/2006/main">
  <p:tag name="SMARTSHAPETYPE" val="HORIZONTALTOCPLACEHOLDER"/>
</p:tagLst>
</file>

<file path=ppt/tags/tag95.xml><?xml version="1.0" encoding="utf-8"?>
<p:tagLst xmlns:a="http://schemas.openxmlformats.org/drawingml/2006/main" xmlns:r="http://schemas.openxmlformats.org/officeDocument/2006/relationships" xmlns:p="http://schemas.openxmlformats.org/presentationml/2006/main">
  <p:tag name="SMARTLOCKSHAPE" val="Yes"/>
  <p:tag name="SMARTOBJECT" val="Section Footer v.2"/>
  <p:tag name="SMARTWRITE" val="{@Title}"/>
</p:tagLst>
</file>

<file path=ppt/tags/tag96.xml><?xml version="1.0" encoding="utf-8"?>
<p:tagLst xmlns:a="http://schemas.openxmlformats.org/drawingml/2006/main" xmlns:r="http://schemas.openxmlformats.org/officeDocument/2006/relationships" xmlns:p="http://schemas.openxmlformats.org/presentationml/2006/main">
  <p:tag name="SMARTLOCKSHAPE" val="Yes"/>
  <p:tag name="SMARTOBJECT" val="Section Header v.2"/>
  <p:tag name="SMARTISVISIBLE" val="{$SmartDividernumber}!=-1"/>
  <p:tag name="SMARTWRITE" val="{$SmartDividernumber} {$Smart Divider title}"/>
</p:tagLst>
</file>

<file path=ppt/tags/tag97.xml><?xml version="1.0" encoding="utf-8"?>
<p:tagLst xmlns:a="http://schemas.openxmlformats.org/drawingml/2006/main" xmlns:r="http://schemas.openxmlformats.org/officeDocument/2006/relationships" xmlns:p="http://schemas.openxmlformats.org/presentationml/2006/main">
  <p:tag name="SMARTISVISIBLE" val="{@Show Draft stamp} = Yes"/>
  <p:tag name="SMARTWRITE" val="{@Draft stamp}"/>
  <p:tag name="SMARTLOCKSHAPE" val="Yes"/>
</p:tagLst>
</file>

<file path=ppt/tags/tag98.xml><?xml version="1.0" encoding="utf-8"?>
<p:tagLst xmlns:a="http://schemas.openxmlformats.org/drawingml/2006/main" xmlns:r="http://schemas.openxmlformats.org/officeDocument/2006/relationships" xmlns:p="http://schemas.openxmlformats.org/presentationml/2006/main">
  <p:tag name="SMARTISVISIBLE" val="{@Show Date FilePath} = Yes"/>
  <p:tag name="SMARTWRITE" val="{!Today} {!FilePath}"/>
  <p:tag name="SMARTLOCKSHAPE" val="Yes"/>
</p:tagLst>
</file>

<file path=ppt/tags/tag99.xml><?xml version="1.0" encoding="utf-8"?>
<p:tagLst xmlns:a="http://schemas.openxmlformats.org/drawingml/2006/main" xmlns:r="http://schemas.openxmlformats.org/officeDocument/2006/relationships" xmlns:p="http://schemas.openxmlformats.org/presentationml/2006/main">
  <p:tag name="SMARTSLIDETYPE" val="Divider"/>
  <p:tag name="SMARTDIVIDERTYPE" val="Section"/>
  <p:tag name="SMARTDIVIDERTEXT" val="Section"/>
  <p:tag name="SMARTDIVIDERLEVEL" val="0"/>
  <p:tag name="SMARTDIVIDERTOCSTYLE" val="Section TOC"/>
</p:tagLst>
</file>

<file path=ppt/theme/theme1.xml><?xml version="1.0" encoding="utf-8"?>
<a:theme xmlns:a="http://schemas.openxmlformats.org/drawingml/2006/main" name="Presentation">
  <a:themeElements>
    <a:clrScheme name="Smart Report">
      <a:dk1>
        <a:srgbClr val="000000"/>
      </a:dk1>
      <a:lt1>
        <a:srgbClr val="FFFFFF"/>
      </a:lt1>
      <a:dk2>
        <a:srgbClr val="821A1A"/>
      </a:dk2>
      <a:lt2>
        <a:srgbClr val="FFFFFF"/>
      </a:lt2>
      <a:accent1>
        <a:srgbClr val="821A1A"/>
      </a:accent1>
      <a:accent2>
        <a:srgbClr val="D62E1C"/>
      </a:accent2>
      <a:accent3>
        <a:srgbClr val="FFCF48"/>
      </a:accent3>
      <a:accent4>
        <a:srgbClr val="E36A00"/>
      </a:accent4>
      <a:accent5>
        <a:srgbClr val="ABA591"/>
      </a:accent5>
      <a:accent6>
        <a:srgbClr val="877E62"/>
      </a:accent6>
      <a:hlink>
        <a:srgbClr val="821A1A"/>
      </a:hlink>
      <a:folHlink>
        <a:srgbClr val="821A1A"/>
      </a:folHlink>
    </a:clrScheme>
    <a:fontScheme name="PwC">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6350">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defPPr>
      </a:lstStyle>
    </a:spDef>
    <a:lnDef>
      <a:spPr>
        <a:ln w="12700">
          <a:solidFill>
            <a:srgbClr val="DC6900"/>
          </a:solidFill>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0" tIns="0" rIns="0" bIns="0" rtlCol="0">
        <a:spAutoFit/>
      </a:bodyPr>
      <a:lstStyle>
        <a:defPPr>
          <a:defRPr noProof="0" dirty="0" smtClean="0">
            <a:solidFill>
              <a:schemeClr val="tx1"/>
            </a:solidFill>
            <a:latin typeface="Georgia" pitchFamily="18" charset="0"/>
            <a:cs typeface="Arial" pitchFamily="34" charset="0"/>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Template>
  <TotalTime>3063</TotalTime>
  <Words>2542</Words>
  <Application>Microsoft Office PowerPoint</Application>
  <PresentationFormat>Custom</PresentationFormat>
  <Paragraphs>542</Paragraphs>
  <Slides>22</Slides>
  <Notes>0</Notes>
  <HiddenSlides>0</HiddenSlides>
  <MMClips>0</MMClips>
  <ScaleCrop>false</ScaleCrop>
  <HeadingPairs>
    <vt:vector size="6" baseType="variant">
      <vt:variant>
        <vt:lpstr>Fonts Used</vt:lpstr>
      </vt:variant>
      <vt:variant>
        <vt:i4>9</vt:i4>
      </vt:variant>
      <vt:variant>
        <vt:lpstr>Theme</vt:lpstr>
      </vt:variant>
      <vt:variant>
        <vt:i4>1</vt:i4>
      </vt:variant>
      <vt:variant>
        <vt:lpstr>Slide Titles</vt:lpstr>
      </vt:variant>
      <vt:variant>
        <vt:i4>22</vt:i4>
      </vt:variant>
    </vt:vector>
  </HeadingPairs>
  <TitlesOfParts>
    <vt:vector size="32" baseType="lpstr">
      <vt:lpstr>Arial Unicode MS</vt:lpstr>
      <vt:lpstr>Helvetica Neue Medium</vt:lpstr>
      <vt:lpstr>宋体</vt:lpstr>
      <vt:lpstr>黑体</vt:lpstr>
      <vt:lpstr>Arial</vt:lpstr>
      <vt:lpstr>Calibri</vt:lpstr>
      <vt:lpstr>Georgia</vt:lpstr>
      <vt:lpstr>Times New Roman</vt:lpstr>
      <vt:lpstr>Wingdings</vt:lpstr>
      <vt:lpstr>Presentation</vt:lpstr>
      <vt:lpstr>Overview of PRC GAAR</vt:lpstr>
      <vt:lpstr>PowerPoint Presentation</vt:lpstr>
      <vt:lpstr>Part I  Brief Introduction to PRC GAAR</vt:lpstr>
      <vt:lpstr>Overview </vt:lpstr>
      <vt:lpstr>Key Principles  - Circular No.2 &amp; the GAAR Measures </vt:lpstr>
      <vt:lpstr>Procedures   </vt:lpstr>
      <vt:lpstr>Status Quo</vt:lpstr>
      <vt:lpstr>Future Developments</vt:lpstr>
      <vt:lpstr>Part II  Indirect Equity Transfer </vt:lpstr>
      <vt:lpstr>Introductions of PN7</vt:lpstr>
      <vt:lpstr>Application Scope </vt:lpstr>
      <vt:lpstr>Reasonable Commercial Purpose Assessment - Seven General Factors</vt:lpstr>
      <vt:lpstr>Reasonable Commercial Purpose Assessment (Cont’d)   - Four Unfavourable Tests  </vt:lpstr>
      <vt:lpstr>Safe Harbour Rule</vt:lpstr>
      <vt:lpstr>Safe Harbour Rule (Cont’d)</vt:lpstr>
      <vt:lpstr>Safe Harbour Rule (Cont’d)</vt:lpstr>
      <vt:lpstr>Safe Harbour Rule (Cont’d)</vt:lpstr>
      <vt:lpstr>Safe Harbour Rule (Cont’d)</vt:lpstr>
      <vt:lpstr>Overview of Reported Offshore Indirect Equity Transfer Cases </vt:lpstr>
      <vt:lpstr>Overview of Reported Offshore Indirect Equity Transfer Cases (Cont’d)</vt:lpstr>
      <vt:lpstr>Speaker </vt:lpstr>
      <vt:lpstr>PowerPoint Presentation</vt:lpstr>
    </vt:vector>
  </TitlesOfParts>
  <Company>PricewaterhouseCoope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中国一般反避税概览</dc:title>
  <dc:creator>Hellen W Zhang</dc:creator>
  <dc:description>Presentation</dc:description>
  <cp:lastModifiedBy>Wendy Guo</cp:lastModifiedBy>
  <cp:revision>89</cp:revision>
  <cp:lastPrinted>2018-08-14T09:10:44Z</cp:lastPrinted>
  <dcterms:created xsi:type="dcterms:W3CDTF">2018-07-30T05:38:12Z</dcterms:created>
  <dcterms:modified xsi:type="dcterms:W3CDTF">2018-08-15T00:59: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mart Base Report Template Version">
    <vt:lpwstr>TS Global ND 20140514</vt:lpwstr>
  </property>
  <property fmtid="{D5CDD505-2E9C-101B-9397-08002B2CF9AE}" pid="3" name="Go Live Date">
    <vt:lpwstr>03_31_2015</vt:lpwstr>
  </property>
</Properties>
</file>